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3.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3.xml" ContentType="application/vnd.openxmlformats-officedocument.presentationml.notesSlide+xml"/>
  <Override PartName="/ppt/theme/themeOverride3.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6"/>
    <p:sldMasterId id="2147483813" r:id="rId7"/>
    <p:sldMasterId id="2147483882" r:id="rId8"/>
    <p:sldMasterId id="2147483924" r:id="rId9"/>
    <p:sldMasterId id="2147483992" r:id="rId10"/>
    <p:sldMasterId id="2147484005" r:id="rId11"/>
  </p:sldMasterIdLst>
  <p:notesMasterIdLst>
    <p:notesMasterId r:id="rId32"/>
  </p:notesMasterIdLst>
  <p:sldIdLst>
    <p:sldId id="2147473278" r:id="rId12"/>
    <p:sldId id="2134805286" r:id="rId13"/>
    <p:sldId id="2147473529" r:id="rId14"/>
    <p:sldId id="2147473536" r:id="rId15"/>
    <p:sldId id="2134805294" r:id="rId16"/>
    <p:sldId id="2147471681" r:id="rId17"/>
    <p:sldId id="2147475647" r:id="rId18"/>
    <p:sldId id="2147475394" r:id="rId19"/>
    <p:sldId id="2147475641" r:id="rId20"/>
    <p:sldId id="2147475646" r:id="rId21"/>
    <p:sldId id="2147475648" r:id="rId22"/>
    <p:sldId id="2147470466" r:id="rId23"/>
    <p:sldId id="2147470468" r:id="rId24"/>
    <p:sldId id="2147471684" r:id="rId25"/>
    <p:sldId id="2147470469" r:id="rId26"/>
    <p:sldId id="2147471687" r:id="rId27"/>
    <p:sldId id="2147470471" r:id="rId28"/>
    <p:sldId id="2147475649" r:id="rId29"/>
    <p:sldId id="2147470465" r:id="rId30"/>
    <p:sldId id="2147473286" r:id="rId31"/>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ABB6"/>
    <a:srgbClr val="F7B737"/>
    <a:srgbClr val="37CC73"/>
    <a:srgbClr val="005AFF"/>
    <a:srgbClr val="AFEBC7"/>
    <a:srgbClr val="001135"/>
    <a:srgbClr val="001D47"/>
    <a:srgbClr val="0A0908"/>
    <a:srgbClr val="FF8B10"/>
    <a:srgbClr val="666666"/>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503" autoAdjust="0"/>
  </p:normalViewPr>
  <p:slideViewPr>
    <p:cSldViewPr snapToGrid="0">
      <p:cViewPr varScale="1">
        <p:scale>
          <a:sx n="91" d="100"/>
          <a:sy n="91" d="100"/>
        </p:scale>
        <p:origin x="584" y="48"/>
      </p:cViewPr>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viewProps" Target="viewProps.xml"/><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bleStyles" Target="tableStyles.xml"/><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heme" Target="theme/theme1.xml"/><Relationship Id="rId8" Type="http://schemas.openxmlformats.org/officeDocument/2006/relationships/slideMaster" Target="slideMasters/slideMaster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6652949776277"/>
          <c:y val="0.15163765119534151"/>
          <c:w val="0.83379262292888445"/>
          <c:h val="0.60377587825973211"/>
        </c:manualLayout>
      </c:layout>
      <c:barChart>
        <c:barDir val="col"/>
        <c:grouping val="clustered"/>
        <c:varyColors val="0"/>
        <c:ser>
          <c:idx val="0"/>
          <c:order val="0"/>
          <c:tx>
            <c:strRef>
              <c:f>Sheet2!$J$6</c:f>
              <c:strCache>
                <c:ptCount val="1"/>
                <c:pt idx="0">
                  <c:v>4G</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I$7:$I$9,Sheet2!$I$11,Sheet2!$I$19:$I$20)</c:f>
              <c:strCache>
                <c:ptCount val="6"/>
                <c:pt idx="0">
                  <c:v>Korea</c:v>
                </c:pt>
                <c:pt idx="1">
                  <c:v>Finland</c:v>
                </c:pt>
                <c:pt idx="2">
                  <c:v>New York</c:v>
                </c:pt>
                <c:pt idx="3">
                  <c:v>USA</c:v>
                </c:pt>
                <c:pt idx="4">
                  <c:v>Australia</c:v>
                </c:pt>
                <c:pt idx="5">
                  <c:v>Sydney</c:v>
                </c:pt>
              </c:strCache>
              <c:extLst/>
            </c:strRef>
          </c:cat>
          <c:val>
            <c:numRef>
              <c:f>(Sheet2!$J$7:$J$9,Sheet2!$J$11,Sheet2!$J$19:$J$20)</c:f>
              <c:numCache>
                <c:formatCode>0.0</c:formatCode>
                <c:ptCount val="6"/>
                <c:pt idx="0">
                  <c:v>32</c:v>
                </c:pt>
                <c:pt idx="1">
                  <c:v>39.93333333333333</c:v>
                </c:pt>
                <c:pt idx="2">
                  <c:v>38.200000000000003</c:v>
                </c:pt>
                <c:pt idx="3">
                  <c:v>83.533333333333331</c:v>
                </c:pt>
                <c:pt idx="4">
                  <c:v>120.06666666666668</c:v>
                </c:pt>
                <c:pt idx="5">
                  <c:v>22.466666666666669</c:v>
                </c:pt>
              </c:numCache>
              <c:extLst/>
            </c:numRef>
          </c:val>
          <c:extLst>
            <c:ext xmlns:c16="http://schemas.microsoft.com/office/drawing/2014/chart" uri="{C3380CC4-5D6E-409C-BE32-E72D297353CC}">
              <c16:uniqueId val="{00000000-57AF-48FB-A9A3-49985768648E}"/>
            </c:ext>
          </c:extLst>
        </c:ser>
        <c:ser>
          <c:idx val="1"/>
          <c:order val="1"/>
          <c:tx>
            <c:strRef>
              <c:f>Sheet2!$K$6</c:f>
              <c:strCache>
                <c:ptCount val="1"/>
                <c:pt idx="0">
                  <c:v>5G NSA</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I$7:$I$9,Sheet2!$I$11,Sheet2!$I$19:$I$20)</c:f>
              <c:strCache>
                <c:ptCount val="6"/>
                <c:pt idx="0">
                  <c:v>Korea</c:v>
                </c:pt>
                <c:pt idx="1">
                  <c:v>Finland</c:v>
                </c:pt>
                <c:pt idx="2">
                  <c:v>New York</c:v>
                </c:pt>
                <c:pt idx="3">
                  <c:v>USA</c:v>
                </c:pt>
                <c:pt idx="4">
                  <c:v>Australia</c:v>
                </c:pt>
                <c:pt idx="5">
                  <c:v>Sydney</c:v>
                </c:pt>
              </c:strCache>
              <c:extLst/>
            </c:strRef>
          </c:cat>
          <c:val>
            <c:numRef>
              <c:f>(Sheet2!$K$7:$K$9,Sheet2!$K$11,Sheet2!$K$19:$K$20)</c:f>
              <c:numCache>
                <c:formatCode>0.0</c:formatCode>
                <c:ptCount val="6"/>
                <c:pt idx="0">
                  <c:v>28.066666666666666</c:v>
                </c:pt>
                <c:pt idx="1">
                  <c:v>39</c:v>
                </c:pt>
                <c:pt idx="2">
                  <c:v>36.466666666666669</c:v>
                </c:pt>
                <c:pt idx="3">
                  <c:v>77.866666666666674</c:v>
                </c:pt>
                <c:pt idx="4">
                  <c:v>130.26666666666668</c:v>
                </c:pt>
                <c:pt idx="5">
                  <c:v>25.533333333333331</c:v>
                </c:pt>
              </c:numCache>
              <c:extLst/>
            </c:numRef>
          </c:val>
          <c:extLst>
            <c:ext xmlns:c16="http://schemas.microsoft.com/office/drawing/2014/chart" uri="{C3380CC4-5D6E-409C-BE32-E72D297353CC}">
              <c16:uniqueId val="{00000001-57AF-48FB-A9A3-49985768648E}"/>
            </c:ext>
          </c:extLst>
        </c:ser>
        <c:ser>
          <c:idx val="2"/>
          <c:order val="2"/>
          <c:tx>
            <c:strRef>
              <c:f>Sheet2!$L$6</c:f>
              <c:strCache>
                <c:ptCount val="1"/>
                <c:pt idx="0">
                  <c:v>5G SA</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I$7:$I$9,Sheet2!$I$11,Sheet2!$I$19:$I$20)</c:f>
              <c:strCache>
                <c:ptCount val="6"/>
                <c:pt idx="0">
                  <c:v>Korea</c:v>
                </c:pt>
                <c:pt idx="1">
                  <c:v>Finland</c:v>
                </c:pt>
                <c:pt idx="2">
                  <c:v>New York</c:v>
                </c:pt>
                <c:pt idx="3">
                  <c:v>USA</c:v>
                </c:pt>
                <c:pt idx="4">
                  <c:v>Australia</c:v>
                </c:pt>
                <c:pt idx="5">
                  <c:v>Sydney</c:v>
                </c:pt>
              </c:strCache>
              <c:extLst/>
            </c:strRef>
          </c:cat>
          <c:val>
            <c:numRef>
              <c:f>(Sheet2!$L$7:$L$9,Sheet2!$L$11,Sheet2!$L$19:$L$20)</c:f>
              <c:numCache>
                <c:formatCode>General</c:formatCode>
                <c:ptCount val="6"/>
                <c:pt idx="2" formatCode="0.0">
                  <c:v>26.6</c:v>
                </c:pt>
                <c:pt idx="3" formatCode="0.0">
                  <c:v>65.8</c:v>
                </c:pt>
                <c:pt idx="4">
                  <c:v>73.8</c:v>
                </c:pt>
                <c:pt idx="5">
                  <c:v>14.6</c:v>
                </c:pt>
              </c:numCache>
              <c:extLst/>
            </c:numRef>
          </c:val>
          <c:extLst>
            <c:ext xmlns:c16="http://schemas.microsoft.com/office/drawing/2014/chart" uri="{C3380CC4-5D6E-409C-BE32-E72D297353CC}">
              <c16:uniqueId val="{00000002-57AF-48FB-A9A3-49985768648E}"/>
            </c:ext>
          </c:extLst>
        </c:ser>
        <c:dLbls>
          <c:showLegendKey val="0"/>
          <c:showVal val="0"/>
          <c:showCatName val="0"/>
          <c:showSerName val="0"/>
          <c:showPercent val="0"/>
          <c:showBubbleSize val="0"/>
        </c:dLbls>
        <c:gapWidth val="100"/>
        <c:overlap val="-24"/>
        <c:axId val="993791504"/>
        <c:axId val="993791832"/>
      </c:barChart>
      <c:catAx>
        <c:axId val="993791504"/>
        <c:scaling>
          <c:orientation val="minMax"/>
        </c:scaling>
        <c:delete val="0"/>
        <c:axPos val="t"/>
        <c:numFmt formatCode="General" sourceLinked="1"/>
        <c:majorTickMark val="none"/>
        <c:minorTickMark val="none"/>
        <c:tickLblPos val="high"/>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DE"/>
          </a:p>
        </c:txPr>
        <c:crossAx val="993791832"/>
        <c:crossesAt val="100"/>
        <c:auto val="1"/>
        <c:lblAlgn val="ctr"/>
        <c:lblOffset val="100"/>
        <c:noMultiLvlLbl val="0"/>
      </c:catAx>
      <c:valAx>
        <c:axId val="993791832"/>
        <c:scaling>
          <c:orientation val="maxMin"/>
          <c:max val="100"/>
          <c:min val="0"/>
        </c:scaling>
        <c:delete val="0"/>
        <c:axPos val="l"/>
        <c:title>
          <c:tx>
            <c:rich>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r>
                  <a:rPr lang="en-US"/>
                  <a:t>m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DE"/>
          </a:p>
        </c:txPr>
        <c:crossAx val="99379150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E$6</c:f>
              <c:strCache>
                <c:ptCount val="1"/>
                <c:pt idx="0">
                  <c:v>4G</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D$7:$D$9,Sheet2!$D$11,Sheet2!$D$19:$D$20)</c:f>
              <c:strCache>
                <c:ptCount val="6"/>
                <c:pt idx="0">
                  <c:v>Korea</c:v>
                </c:pt>
                <c:pt idx="1">
                  <c:v>Finland</c:v>
                </c:pt>
                <c:pt idx="2">
                  <c:v>New York</c:v>
                </c:pt>
                <c:pt idx="3">
                  <c:v>USA</c:v>
                </c:pt>
                <c:pt idx="4">
                  <c:v>Australia</c:v>
                </c:pt>
                <c:pt idx="5">
                  <c:v>Sydney</c:v>
                </c:pt>
              </c:strCache>
              <c:extLst/>
            </c:strRef>
          </c:cat>
          <c:val>
            <c:numRef>
              <c:f>(Sheet2!$E$7:$E$9,Sheet2!$E$11,Sheet2!$E$19:$E$20)</c:f>
              <c:numCache>
                <c:formatCode>0.0</c:formatCode>
                <c:ptCount val="6"/>
                <c:pt idx="0">
                  <c:v>5.0333333333333341</c:v>
                </c:pt>
                <c:pt idx="1">
                  <c:v>4.8666666666666663</c:v>
                </c:pt>
                <c:pt idx="2">
                  <c:v>4.4666666666666659</c:v>
                </c:pt>
                <c:pt idx="3">
                  <c:v>3.7999999999999994</c:v>
                </c:pt>
                <c:pt idx="4">
                  <c:v>4.0666666666666664</c:v>
                </c:pt>
                <c:pt idx="5">
                  <c:v>4.3999999999999995</c:v>
                </c:pt>
              </c:numCache>
              <c:extLst/>
            </c:numRef>
          </c:val>
          <c:extLst>
            <c:ext xmlns:c16="http://schemas.microsoft.com/office/drawing/2014/chart" uri="{C3380CC4-5D6E-409C-BE32-E72D297353CC}">
              <c16:uniqueId val="{00000000-E10A-4BE7-879B-E765443855F2}"/>
            </c:ext>
          </c:extLst>
        </c:ser>
        <c:ser>
          <c:idx val="1"/>
          <c:order val="1"/>
          <c:tx>
            <c:strRef>
              <c:f>Sheet2!$F$6</c:f>
              <c:strCache>
                <c:ptCount val="1"/>
                <c:pt idx="0">
                  <c:v>5G NSA</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D$7:$D$9,Sheet2!$D$11,Sheet2!$D$19:$D$20)</c:f>
              <c:strCache>
                <c:ptCount val="6"/>
                <c:pt idx="0">
                  <c:v>Korea</c:v>
                </c:pt>
                <c:pt idx="1">
                  <c:v>Finland</c:v>
                </c:pt>
                <c:pt idx="2">
                  <c:v>New York</c:v>
                </c:pt>
                <c:pt idx="3">
                  <c:v>USA</c:v>
                </c:pt>
                <c:pt idx="4">
                  <c:v>Australia</c:v>
                </c:pt>
                <c:pt idx="5">
                  <c:v>Sydney</c:v>
                </c:pt>
              </c:strCache>
              <c:extLst/>
            </c:strRef>
          </c:cat>
          <c:val>
            <c:numRef>
              <c:f>(Sheet2!$F$7:$F$9,Sheet2!$F$11,Sheet2!$F$19:$F$20)</c:f>
              <c:numCache>
                <c:formatCode>0.0</c:formatCode>
                <c:ptCount val="6"/>
                <c:pt idx="0">
                  <c:v>6.0666666666666673</c:v>
                </c:pt>
                <c:pt idx="1">
                  <c:v>5.4333333333333327</c:v>
                </c:pt>
                <c:pt idx="2">
                  <c:v>4.8</c:v>
                </c:pt>
                <c:pt idx="3">
                  <c:v>4.1000000000000005</c:v>
                </c:pt>
                <c:pt idx="4">
                  <c:v>4.2</c:v>
                </c:pt>
                <c:pt idx="5">
                  <c:v>4.6000000000000005</c:v>
                </c:pt>
              </c:numCache>
              <c:extLst/>
            </c:numRef>
          </c:val>
          <c:extLst>
            <c:ext xmlns:c16="http://schemas.microsoft.com/office/drawing/2014/chart" uri="{C3380CC4-5D6E-409C-BE32-E72D297353CC}">
              <c16:uniqueId val="{00000001-E10A-4BE7-879B-E765443855F2}"/>
            </c:ext>
          </c:extLst>
        </c:ser>
        <c:ser>
          <c:idx val="2"/>
          <c:order val="2"/>
          <c:tx>
            <c:strRef>
              <c:f>Sheet2!$G$6</c:f>
              <c:strCache>
                <c:ptCount val="1"/>
                <c:pt idx="0">
                  <c:v>5G SA</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2!$D$7:$D$9,Sheet2!$D$11,Sheet2!$D$19:$D$20)</c:f>
              <c:strCache>
                <c:ptCount val="6"/>
                <c:pt idx="0">
                  <c:v>Korea</c:v>
                </c:pt>
                <c:pt idx="1">
                  <c:v>Finland</c:v>
                </c:pt>
                <c:pt idx="2">
                  <c:v>New York</c:v>
                </c:pt>
                <c:pt idx="3">
                  <c:v>USA</c:v>
                </c:pt>
                <c:pt idx="4">
                  <c:v>Australia</c:v>
                </c:pt>
                <c:pt idx="5">
                  <c:v>Sydney</c:v>
                </c:pt>
              </c:strCache>
              <c:extLst/>
            </c:strRef>
          </c:cat>
          <c:val>
            <c:numRef>
              <c:f>(Sheet2!$G$7:$G$9,Sheet2!$G$11,Sheet2!$G$19:$G$20)</c:f>
              <c:numCache>
                <c:formatCode>General</c:formatCode>
                <c:ptCount val="6"/>
                <c:pt idx="2" formatCode="0.0">
                  <c:v>5.0999999999999996</c:v>
                </c:pt>
                <c:pt idx="3" formatCode="0.0">
                  <c:v>4.7</c:v>
                </c:pt>
                <c:pt idx="4" formatCode="0.0">
                  <c:v>5.4</c:v>
                </c:pt>
                <c:pt idx="5">
                  <c:v>5.5</c:v>
                </c:pt>
              </c:numCache>
              <c:extLst/>
            </c:numRef>
          </c:val>
          <c:extLst>
            <c:ext xmlns:c16="http://schemas.microsoft.com/office/drawing/2014/chart" uri="{C3380CC4-5D6E-409C-BE32-E72D297353CC}">
              <c16:uniqueId val="{00000002-E10A-4BE7-879B-E765443855F2}"/>
            </c:ext>
          </c:extLst>
        </c:ser>
        <c:dLbls>
          <c:showLegendKey val="0"/>
          <c:showVal val="0"/>
          <c:showCatName val="0"/>
          <c:showSerName val="0"/>
          <c:showPercent val="0"/>
          <c:showBubbleSize val="0"/>
        </c:dLbls>
        <c:gapWidth val="100"/>
        <c:overlap val="-24"/>
        <c:axId val="993791504"/>
        <c:axId val="993791832"/>
      </c:barChart>
      <c:catAx>
        <c:axId val="99379150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DE"/>
          </a:p>
        </c:txPr>
        <c:crossAx val="993791832"/>
        <c:crosses val="autoZero"/>
        <c:auto val="1"/>
        <c:lblAlgn val="ctr"/>
        <c:lblOffset val="100"/>
        <c:noMultiLvlLbl val="0"/>
      </c:catAx>
      <c:valAx>
        <c:axId val="993791832"/>
        <c:scaling>
          <c:orientation val="minMax"/>
          <c:max val="25"/>
        </c:scaling>
        <c:delete val="0"/>
        <c:axPos val="l"/>
        <c:title>
          <c:tx>
            <c:rich>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r>
                  <a:rPr lang="en-US"/>
                  <a:t>Mbp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DE"/>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DE"/>
          </a:p>
        </c:txPr>
        <c:crossAx val="993791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03831C-DEBA-4A3A-8C36-FD8115E217DA}" type="datetimeFigureOut">
              <a:rPr lang="en-US" smtClean="0"/>
              <a:t>7/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D4EF5B-ECC8-43EE-A509-D601DDF42AD0}" type="slidenum">
              <a:rPr lang="en-US" smtClean="0"/>
              <a:t>‹#›</a:t>
            </a:fld>
            <a:endParaRPr lang="en-US"/>
          </a:p>
        </p:txBody>
      </p:sp>
    </p:spTree>
    <p:extLst>
      <p:ext uri="{BB962C8B-B14F-4D97-AF65-F5344CB8AC3E}">
        <p14:creationId xmlns:p14="http://schemas.microsoft.com/office/powerpoint/2010/main" val="211518043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ieeetv.ieee.org/event/2021-brooklyn-6g-summit"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bell-labs.com/research-innovation/what-is-6g/"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bell-labs.com/institute/media/disruptive-research/augmenting-human-potential-6g-era/"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58D4EF5B-ECC8-43EE-A509-D601DDF42AD0}" type="slidenum">
              <a:rPr lang="en-US" smtClean="0"/>
              <a:t>1</a:t>
            </a:fld>
            <a:endParaRPr lang="en-US"/>
          </a:p>
        </p:txBody>
      </p:sp>
    </p:spTree>
    <p:extLst>
      <p:ext uri="{BB962C8B-B14F-4D97-AF65-F5344CB8AC3E}">
        <p14:creationId xmlns:p14="http://schemas.microsoft.com/office/powerpoint/2010/main" val="9789785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dirty="0">
                <a:effectLst/>
                <a:latin typeface="Nokia Pure Text Light" panose="020B0304040602060303" pitchFamily="34" charset="0"/>
                <a:ea typeface="Calibri" panose="020F0502020204030204" pitchFamily="34" charset="0"/>
                <a:cs typeface="Nokia Pure Text Light" panose="020B0304040602060303" pitchFamily="34" charset="0"/>
              </a:rPr>
              <a:t>Nokia and the NYU wireless research center have hosted an </a:t>
            </a:r>
            <a:r>
              <a:rPr lang="en-AU" sz="800" b="1" dirty="0">
                <a:effectLst/>
                <a:latin typeface="Nokia Pure Text Light" panose="020B0304040602060303" pitchFamily="34" charset="0"/>
                <a:ea typeface="Calibri" panose="020F0502020204030204" pitchFamily="34" charset="0"/>
                <a:cs typeface="Nokia Pure Text Light" panose="020B0304040602060303" pitchFamily="34" charset="0"/>
              </a:rPr>
              <a:t>annual Brooklyn Summit</a:t>
            </a:r>
            <a:r>
              <a:rPr lang="en-AU" sz="800" dirty="0">
                <a:effectLst/>
                <a:latin typeface="Nokia Pure Text Light" panose="020B0304040602060303" pitchFamily="34" charset="0"/>
                <a:ea typeface="Calibri" panose="020F0502020204030204" pitchFamily="34" charset="0"/>
                <a:cs typeface="Nokia Pure Text Light" panose="020B0304040602060303" pitchFamily="34" charset="0"/>
              </a:rPr>
              <a:t> since 2014, one of the most distinguished gatherings that has chartered the technical future of the wireless industry. It became </a:t>
            </a:r>
            <a:r>
              <a:rPr lang="en-AU" sz="800" b="1" u="sng" dirty="0">
                <a:solidFill>
                  <a:srgbClr val="0000FF"/>
                </a:solidFill>
                <a:effectLst/>
                <a:latin typeface="Nokia Pure Text Light" panose="020B0304040602060303" pitchFamily="34" charset="0"/>
                <a:ea typeface="Calibri" panose="020F0502020204030204" pitchFamily="34" charset="0"/>
                <a:cs typeface="Nokia Pure Text Light" panose="020B0304040602060303" pitchFamily="34" charset="0"/>
                <a:hlinkClick r:id="rId3"/>
              </a:rPr>
              <a:t>Brooklyn 6G Summit</a:t>
            </a:r>
            <a:r>
              <a:rPr lang="en-AU" sz="800" dirty="0">
                <a:effectLst/>
                <a:latin typeface="Nokia Pure Text Light" panose="020B0304040602060303" pitchFamily="34" charset="0"/>
                <a:ea typeface="Calibri" panose="020F0502020204030204" pitchFamily="34" charset="0"/>
                <a:cs typeface="Nokia Pure Text Light" panose="020B0304040602060303" pitchFamily="34" charset="0"/>
              </a:rPr>
              <a:t> in 2021.  </a:t>
            </a:r>
            <a:endParaRPr lang="en-AU" sz="800" dirty="0">
              <a:effectLst/>
              <a:latin typeface="Nokia Pure Text Light" panose="020B0304040602060303"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D4EF5B-ECC8-43EE-A509-D601DDF42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5800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D4EF5B-ECC8-43EE-A509-D601DDF42AD0}" type="slidenum">
              <a:rPr lang="en-US" smtClean="0"/>
              <a:t>20</a:t>
            </a:fld>
            <a:endParaRPr lang="en-US"/>
          </a:p>
        </p:txBody>
      </p:sp>
    </p:spTree>
    <p:extLst>
      <p:ext uri="{BB962C8B-B14F-4D97-AF65-F5344CB8AC3E}">
        <p14:creationId xmlns:p14="http://schemas.microsoft.com/office/powerpoint/2010/main" val="2368958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5073" y="4400550"/>
            <a:ext cx="5932026" cy="4476750"/>
          </a:xfrm>
        </p:spPr>
        <p:txBody>
          <a:bodyPr/>
          <a:lstStyle/>
          <a:p>
            <a:endParaRPr lang="en-GB" sz="800" dirty="0">
              <a:ea typeface="Nokia Pure Text Light" panose="020B0304040602060303" pitchFamily="34" charset="0"/>
              <a:cs typeface="Nokia Pure Text Light" panose="020B03040406020603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302B443-4005-4F00-A3B0-2E4E060B45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090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U"/>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D4EF5B-ECC8-43EE-A509-D601DDF42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357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mn-lt"/>
                <a:ea typeface="+mn-ea"/>
                <a:cs typeface="+mn-cs"/>
              </a:rPr>
              <a:t>Nokia Bell Labs has identified six key technologies that will be vital components of future 6G networks, in a white paper published two years ago</a:t>
            </a:r>
          </a:p>
          <a:p>
            <a:endParaRPr lang="en-US" sz="900" b="0" i="0" kern="1200" dirty="0">
              <a:solidFill>
                <a:schemeClr val="tx1"/>
              </a:solidFill>
              <a:effectLst/>
              <a:latin typeface="+mn-lt"/>
              <a:ea typeface="+mn-ea"/>
              <a:cs typeface="+mn-cs"/>
            </a:endParaRPr>
          </a:p>
          <a:p>
            <a:r>
              <a:rPr lang="en-US" sz="900" b="0" i="0" kern="1200" dirty="0">
                <a:solidFill>
                  <a:schemeClr val="tx1"/>
                </a:solidFill>
                <a:effectLst/>
                <a:latin typeface="+mn-lt"/>
                <a:ea typeface="+mn-ea"/>
                <a:cs typeface="+mn-cs"/>
              </a:rPr>
              <a:t>Communications in the 6G era</a:t>
            </a:r>
          </a:p>
          <a:p>
            <a:r>
              <a:rPr lang="en-AU" dirty="0"/>
              <a:t>https://www.bell-labs.com/institute/white-papers/communications-6g-era-white-paper/ </a:t>
            </a:r>
          </a:p>
          <a:p>
            <a:endParaRPr lang="en-AU" dirty="0"/>
          </a:p>
          <a:p>
            <a:r>
              <a:rPr lang="en-AU" dirty="0"/>
              <a:t>6G technology e-book: https://www.bell-labs.com/research-innovation/what-is-6g/6g-technologi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D4EF5B-ECC8-43EE-A509-D601DDF42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6616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AU" sz="1800" dirty="0">
                <a:effectLst/>
                <a:latin typeface="Nokia Pure Text Light" panose="020B0304040602060303" pitchFamily="34" charset="0"/>
                <a:ea typeface="Calibri" panose="020F0502020204030204" pitchFamily="34" charset="0"/>
                <a:cs typeface="Nokia Pure Text Light" panose="020B0304040602060303" pitchFamily="34" charset="0"/>
              </a:rPr>
              <a:t>AI/ML will provide a new foundation for air interface design and optimization, enabling self-optimizing transmitters and receivers, cognitive spectrum use and context awareness.</a:t>
            </a:r>
            <a:endParaRPr lang="en-AU" sz="1800" dirty="0">
              <a:effectLst/>
              <a:latin typeface="Nokia Pure Text Light" panose="020B0304040602060303" pitchFamily="34" charset="0"/>
              <a:ea typeface="Calibri" panose="020F0502020204030204" pitchFamily="34" charset="0"/>
              <a:cs typeface="Calibri" panose="020F0502020204030204" pitchFamily="34" charset="0"/>
            </a:endParaRPr>
          </a:p>
          <a:p>
            <a:endParaRPr lang="en-AU" dirty="0"/>
          </a:p>
          <a:p>
            <a:r>
              <a:rPr lang="en-GB" sz="900" b="1" kern="1200" dirty="0">
                <a:solidFill>
                  <a:schemeClr val="tx1"/>
                </a:solidFill>
                <a:effectLst/>
                <a:latin typeface="+mn-lt"/>
                <a:ea typeface="+mn-ea"/>
                <a:cs typeface="+mn-cs"/>
              </a:rPr>
              <a:t>What is this research abou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Machine learning is used in everything from image recognition and classification to natural language processing and robotic systems. But what could these data-driven, trained systems mean for future mobile networks? What if we could engineer radios that could adapt their signalling schemes to achieve the best performance for any situation, learning from one another and effectively thinking for themselves? We believe a dynamic AI/ML-defined native air interface will be a key component of 6G networking in the future.</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the main use cas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Private networks could really benefit from these flexible radios. A learning network in a factory could be configured to support industrial sensors at one moment then rapidly reconfigure to support robotic systems or video surveillance. These radios make smart choices – moving between spectrum bands, reconfiguring signal paths and modulation schemes as the specific application demands. With the ability to handle scenarios that engineers haven’t even considered, a flexible interface that </a:t>
            </a:r>
            <a:r>
              <a:rPr lang="en-GB" sz="900" kern="1200" dirty="0" err="1">
                <a:solidFill>
                  <a:schemeClr val="tx1"/>
                </a:solidFill>
                <a:effectLst/>
                <a:latin typeface="+mn-lt"/>
                <a:ea typeface="+mn-ea"/>
                <a:cs typeface="+mn-cs"/>
              </a:rPr>
              <a:t>autoadapts</a:t>
            </a:r>
            <a:r>
              <a:rPr lang="en-GB" sz="900" kern="1200" dirty="0">
                <a:solidFill>
                  <a:schemeClr val="tx1"/>
                </a:solidFill>
                <a:effectLst/>
                <a:latin typeface="+mn-lt"/>
                <a:ea typeface="+mn-ea"/>
                <a:cs typeface="+mn-cs"/>
              </a:rPr>
              <a:t> could very well change the face of network optimization.</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some of the advantages of an AI/ML-defined native air interface? </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 learning radio could dynamically learn and set up bespoke waveforms, constellations, and pilot signals that make more efficient use of available spectrum, resulting in improved performance.</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I/ML-based physical layer solutions can enhance the energy efficiency of 6G networks by achieving as much as a 50% reduction in transmit power over 5G for the same bandwidth and data rate.</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On the MAC layer, AI/ML could customize signalling and access schemes, which could adapt to the service needs automatically.</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 learned air interface could embrace hardware non-linearities and limitations and fully adapt to any target platform.</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I/ML could choose among all the myriad of parameters in a radio network far more effectively than a human.</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 learned AI/ML air interface could transform how R&amp;D is done by fundamentally altering the way algorithms are designed</a:t>
            </a:r>
            <a:endParaRPr lang="en-AU" sz="900" kern="1200" dirty="0">
              <a:solidFill>
                <a:schemeClr val="tx1"/>
              </a:solidFill>
              <a:effectLst/>
              <a:latin typeface="+mn-lt"/>
              <a:ea typeface="+mn-ea"/>
              <a:cs typeface="+mn-cs"/>
            </a:endParaRPr>
          </a:p>
          <a:p>
            <a:endParaRPr lang="en-AU" dirty="0"/>
          </a:p>
          <a:p>
            <a:endParaRPr lang="en-US" dirty="0"/>
          </a:p>
        </p:txBody>
      </p:sp>
      <p:sp>
        <p:nvSpPr>
          <p:cNvPr id="4" name="Slide Number Placeholder 3"/>
          <p:cNvSpPr>
            <a:spLocks noGrp="1"/>
          </p:cNvSpPr>
          <p:nvPr>
            <p:ph type="sldNum" sz="quarter" idx="5"/>
          </p:nvPr>
        </p:nvSpPr>
        <p:spPr/>
        <p:txBody>
          <a:bodyPr/>
          <a:lstStyle/>
          <a:p>
            <a:fld id="{58D4EF5B-ECC8-43EE-A509-D601DDF42AD0}" type="slidenum">
              <a:rPr lang="en-US" smtClean="0"/>
              <a:t>13</a:t>
            </a:fld>
            <a:endParaRPr lang="en-US"/>
          </a:p>
        </p:txBody>
      </p:sp>
    </p:spTree>
    <p:extLst>
      <p:ext uri="{BB962C8B-B14F-4D97-AF65-F5344CB8AC3E}">
        <p14:creationId xmlns:p14="http://schemas.microsoft.com/office/powerpoint/2010/main" val="4260462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200" dirty="0">
                <a:solidFill>
                  <a:srgbClr val="1D1E20"/>
                </a:solidFill>
                <a:effectLst/>
                <a:latin typeface="NokiaPureHeadline"/>
                <a:ea typeface="DengXian" panose="02010600030101010101" pitchFamily="2" charset="-122"/>
                <a:cs typeface="Arial" panose="020B0604020202020204" pitchFamily="34" charset="0"/>
              </a:rPr>
              <a:t>Sensing is one of the big transformations we anticipate in the move to 6G networks. </a:t>
            </a:r>
            <a:r>
              <a:rPr lang="en-AU" sz="900" b="0" i="0" dirty="0">
                <a:solidFill>
                  <a:srgbClr val="1D1E20"/>
                </a:solidFill>
                <a:effectLst/>
                <a:latin typeface="Nokia Pure Text" panose="020B0504040602060303" pitchFamily="34" charset="0"/>
              </a:rPr>
              <a:t>In this network, radio signals transmitted by base stations and user devices don’t just carry data. Those wireless propagation channels also become a source of situational information. The network can compare received signals reflected off objects against their original transmissions to gather information about those objects. Those received signals can tell us not just about the presence of an object, but it can determine its type and shape, its relative location and velocity, and even its material properties.</a:t>
            </a:r>
          </a:p>
          <a:p>
            <a:endParaRPr lang="en-AU" sz="900" b="0" i="0" dirty="0">
              <a:solidFill>
                <a:srgbClr val="1D1E20"/>
              </a:solidFill>
              <a:effectLst/>
              <a:latin typeface="Nokia Pure Text" panose="020B0504040602060303" pitchFamily="34" charset="0"/>
            </a:endParaRPr>
          </a:p>
          <a:p>
            <a:r>
              <a:rPr lang="en-GB" sz="900" b="1" kern="1200" dirty="0">
                <a:solidFill>
                  <a:schemeClr val="tx1"/>
                </a:solidFill>
                <a:effectLst/>
                <a:latin typeface="+mn-lt"/>
                <a:ea typeface="+mn-ea"/>
                <a:cs typeface="+mn-cs"/>
              </a:rPr>
              <a:t>What is this research abou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6G will give our networks the ability to sense. By bouncing signals off objects, the network will determine what’s there, how things are moving – and potentially even what they’re made of. The network becomes our sixth sense, extending our awareness beyond our immediate surrounding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This sensing capability can be used to map a digital version of the physical world. By interacting with this ‘digital twin’, we could extend our senses to every point the network touches.</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some possible use cases? </a:t>
            </a:r>
            <a:endParaRPr lang="en-GB" sz="900" kern="1200" dirty="0">
              <a:solidFill>
                <a:schemeClr val="tx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effectLst/>
                <a:latin typeface="+mn-lt"/>
                <a:ea typeface="+mn-ea"/>
                <a:cs typeface="+mn-cs"/>
              </a:rPr>
              <a:t>• The network could detect if a vulnerable person has fallen and even “hear” their heartbeat, alerting emergency responders about possible trauma.</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We could avoid traffic accidents by sensing unseen cars driving around a corner.</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We could interact directly with machines and robots remotely, seeing what they see, hearing what they hear, while directing their actions through simple hand gestures captured by the network.</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Network sensing could be used to provide security in places where cameras aren’t available or allowed, and it could be used to augment camera networks in foggy or dark conditions.</a:t>
            </a:r>
            <a:endParaRPr lang="en-AU" sz="900" kern="1200" dirty="0">
              <a:solidFill>
                <a:schemeClr val="tx1"/>
              </a:solidFill>
              <a:effectLst/>
              <a:latin typeface="+mn-lt"/>
              <a:ea typeface="+mn-ea"/>
              <a:cs typeface="+mn-cs"/>
            </a:endParaRP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the technologies required for network sensing?</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Developing this sixth sense will require the support of myriad developing technologies, from AI/ML to joint communication and sensing design. It will also require new spectrum. With near THz frequencies, we can build larger antenna arrays with more narrow beams, achieving greater angular precision. With wider bands, we also get better time resolution of the back reflected signal, and hence better distance accuracy. The network will perceive radio frequency reflections as images similar to the visual images humans perceive with their eyes. Other factors key to network sensing will be 6G’s greater density of cells, advanced MIMO beamforming techniques and AI-driven signal processing capabilities</a:t>
            </a:r>
            <a:endParaRPr lang="en-AU" sz="9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E85DFB43-5DEE-46D9-8D96-FAD2C1CF41D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3437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dirty="0">
                <a:solidFill>
                  <a:srgbClr val="1D1E20"/>
                </a:solidFill>
                <a:effectLst/>
                <a:latin typeface="Nokia Pure Text" panose="020B0504040602060303" pitchFamily="34" charset="0"/>
              </a:rPr>
              <a:t>5G has done a tremendous job in improving reliability of wireless communication for a plethora of applications and services, but there is still work to be done before 5G can replace the inflexible, yet trustworthy, cable for all </a:t>
            </a:r>
            <a:r>
              <a:rPr lang="en-AU" b="0" i="0" dirty="0" err="1">
                <a:solidFill>
                  <a:srgbClr val="1D1E20"/>
                </a:solidFill>
                <a:effectLst/>
                <a:latin typeface="Nokia Pure Text" panose="020B0504040602060303" pitchFamily="34" charset="0"/>
              </a:rPr>
              <a:t>services.We</a:t>
            </a:r>
            <a:r>
              <a:rPr lang="en-AU" b="0" i="0" dirty="0">
                <a:solidFill>
                  <a:srgbClr val="1D1E20"/>
                </a:solidFill>
                <a:effectLst/>
                <a:latin typeface="Nokia Pure Text" panose="020B0504040602060303" pitchFamily="34" charset="0"/>
              </a:rPr>
              <a:t> believe 6G will make it possible to eliminate wired communication entirely, at least for short-range transmission. </a:t>
            </a:r>
            <a:r>
              <a:rPr lang="en-AU" b="0" i="0" u="none" strike="noStrike" dirty="0">
                <a:solidFill>
                  <a:srgbClr val="239DF9"/>
                </a:solidFill>
                <a:effectLst/>
                <a:latin typeface="Nokia Pure Text" panose="020B0504040602060303" pitchFamily="34" charset="0"/>
                <a:hlinkClick r:id="rId3"/>
              </a:rPr>
              <a:t>In our 6G research</a:t>
            </a:r>
            <a:r>
              <a:rPr lang="en-AU" b="0" i="0" dirty="0">
                <a:solidFill>
                  <a:srgbClr val="1D1E20"/>
                </a:solidFill>
                <a:effectLst/>
                <a:latin typeface="Nokia Pure Text" panose="020B0504040602060303" pitchFamily="34" charset="0"/>
              </a:rPr>
              <a:t>, we are exploring how wireless can be used as an invisible cable, achieving the same level of latency and reliability as dedicated wires. This can unleash new possibilities for wireless communication such as replacing the highly sensitive internal networks in vehicles while maintaining the same service levels, lowering vehicle weight and reducing maintenance costs. A 6G network could enable flexible modular robots in an industrial IoT scenario. It could even keep our hearts beating and our limbs moving by providing the critical link in healthcare applications such as cardiac pacing or muscle control for disabled patients.</a:t>
            </a:r>
          </a:p>
          <a:p>
            <a:endParaRPr lang="en-AU" b="0" i="0" dirty="0">
              <a:solidFill>
                <a:srgbClr val="1D1E20"/>
              </a:solidFill>
              <a:effectLst/>
              <a:latin typeface="Nokia Pure Text" panose="020B0504040602060303" pitchFamily="34" charset="0"/>
            </a:endParaRPr>
          </a:p>
          <a:p>
            <a:r>
              <a:rPr lang="en-AU" b="0" i="0" u="none" strike="noStrike" dirty="0">
                <a:solidFill>
                  <a:srgbClr val="239DF9"/>
                </a:solidFill>
                <a:effectLst/>
                <a:latin typeface="Nokia Pure Text" panose="020B0504040602060303" pitchFamily="34" charset="0"/>
                <a:hlinkClick r:id="rId4"/>
              </a:rPr>
              <a:t>In our 6G vision</a:t>
            </a:r>
            <a:r>
              <a:rPr lang="en-AU" b="0" i="0" dirty="0">
                <a:solidFill>
                  <a:srgbClr val="1D1E20"/>
                </a:solidFill>
                <a:effectLst/>
                <a:latin typeface="Nokia Pure Text" panose="020B0504040602060303" pitchFamily="34" charset="0"/>
              </a:rPr>
              <a:t>, all highly sensitive connectivity should be in-X, meaning it is provided by highly specialized radio cells installed within the entity where the application runs, for instance in robots, production modules vehicles and even human bodies. We say subnetwork, because these specialized radio cells must be able to operate autonomously even when out of coverage of an overlay wide area network. These cells support life-critical services that cannot depend on connections to the overlay network, though they can benefit when those connections are available. </a:t>
            </a:r>
          </a:p>
          <a:p>
            <a:endParaRPr lang="en-AU" b="0" i="0" dirty="0">
              <a:solidFill>
                <a:srgbClr val="1D1E20"/>
              </a:solidFill>
              <a:effectLst/>
              <a:latin typeface="Nokia Pure Text" panose="020B0504040602060303" pitchFamily="34" charset="0"/>
            </a:endParaRPr>
          </a:p>
          <a:p>
            <a:r>
              <a:rPr lang="en-GB" sz="900" b="1" kern="1200" dirty="0">
                <a:solidFill>
                  <a:schemeClr val="tx1"/>
                </a:solidFill>
                <a:effectLst/>
                <a:latin typeface="+mn-lt"/>
                <a:ea typeface="+mn-ea"/>
                <a:cs typeface="+mn-cs"/>
              </a:rPr>
              <a:t>What is this research abou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6G will permit wireless to be used as an invisible cable, achieving the same level of latency and reliability as dedicated wires to support life-critical services. We call these extreme connectivity systems in-X subnetworks.</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some possible use cases? </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In-X subnetworks could enable flexible, modular robots in industrial IoT. They could provide the links between actuators on robot arms, giving them much broader ranges of motion as well as allowing groups of robots to coordinate high precision operation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These subnetworks could replace the cables that link the life-critical functions in our vehicles, for instance braking, acceleration and assisted-driving sensors. This could potentially lower vehicle weights and reduce maintenance costs while maintaining the same level of service reliability.</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In-X could keep our hearts beating and our limbs moving by providing the critical link in healthcare applications such as cardiac pacing or muscle control for disabled patients.</a:t>
            </a:r>
            <a:endParaRPr lang="en-AU" sz="900" kern="1200" dirty="0">
              <a:solidFill>
                <a:schemeClr val="tx1"/>
              </a:solidFill>
              <a:effectLst/>
              <a:latin typeface="+mn-lt"/>
              <a:ea typeface="+mn-ea"/>
              <a:cs typeface="+mn-cs"/>
            </a:endParaRP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the main challeng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A large amount of spectrum is needed for making the in-X concept a reality because more spectral bandwidth allows for more robust connections, which in turn provides higher fault toleranc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Wireless is a shared medium, prone to detrimental effects such as fading, noise and interference – all of which could compromise the integrity of an in-X subnetwork connection.</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New updated system design and configuration are needed to enable 6G to support use cases with extreme requirements such as latency loop cycles below 100 </a:t>
            </a:r>
            <a:r>
              <a:rPr lang="en-GB" sz="900" kern="1200" dirty="0" err="1">
                <a:solidFill>
                  <a:schemeClr val="tx1"/>
                </a:solidFill>
                <a:effectLst/>
                <a:latin typeface="+mn-lt"/>
                <a:ea typeface="+mn-ea"/>
                <a:cs typeface="+mn-cs"/>
              </a:rPr>
              <a:t>μs</a:t>
            </a:r>
            <a:r>
              <a:rPr lang="en-GB" sz="900" kern="1200" dirty="0">
                <a:solidFill>
                  <a:schemeClr val="tx1"/>
                </a:solidFill>
                <a:effectLst/>
                <a:latin typeface="+mn-lt"/>
                <a:ea typeface="+mn-ea"/>
                <a:cs typeface="+mn-cs"/>
              </a:rPr>
              <a:t> with nine times reliability and extremely high device density for future IoT deployments.</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ich technologies could help to overcome these challeng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In our vision, all highly sensitive connectivity should be in-X, meaning it is provided by highly specialized radio cells installed within the entity where the application runs. </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These specialized radio cells must be able to operate autonomously, even when outside the coverage of an overlay wide area network. They would keep critical traffic local, minimizing latency.</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In-X subnetworks would be based on a proactive radio design that follows an act-before-fail approach exploiting channel hopping and packet repetition. A smart radio resource management would then counteract interference in very dense scenarios, providing robustness against non-cellular interference created by malicious attackers like jammers.</a:t>
            </a:r>
            <a:endParaRPr lang="en-AU"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58D4EF5B-ECC8-43EE-A509-D601DDF42AD0}" type="slidenum">
              <a:rPr lang="en-US" smtClean="0"/>
              <a:t>15</a:t>
            </a:fld>
            <a:endParaRPr lang="en-US"/>
          </a:p>
        </p:txBody>
      </p:sp>
    </p:spTree>
    <p:extLst>
      <p:ext uri="{BB962C8B-B14F-4D97-AF65-F5344CB8AC3E}">
        <p14:creationId xmlns:p14="http://schemas.microsoft.com/office/powerpoint/2010/main" val="16707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1" kern="1200" dirty="0">
                <a:solidFill>
                  <a:schemeClr val="tx1"/>
                </a:solidFill>
                <a:effectLst/>
                <a:latin typeface="+mn-lt"/>
                <a:ea typeface="+mn-ea"/>
                <a:cs typeface="+mn-cs"/>
              </a:rPr>
              <a:t>What is this research abou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Networks have traditionally been measured according to their speed, capacity and latency, but the 6G era will require a new architecture for a new set of values. Sustainability, digital inclusion, security and privacy are becoming the new key metrics for networking.</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Our research explores the potential for a new architecture with seven distinct design criteria: cloud platform, simplification and sustainability, flexibility, programmability, specialization, robustness and security, and native integration of AI/ML capabilities.</a:t>
            </a:r>
            <a:endParaRPr lang="en-AU" sz="9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8D4EF5B-ECC8-43EE-A509-D601DDF42AD0}" type="slidenum">
              <a:rPr lang="en-US" smtClean="0"/>
              <a:t>16</a:t>
            </a:fld>
            <a:endParaRPr lang="en-US"/>
          </a:p>
        </p:txBody>
      </p:sp>
    </p:spTree>
    <p:extLst>
      <p:ext uri="{BB962C8B-B14F-4D97-AF65-F5344CB8AC3E}">
        <p14:creationId xmlns:p14="http://schemas.microsoft.com/office/powerpoint/2010/main" val="883034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4313" indent="-214313" defTabSz="457189" fontAlgn="base">
              <a:spcAft>
                <a:spcPts val="450"/>
              </a:spcAft>
              <a:buClr>
                <a:schemeClr val="tx1"/>
              </a:buClr>
              <a:buFont typeface="Arial" panose="020B0604020202020204" pitchFamily="34" charset="0"/>
              <a:buChar char="•"/>
              <a:defRPr/>
            </a:pPr>
            <a:r>
              <a:rPr lang="en-US" sz="900" dirty="0">
                <a:solidFill>
                  <a:schemeClr val="tx1"/>
                </a:solidFill>
                <a:latin typeface="Calibri" panose="020F0502020204030204" pitchFamily="34" charset="0"/>
                <a:cs typeface="Calibri" panose="020F0502020204030204" pitchFamily="34" charset="0"/>
              </a:rPr>
              <a:t>The number of threats is increasing significantly due to the reasons mentioned on the left side. Especially the billions of devices and many subnetworks of different sources , and also microservices, e.g., from open source, cannot be trusted. Open interfaces allow for more flexibility, but also open up more opportunities to attack the system. Clouds are better trusted, because that is in the hands of big companies whose reputation depends on a secure data center infrastructure.</a:t>
            </a:r>
          </a:p>
          <a:p>
            <a:pPr marL="171450" indent="-171450" defTabSz="457189" fontAlgn="base">
              <a:spcAft>
                <a:spcPts val="450"/>
              </a:spcAft>
              <a:buClr>
                <a:schemeClr val="tx1"/>
              </a:buClr>
              <a:buFont typeface="Arial" panose="020B0604020202020204" pitchFamily="34" charset="0"/>
              <a:buChar char="•"/>
              <a:defRPr/>
            </a:pPr>
            <a:r>
              <a:rPr lang="en-US" sz="900" dirty="0">
                <a:solidFill>
                  <a:schemeClr val="tx1"/>
                </a:solidFill>
                <a:latin typeface="Calibri" panose="020F0502020204030204" pitchFamily="34" charset="0"/>
                <a:cs typeface="Calibri" panose="020F0502020204030204" pitchFamily="34" charset="0"/>
              </a:rPr>
              <a:t>Different technology enablers are therefore essential to enable trusted services on a zero-trust infrastructure, e.g.</a:t>
            </a:r>
          </a:p>
          <a:p>
            <a:pPr marL="514350" marR="0" lvl="1"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Creation of a trusted execution environment with flexible anchors of trust</a:t>
            </a:r>
          </a:p>
          <a:p>
            <a:pPr marL="514350" marR="0" lvl="1"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Mutual authentication between interacting entities at scale</a:t>
            </a:r>
          </a:p>
          <a:p>
            <a:pPr marL="514350" marR="0" lvl="1"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Automated operation and orchestration enabled by AI/ML, or also the auto-creation of SW, are expected to enhance security, because those approaches minimize interrupts for human intervention and hence also minimize opportunities for malicious human intervention. </a:t>
            </a:r>
          </a:p>
          <a:p>
            <a:pPr marL="514350" marR="0" lvl="1"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AI-assisted monitoring allows for detection of malicious anomaly behavior and automated response to the attack.</a:t>
            </a:r>
          </a:p>
          <a:p>
            <a:pPr marL="514350" marR="0" lvl="1"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Privacy preserving technologies such as homomorphic encryption will allow for handling data streams without the need to decrypt its content.</a:t>
            </a:r>
          </a:p>
          <a:p>
            <a:pPr marL="171450" marR="0" lvl="0" indent="-171450" algn="l" defTabSz="457189" rtl="0" eaLnBrk="1" fontAlgn="base" latinLnBrk="0" hangingPunct="1">
              <a:lnSpc>
                <a:spcPct val="100000"/>
              </a:lnSpc>
              <a:spcBef>
                <a:spcPts val="0"/>
              </a:spcBef>
              <a:spcAft>
                <a:spcPts val="450"/>
              </a:spcAft>
              <a:buClr>
                <a:schemeClr val="tx1"/>
              </a:buClr>
              <a:buSzTx/>
              <a:buFont typeface="Arial" panose="020B0604020202020204" pitchFamily="34" charset="0"/>
              <a:buChar char="•"/>
              <a:tabLst/>
              <a:defRPr/>
            </a:pPr>
            <a:r>
              <a:rPr lang="en-US" sz="900" dirty="0">
                <a:solidFill>
                  <a:schemeClr val="tx1"/>
                </a:solidFill>
                <a:latin typeface="Calibri" panose="020F0502020204030204" pitchFamily="34" charset="0"/>
                <a:cs typeface="Calibri" panose="020F0502020204030204" pitchFamily="34" charset="0"/>
              </a:rPr>
              <a:t>Quantum computing is often mentioned in relation to security, because future quantum computers that are stable and big enough will be able to rapidly decrypt today’s codes. Quantum-safe data (which are often stored for &gt;10 years) is therefore needed such that they cannot be decrypted by future quantum computers. </a:t>
            </a:r>
          </a:p>
          <a:p>
            <a:pPr marL="214313" indent="-214313" defTabSz="457189" fontAlgn="base">
              <a:spcAft>
                <a:spcPts val="450"/>
              </a:spcAft>
              <a:buClr>
                <a:schemeClr val="tx1"/>
              </a:buClr>
              <a:buFont typeface="Arial" panose="020B0604020202020204" pitchFamily="34" charset="0"/>
              <a:buChar char="•"/>
              <a:defRPr/>
            </a:pPr>
            <a:r>
              <a:rPr lang="en-US" sz="900" dirty="0">
                <a:solidFill>
                  <a:schemeClr val="tx1"/>
                </a:solidFill>
                <a:latin typeface="Calibri" panose="020F0502020204030204" pitchFamily="34" charset="0"/>
                <a:cs typeface="Calibri" panose="020F0502020204030204" pitchFamily="34" charset="0"/>
              </a:rPr>
              <a:t>Quantum mechanical principles are also used for Quantum Key Distribution over fiber or free-space optical links (already used for secure data exchange in govt. and banking applications)</a:t>
            </a:r>
          </a:p>
          <a:p>
            <a:endParaRPr lang="en-AU" dirty="0"/>
          </a:p>
          <a:p>
            <a:r>
              <a:rPr lang="en-GB" sz="900" b="1" kern="1200" dirty="0">
                <a:solidFill>
                  <a:schemeClr val="tx1"/>
                </a:solidFill>
                <a:effectLst/>
                <a:latin typeface="+mn-lt"/>
                <a:ea typeface="+mn-ea"/>
                <a:cs typeface="+mn-cs"/>
              </a:rPr>
              <a:t>What is this research about?  </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We are researching a security vision and security technology enablers for the 6G era that achieve the highest benchmarks for privacy and trust. 6G will bring new capabilities and novel performance attributes to the network and enable diversity of new use cases and applications. But unless consumers, businesses and industries are comfortable that these networks and applications are secure, private and trustworthy, they will never embrace them.</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y is this research importan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The 6G world will bring holographic telepresence, autonomously collaborating robot systems, massive digital twinning, the digital transformation of our workplaces and even enhanced personal health monitoring. It’s clear that security and privacy will be of paramount importance. With billions more connected devices and sensors, and millions of subnetworks operating in untrusted domains, we can expect more and new types of threats. While artificial intelligence and machine learning will help in the fight, they will also provide new opportunities for hackers.</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at are some of the main challenges? </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 6G network will be able to locate a person’s precise position in a room, as well as track their habits. Hacked bio data could be used for sophisticated fraud and extortion attempt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The confidentiality of business data will assume even greater importance, as business models increasingly rely on controlled access to and ownership of customer, process and business data. Ransomware attacks, corporate espionage and “deep fakes” will pose ever bigger threats in the 6G era.</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The unparalleled processing power of quantum computing will give attackers means to hack current cryptographic algorithms and dependent security procedures once thought impenetrable.</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Localized industrial and campus networks will become the norm, as will their appeal to attackers, raising the possibility of industrial and critical infrastructure sabotage that could cause considerable damage to equipment and lives.</a:t>
            </a:r>
          </a:p>
          <a:p>
            <a:endParaRPr lang="en-AU" sz="900" kern="1200" dirty="0">
              <a:solidFill>
                <a:schemeClr val="tx1"/>
              </a:solidFill>
              <a:effectLst/>
              <a:latin typeface="+mn-lt"/>
              <a:ea typeface="+mn-ea"/>
              <a:cs typeface="+mn-cs"/>
            </a:endParaRPr>
          </a:p>
          <a:p>
            <a:r>
              <a:rPr lang="en-GB" sz="900" b="1" kern="1200" dirty="0">
                <a:solidFill>
                  <a:schemeClr val="tx1"/>
                </a:solidFill>
                <a:effectLst/>
                <a:latin typeface="+mn-lt"/>
                <a:ea typeface="+mn-ea"/>
                <a:cs typeface="+mn-cs"/>
              </a:rPr>
              <a:t>Which technologies could help to overcome these challeng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Many of today’s cryptographic algorithms will need to be replaced with quantum-safe concepts. This change needs to start now, so we can protect today’s long-term archived data against future disclosure. Also, Quantum Key Distribution may provide a way to secure 6G networks and protocol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Anonymization and enhanced privacy-preserving technologies will help to protect our data. This includes homomorphic encryption, a technique which allows us to </a:t>
            </a:r>
            <a:r>
              <a:rPr lang="en-GB" sz="900" kern="1200" dirty="0" err="1">
                <a:solidFill>
                  <a:schemeClr val="tx1"/>
                </a:solidFill>
                <a:effectLst/>
                <a:latin typeface="+mn-lt"/>
                <a:ea typeface="+mn-ea"/>
                <a:cs typeface="+mn-cs"/>
              </a:rPr>
              <a:t>analyze</a:t>
            </a:r>
            <a:r>
              <a:rPr lang="en-GB" sz="900" kern="1200" dirty="0">
                <a:solidFill>
                  <a:schemeClr val="tx1"/>
                </a:solidFill>
                <a:effectLst/>
                <a:latin typeface="+mn-lt"/>
                <a:ea typeface="+mn-ea"/>
                <a:cs typeface="+mn-cs"/>
              </a:rPr>
              <a:t> data without disclosing it.</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Trust technologies like Trusted Platform Module and Trusted Execution Environments will attest data and system integrity as well as provide proof of data ownership anchored in silicon and hardware.</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Distributed ledger technologies such as blockchain technology will be used for tamper proof tracking of security claims like data access rights. Distributed ledger technologies provide a secure framework to simplify establishment of trust across heterogeneous operator domains and enhance 6G era use cases.</a:t>
            </a:r>
            <a:endParaRPr lang="en-AU" sz="900" kern="1200" dirty="0">
              <a:solidFill>
                <a:schemeClr val="tx1"/>
              </a:solidFill>
              <a:effectLst/>
              <a:latin typeface="+mn-lt"/>
              <a:ea typeface="+mn-ea"/>
              <a:cs typeface="+mn-cs"/>
            </a:endParaRPr>
          </a:p>
          <a:p>
            <a:r>
              <a:rPr lang="en-GB" sz="900" kern="1200" dirty="0">
                <a:solidFill>
                  <a:schemeClr val="tx1"/>
                </a:solidFill>
                <a:effectLst/>
                <a:latin typeface="+mn-lt"/>
                <a:ea typeface="+mn-ea"/>
                <a:cs typeface="+mn-cs"/>
              </a:rPr>
              <a:t>• Industrial networks will be safeguarded with measures such as physical layer protection and jamming detectors. They will have countermeasures like directional null steering for uplink jamming mitigation and frequency hopping.</a:t>
            </a:r>
            <a:endParaRPr lang="en-AU" sz="9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D4EF5B-ECC8-43EE-A509-D601DDF42A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2286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12.svg"/></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15.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12.svg"/></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5.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2.bin"/></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39.svg"/><Relationship Id="rId5" Type="http://schemas.openxmlformats.org/officeDocument/2006/relationships/image" Target="../media/image1.png"/><Relationship Id="rId4" Type="http://schemas.openxmlformats.org/officeDocument/2006/relationships/image" Target="../media/image36.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5.xml"/><Relationship Id="rId6" Type="http://schemas.openxmlformats.org/officeDocument/2006/relationships/image" Target="../media/image39.svg"/><Relationship Id="rId5" Type="http://schemas.openxmlformats.org/officeDocument/2006/relationships/image" Target="../media/image1.png"/><Relationship Id="rId4" Type="http://schemas.openxmlformats.org/officeDocument/2006/relationships/image" Target="../media/image36.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6.xml"/><Relationship Id="rId6" Type="http://schemas.openxmlformats.org/officeDocument/2006/relationships/image" Target="../media/image39.svg"/><Relationship Id="rId5" Type="http://schemas.openxmlformats.org/officeDocument/2006/relationships/image" Target="../media/image1.png"/><Relationship Id="rId4" Type="http://schemas.openxmlformats.org/officeDocument/2006/relationships/image" Target="../media/image36.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5.xml"/><Relationship Id="rId1" Type="http://schemas.openxmlformats.org/officeDocument/2006/relationships/tags" Target="../tags/tag7.xml"/><Relationship Id="rId6" Type="http://schemas.openxmlformats.org/officeDocument/2006/relationships/image" Target="../media/image39.svg"/><Relationship Id="rId5" Type="http://schemas.openxmlformats.org/officeDocument/2006/relationships/image" Target="../media/image1.png"/><Relationship Id="rId4" Type="http://schemas.openxmlformats.org/officeDocument/2006/relationships/image" Target="../media/image36.emf"/></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8.bin"/></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9.bin"/></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10.bin"/></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12.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12.bin"/></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36.emf"/><Relationship Id="rId4" Type="http://schemas.openxmlformats.org/officeDocument/2006/relationships/oleObject" Target="../embeddings/oleObject13.bin"/></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4.svg"/><Relationship Id="rId2" Type="http://schemas.openxmlformats.org/officeDocument/2006/relationships/slideMaster" Target="../slideMasters/slideMaster5.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9.jpeg"/><Relationship Id="rId4" Type="http://schemas.openxmlformats.org/officeDocument/2006/relationships/image" Target="../media/image36.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5.xml"/><Relationship Id="rId4" Type="http://schemas.openxmlformats.org/officeDocument/2006/relationships/image" Target="../media/image34.sv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6.xml"/><Relationship Id="rId4" Type="http://schemas.openxmlformats.org/officeDocument/2006/relationships/image" Target="../media/image47.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6.xml"/><Relationship Id="rId4" Type="http://schemas.openxmlformats.org/officeDocument/2006/relationships/image" Target="../media/image47.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47.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50.png"/><Relationship Id="rId1" Type="http://schemas.openxmlformats.org/officeDocument/2006/relationships/slideMaster" Target="../slideMasters/slideMaster6.xml"/><Relationship Id="rId4" Type="http://schemas.openxmlformats.org/officeDocument/2006/relationships/image" Target="../media/image47.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7.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7.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7.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2.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2.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2.sv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2.sv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2.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5.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5.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5.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4.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5.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23.png"/><Relationship Id="rId4" Type="http://schemas.openxmlformats.org/officeDocument/2006/relationships/image" Target="../media/image15.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2CC8E39-9A4E-A4DF-F50E-11E2BDCAFF7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FF67EED-9146-FEFB-B660-62A252EB5D8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9587788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1.2 Title">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0008015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4 Blue purple">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60F60C22-A791-BDB3-7DB7-6CED1F6F23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EBE77D4-E4DA-CE77-E76C-3E8B531132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B2458344-1D8A-AD78-22F2-19E9195D5C70}"/>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7EF10FC7-CD16-4FE0-D147-6699BA5DD5EF}"/>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22363175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9E58E77E-607A-B10C-6A1E-1FDCC493B0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5A41B74C-448A-E9DB-99A4-C027C856391E}"/>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6" name="Text Placeholder 42">
            <a:extLst>
              <a:ext uri="{FF2B5EF4-FFF2-40B4-BE49-F238E27FC236}">
                <a16:creationId xmlns:a16="http://schemas.microsoft.com/office/drawing/2014/main" id="{323BE2D8-96DD-89FD-A8A0-AD3C5252B2F8}"/>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33425607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Box 3">
            <a:extLst>
              <a:ext uri="{FF2B5EF4-FFF2-40B4-BE49-F238E27FC236}">
                <a16:creationId xmlns:a16="http://schemas.microsoft.com/office/drawing/2014/main" id="{A5713A89-53EE-064B-A22B-BEF22E8A423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12DD183D-1C4C-601F-AC8C-AE279C8AC7D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5674FC20-B245-3BE6-601F-69DFE69FEE67}"/>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B91E5902-C2E9-D3B8-D948-936CB8D112F3}"/>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7412644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6F59066-E354-0DB8-7A40-51C8099A53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949C0936-7FB5-7397-E0A9-87DC53D5938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DC19523E-047B-7F2F-7682-5F615BFD87A8}"/>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210064281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4 Orange re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09E85CE-9605-4A0C-35E0-7A31498D48D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4000" cy="5143499"/>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6F59066-E354-0DB8-7A40-51C8099A53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949C0936-7FB5-7397-E0A9-87DC53D5938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DC19523E-047B-7F2F-7682-5F615BFD87A8}"/>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24328578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3" name="TextBox 2">
            <a:extLst>
              <a:ext uri="{FF2B5EF4-FFF2-40B4-BE49-F238E27FC236}">
                <a16:creationId xmlns:a16="http://schemas.microsoft.com/office/drawing/2014/main" id="{3E33991A-B775-F150-1F53-A41B2C8F75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96EA730F-C7F6-E44E-4005-1683E0B3AD0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8582201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3" name="TextBox 2">
            <a:extLst>
              <a:ext uri="{FF2B5EF4-FFF2-40B4-BE49-F238E27FC236}">
                <a16:creationId xmlns:a16="http://schemas.microsoft.com/office/drawing/2014/main" id="{CEEAF690-F016-5F35-1D32-4ED93EF516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C31C7544-89E1-10F9-9C3C-A41F2F443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36807441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6F59066-E354-0DB8-7A40-51C8099A53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9895841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0697E692-1374-AF99-3DF8-092F6E929B8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0615605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4" name="TextBox 3">
            <a:extLst>
              <a:ext uri="{FF2B5EF4-FFF2-40B4-BE49-F238E27FC236}">
                <a16:creationId xmlns:a16="http://schemas.microsoft.com/office/drawing/2014/main" id="{A5713A89-53EE-064B-A22B-BEF22E8A423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12DD183D-1C4C-601F-AC8C-AE279C8AC7D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2739440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6 Half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853DDBC-443E-D2EE-AA09-F815D5BE49A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2828423F-10A4-D452-0424-8A3CAC2408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33D91186-F39A-461C-3CC9-A6507EE465FF}"/>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B5F4FFD2-D5D2-2F5A-BE1E-C1FC6519294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8128130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EBE77D4-E4DA-CE77-E76C-3E8B531132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591630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4" name="Picture 3" descr="Icon&#10;&#10;Description automatically generated">
            <a:extLst>
              <a:ext uri="{FF2B5EF4-FFF2-40B4-BE49-F238E27FC236}">
                <a16:creationId xmlns:a16="http://schemas.microsoft.com/office/drawing/2014/main" id="{9E58E77E-607A-B10C-6A1E-1FDCC493B03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9115414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9" name="Picture 8" descr="Icon&#10;&#10;Description automatically generated">
            <a:extLst>
              <a:ext uri="{FF2B5EF4-FFF2-40B4-BE49-F238E27FC236}">
                <a16:creationId xmlns:a16="http://schemas.microsoft.com/office/drawing/2014/main" id="{D9E78FDF-FE2F-DEE3-08DC-EAF845D8C4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11530114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9" name="Picture 8" descr="Icon&#10;&#10;Description automatically generated">
            <a:extLst>
              <a:ext uri="{FF2B5EF4-FFF2-40B4-BE49-F238E27FC236}">
                <a16:creationId xmlns:a16="http://schemas.microsoft.com/office/drawing/2014/main" id="{AD25E4EF-E5A6-5E02-E7FC-1BA3968602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22552103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Picture 1" descr="Icon&#10;&#10;Description automatically generated">
            <a:extLst>
              <a:ext uri="{FF2B5EF4-FFF2-40B4-BE49-F238E27FC236}">
                <a16:creationId xmlns:a16="http://schemas.microsoft.com/office/drawing/2014/main" id="{A2DC66FE-5070-0474-3ACB-5E76E8A70EB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15782327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Picture 1" descr="Icon&#10;&#10;Description automatically generated">
            <a:extLst>
              <a:ext uri="{FF2B5EF4-FFF2-40B4-BE49-F238E27FC236}">
                <a16:creationId xmlns:a16="http://schemas.microsoft.com/office/drawing/2014/main" id="{EA20882D-5CF0-D10A-DFCB-011776BE668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406356866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Picture 1" descr="Icon&#10;&#10;Description automatically generated">
            <a:extLst>
              <a:ext uri="{FF2B5EF4-FFF2-40B4-BE49-F238E27FC236}">
                <a16:creationId xmlns:a16="http://schemas.microsoft.com/office/drawing/2014/main" id="{3CBE6D66-B60E-BAA8-FBD9-B9E1390566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27826064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9" name="Picture 8" descr="Icon&#10;&#10;Description automatically generated">
            <a:extLst>
              <a:ext uri="{FF2B5EF4-FFF2-40B4-BE49-F238E27FC236}">
                <a16:creationId xmlns:a16="http://schemas.microsoft.com/office/drawing/2014/main" id="{5148F63B-E82B-1B0C-3519-24CB42BE76F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13987322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9" name="Picture 8" descr="Icon&#10;&#10;Description automatically generated">
            <a:extLst>
              <a:ext uri="{FF2B5EF4-FFF2-40B4-BE49-F238E27FC236}">
                <a16:creationId xmlns:a16="http://schemas.microsoft.com/office/drawing/2014/main" id="{353767D4-98C7-7094-4D88-A802106CBDD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46397" y="1648984"/>
            <a:ext cx="3797981" cy="1810613"/>
          </a:xfrm>
          <a:prstGeom prst="rect">
            <a:avLst/>
          </a:prstGeom>
        </p:spPr>
      </p:pic>
    </p:spTree>
    <p:extLst>
      <p:ext uri="{BB962C8B-B14F-4D97-AF65-F5344CB8AC3E}">
        <p14:creationId xmlns:p14="http://schemas.microsoft.com/office/powerpoint/2010/main" val="248806939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1 White end slide">
    <p:bg>
      <p:bgPr>
        <a:solidFill>
          <a:schemeClr val="bg1"/>
        </a:solidFill>
        <a:effectLst/>
      </p:bgPr>
    </p:bg>
    <p:spTree>
      <p:nvGrpSpPr>
        <p:cNvPr id="1" name=""/>
        <p:cNvGrpSpPr/>
        <p:nvPr/>
      </p:nvGrpSpPr>
      <p:grpSpPr>
        <a:xfrm>
          <a:off x="0" y="0"/>
          <a:ext cx="0" cy="0"/>
          <a:chOff x="0" y="0"/>
          <a:chExt cx="0" cy="0"/>
        </a:xfrm>
      </p:grpSpPr>
      <p:pic>
        <p:nvPicPr>
          <p:cNvPr id="8" name="Picture 7" descr="Icon&#10;&#10;Description automatically generated">
            <a:extLst>
              <a:ext uri="{FF2B5EF4-FFF2-40B4-BE49-F238E27FC236}">
                <a16:creationId xmlns:a16="http://schemas.microsoft.com/office/drawing/2014/main" id="{A315BAD7-0771-5A3C-7E43-3CAC6653E27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2028" y="1648984"/>
            <a:ext cx="3798370" cy="1810800"/>
          </a:xfrm>
          <a:prstGeom prst="rect">
            <a:avLst/>
          </a:prstGeom>
        </p:spPr>
      </p:pic>
    </p:spTree>
    <p:extLst>
      <p:ext uri="{BB962C8B-B14F-4D97-AF65-F5344CB8AC3E}">
        <p14:creationId xmlns:p14="http://schemas.microsoft.com/office/powerpoint/2010/main" val="1082591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F51C177B-3FC8-584E-049C-6A9FE0A186D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1C285EB0-637E-9CAE-CF2D-FD5A572F557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F69C3BFD-65A3-382D-EA4E-2A6602A965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ADBADA14-4C6E-3591-235D-3AE34227961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42255367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7_6.2 Gray title">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E84DC91-DF1A-4D0B-8320-9E39B8FC8C86}"/>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2" name="Rectangle 1">
            <a:extLst>
              <a:ext uri="{FF2B5EF4-FFF2-40B4-BE49-F238E27FC236}">
                <a16:creationId xmlns:a16="http://schemas.microsoft.com/office/drawing/2014/main" id="{F26B6EE0-7DA0-4889-A954-9E25C22B8A89}"/>
              </a:ext>
            </a:extLst>
          </p:cNvPr>
          <p:cNvSpPr/>
          <p:nvPr userDrawn="1"/>
        </p:nvSpPr>
        <p:spPr>
          <a:xfrm>
            <a:off x="0" y="0"/>
            <a:ext cx="9144000" cy="5143500"/>
          </a:xfrm>
          <a:prstGeom prst="rect">
            <a:avLst/>
          </a:prstGeom>
          <a:gradFill>
            <a:gsLst>
              <a:gs pos="1000">
                <a:schemeClr val="tx2"/>
              </a:gs>
              <a:gs pos="100000">
                <a:schemeClr val="tx2">
                  <a:alpha val="8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algn="l"/>
            <a:endParaRPr lang="en-GB" sz="900"/>
          </a:p>
        </p:txBody>
      </p:sp>
      <p:sp>
        <p:nvSpPr>
          <p:cNvPr id="4" name="Footer Placeholder 3">
            <a:extLst>
              <a:ext uri="{FF2B5EF4-FFF2-40B4-BE49-F238E27FC236}">
                <a16:creationId xmlns:a16="http://schemas.microsoft.com/office/drawing/2014/main" id="{8E24E133-AF05-4EA9-B8C1-517DA46C9D21}"/>
              </a:ext>
            </a:extLst>
          </p:cNvPr>
          <p:cNvSpPr>
            <a:spLocks noGrp="1"/>
          </p:cNvSpPr>
          <p:nvPr>
            <p:ph type="ftr" sz="quarter" idx="12"/>
          </p:nvPr>
        </p:nvSpPr>
        <p:spPr/>
        <p:txBody>
          <a:bodyPr/>
          <a:lstStyle>
            <a:lvl1pPr>
              <a:defRPr>
                <a:solidFill>
                  <a:schemeClr val="bg1"/>
                </a:solidFill>
              </a:defRPr>
            </a:lvl1pPr>
          </a:lstStyle>
          <a:p>
            <a:r>
              <a:rPr lang="en-GB"/>
              <a:t>Public</a:t>
            </a:r>
            <a:endParaRPr lang="en-US"/>
          </a:p>
        </p:txBody>
      </p:sp>
      <p:pic>
        <p:nvPicPr>
          <p:cNvPr id="10" name="Picture 9">
            <a:extLst>
              <a:ext uri="{FF2B5EF4-FFF2-40B4-BE49-F238E27FC236}">
                <a16:creationId xmlns:a16="http://schemas.microsoft.com/office/drawing/2014/main" id="{987DE337-A51F-4266-8975-414437B104E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
        <p:nvSpPr>
          <p:cNvPr id="11" name="Text Placeholder 42">
            <a:extLst>
              <a:ext uri="{FF2B5EF4-FFF2-40B4-BE49-F238E27FC236}">
                <a16:creationId xmlns:a16="http://schemas.microsoft.com/office/drawing/2014/main" id="{A9B4744C-A454-884E-7545-29FFE7DE7F1C}"/>
              </a:ext>
            </a:extLst>
          </p:cNvPr>
          <p:cNvSpPr>
            <a:spLocks noGrp="1"/>
          </p:cNvSpPr>
          <p:nvPr>
            <p:ph type="body" sz="quarter" idx="13"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3"/>
                </a:solidFill>
                <a:latin typeface="Nokia Pure Headline Ultra Light" panose="020B0204020202020204" pitchFamily="34" charset="0"/>
              </a:defRPr>
            </a:lvl1pPr>
          </a:lstStyle>
          <a:p>
            <a:pPr lvl="0"/>
            <a:r>
              <a:rPr lang="en-US" noProof="0"/>
              <a:t>Click to edit headline</a:t>
            </a:r>
          </a:p>
        </p:txBody>
      </p:sp>
      <p:sp>
        <p:nvSpPr>
          <p:cNvPr id="12" name="Text Placeholder 42">
            <a:extLst>
              <a:ext uri="{FF2B5EF4-FFF2-40B4-BE49-F238E27FC236}">
                <a16:creationId xmlns:a16="http://schemas.microsoft.com/office/drawing/2014/main" id="{93B27CD1-1AC8-6BB3-437F-36D56106C3E7}"/>
              </a:ext>
            </a:extLst>
          </p:cNvPr>
          <p:cNvSpPr>
            <a:spLocks noGrp="1"/>
          </p:cNvSpPr>
          <p:nvPr>
            <p:ph type="body" sz="quarter" idx="14"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Ultra Light" panose="020B0204020202020204" pitchFamily="34" charset="0"/>
              </a:defRPr>
            </a:lvl1pPr>
          </a:lstStyle>
          <a:p>
            <a:pPr lvl="0"/>
            <a:r>
              <a:rPr lang="en-US" noProof="0"/>
              <a:t>Click to edit headline</a:t>
            </a:r>
          </a:p>
        </p:txBody>
      </p:sp>
      <p:sp>
        <p:nvSpPr>
          <p:cNvPr id="9" name="TextBox 8">
            <a:extLst>
              <a:ext uri="{FF2B5EF4-FFF2-40B4-BE49-F238E27FC236}">
                <a16:creationId xmlns:a16="http://schemas.microsoft.com/office/drawing/2014/main" id="{0B5F8D19-9B30-CB6E-E21B-538841044ABC}"/>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2 Nokia</a:t>
            </a:r>
          </a:p>
        </p:txBody>
      </p:sp>
      <p:sp>
        <p:nvSpPr>
          <p:cNvPr id="13" name="Slide Number Placeholder 5">
            <a:extLst>
              <a:ext uri="{FF2B5EF4-FFF2-40B4-BE49-F238E27FC236}">
                <a16:creationId xmlns:a16="http://schemas.microsoft.com/office/drawing/2014/main" id="{FF302E91-2E0E-4DC0-4B1C-0861136684FF}"/>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29143198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2CC8E39-9A4E-A4DF-F50E-11E2BDCAFF7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FF67EED-9146-FEFB-B660-62A252EB5D8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6341449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9" name="TextBox 8">
            <a:extLst>
              <a:ext uri="{FF2B5EF4-FFF2-40B4-BE49-F238E27FC236}">
                <a16:creationId xmlns:a16="http://schemas.microsoft.com/office/drawing/2014/main" id="{55C1BFCD-6D0E-9392-8AF1-AA5AC554C5C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660ADFB8-3432-B307-E345-E3F3BD40FB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E8B6B60-CBCC-891E-2583-9E8CD3C9950B}"/>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CBFB85A3-5CE3-2927-6461-99DEDFB9D5F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pic>
        <p:nvPicPr>
          <p:cNvPr id="3" name="Picture 2">
            <a:extLst>
              <a:ext uri="{FF2B5EF4-FFF2-40B4-BE49-F238E27FC236}">
                <a16:creationId xmlns:a16="http://schemas.microsoft.com/office/drawing/2014/main" id="{C737B769-6E4A-B2AD-E021-DD10AE204752}"/>
              </a:ext>
            </a:extLst>
          </p:cNvPr>
          <p:cNvPicPr>
            <a:picLocks noChangeAspect="1"/>
          </p:cNvPicPr>
          <p:nvPr userDrawn="1"/>
        </p:nvPicPr>
        <p:blipFill>
          <a:blip r:embed="rId2"/>
          <a:stretch>
            <a:fillRect/>
          </a:stretch>
        </p:blipFill>
        <p:spPr>
          <a:xfrm>
            <a:off x="8085987" y="4492763"/>
            <a:ext cx="755970" cy="365792"/>
          </a:xfrm>
          <a:prstGeom prst="rect">
            <a:avLst/>
          </a:prstGeom>
        </p:spPr>
      </p:pic>
    </p:spTree>
    <p:extLst>
      <p:ext uri="{BB962C8B-B14F-4D97-AF65-F5344CB8AC3E}">
        <p14:creationId xmlns:p14="http://schemas.microsoft.com/office/powerpoint/2010/main" val="7971497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6FD5FAA-4E42-2A01-7A0D-9D47214A39C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43C41B3-444A-B935-7F1C-44CC756EF99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DFE4EE1-1B23-D0EA-39ED-CDDC6ECFE4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C726386B-D9AC-0FCA-9F12-0FA32276F2A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8788134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6B13C58-337C-7F31-E842-1040B36F0D2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0257226-AE3E-3B65-71BB-8A6565585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FC74384-DD2A-533D-796C-EFFF39625FF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ACB227E-CF72-2719-133F-6CBEB353488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73322642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AA37820-182D-1EB7-AF8B-A6B34F63F68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CE2E5BE2-B331-A0C0-8C3D-3B644FF16CA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C4471E01-4B5D-597C-1AAD-279941B82E1C}"/>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177C34D5-50E3-692A-4113-A20C2953002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1575407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4095FB67-347C-9744-DDEC-EB9F26AE1E3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8A08A66-7F86-F362-AA5F-FEC2F95CF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1E32FE7-F16C-F5A2-7976-C8AE67A2B60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1B4CAA9-38F1-6F57-641C-B296225D4B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3934296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27239245-EC69-0915-96DF-689D05839B6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1E7D37B-C01D-8FDC-39D7-B6613DBAB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2D8ACCE-D657-1865-39B4-712A9F5DDA4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CD2F1279-1655-0D51-01CE-FA8A8342117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9558488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1.2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42873265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1.1 Blan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39A41EB-58FB-922A-AD7C-3AE3F195AE9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A76F728-DC69-4AD8-9AEF-5B486F40096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E9B1CC16-8142-C9B4-AA53-7C6F5EB6495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22520D9A-9611-C82A-E40B-BC50B9BE663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444962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6 Half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629DB26-11E5-ACF0-2010-650C540428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48CDC4FF-5FCD-6139-0116-3D836D1460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E0338BE9-E41F-8369-F9D3-6CF49563032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20839AE3-23F8-8E55-3FA3-1B4150432C0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215901585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1.2 Titl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AE26DEAE-F305-C645-6B32-DF908A237F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761FD5D9-C8CE-C240-0A2D-0C207510560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1AC439E-0DDA-84C5-68C7-53D323ED0EC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9A6CDBE-EDE4-1381-C4AF-F7D0ED86948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8077398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1.3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37B7B596-4152-517C-5C30-64F14F1B9A2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8C58317-1366-95A8-E74C-B47D5FE79D6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0F4086A-EEE4-7238-CF78-1C3E853BE87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0D26E4F-5A2F-75BE-4956-4C895F30A9F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3485269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8EED543-A0D2-4B1E-84AB-35BA8760AB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E1B1C6CE-73A8-5D3B-7402-E61E80018D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0AF05F9E-C966-5628-2820-8F1395BF81EA}"/>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B9B0982-1098-65B6-0BE1-70000891D5B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21119225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9C7DDDB1-93FF-2E9E-1523-25C0AAD59D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68F1AEE4-E0F5-CB51-2839-A6829D6302C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02EAA2F-400B-986E-5A5D-4153560C0C7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D1B7E901-0A28-DA54-D8A7-5F7C60E94EE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3937805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36385816-6569-35D3-5A7C-C29AD01DAA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8C37985A-D671-5872-8D8B-469FEF28399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90B45F8-CBC4-7A3B-7C6A-F7367BB2479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FF8E67C-8567-FFCB-4C89-6BEA15B2703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3634417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7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Box 12">
            <a:extLst>
              <a:ext uri="{FF2B5EF4-FFF2-40B4-BE49-F238E27FC236}">
                <a16:creationId xmlns:a16="http://schemas.microsoft.com/office/drawing/2014/main" id="{1F0ADB73-9C9A-832B-D8BF-9AF20DAA106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5BF0B68-A9EA-223F-2B7F-9D6F0EEB64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64673BBF-80EC-695B-A9CC-59A70D3443D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CAC8A9F-15DB-739A-7B06-E325184316B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1468000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1.5 Numbered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a:t>Text here</a:t>
            </a:r>
          </a:p>
          <a:p>
            <a:pPr lvl="1"/>
            <a:r>
              <a:rPr lang="en-US"/>
              <a:t>Text here</a:t>
            </a:r>
          </a:p>
          <a:p>
            <a:pPr lvl="2"/>
            <a:r>
              <a:rPr lang="en-US"/>
              <a:t>Text here</a:t>
            </a:r>
          </a:p>
          <a:p>
            <a:pPr lvl="3"/>
            <a:r>
              <a:rPr lang="en-US"/>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F8516E12-24DD-827E-B42A-FEADBBD6DA7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713F659-CB75-ECA4-9103-AA521D00BDB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B0A1277-1BCA-C1CE-6430-E1E6743CC5F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E0B17C7F-E98A-8FDB-6CD3-CC1B3B50177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7168922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_1.2 Title">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36483954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6981148" y="2418218"/>
            <a:ext cx="1363492" cy="307063"/>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 name="TextBox 1">
            <a:extLst>
              <a:ext uri="{FF2B5EF4-FFF2-40B4-BE49-F238E27FC236}">
                <a16:creationId xmlns:a16="http://schemas.microsoft.com/office/drawing/2014/main" id="{87C7B85A-D75A-1A9C-EB9E-1F10BCD7B18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24452E9D-9590-537A-1306-6AC3186A676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933135B-E6E0-A180-C59B-EA4745CE657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E1E5813-C891-EC55-3C61-8BA65C529DF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40843090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 name="TextBox 1">
            <a:extLst>
              <a:ext uri="{FF2B5EF4-FFF2-40B4-BE49-F238E27FC236}">
                <a16:creationId xmlns:a16="http://schemas.microsoft.com/office/drawing/2014/main" id="{9DC94188-095E-2B15-B1C9-BFEA9CD8AD5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40B3BB8B-340F-1B2C-CFDB-82FD55A3DE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43C0A07D-57CA-BFF4-F4D9-3C2FC68A391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C2925E9-CEC5-C2C9-18E8-E9BC48F8A75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712298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A17DAC68-7FA5-283E-0003-FC78D893CBC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A5133E-5A19-2135-6AC8-95A70D3E458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56AF0067-8CB1-581C-E8B3-761B8AA8571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39B62371-B8A4-2689-1BCB-5F7AC2C2FF1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42983904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6272320"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5545305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3 O Blue green 2">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967EA1CC-2D93-908B-3C87-948B435B29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pic>
        <p:nvPicPr>
          <p:cNvPr id="9" name="Graphic 8">
            <a:extLst>
              <a:ext uri="{FF2B5EF4-FFF2-40B4-BE49-F238E27FC236}">
                <a16:creationId xmlns:a16="http://schemas.microsoft.com/office/drawing/2014/main" id="{97BD91BD-397D-7391-BD18-72579ACFF9E8}"/>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Tree>
    <p:extLst>
      <p:ext uri="{BB962C8B-B14F-4D97-AF65-F5344CB8AC3E}">
        <p14:creationId xmlns:p14="http://schemas.microsoft.com/office/powerpoint/2010/main" val="37189454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 White title">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5084"/>
          <a:stretch/>
        </p:blipFill>
        <p:spPr>
          <a:xfrm>
            <a:off x="5126775" y="-4796"/>
            <a:ext cx="4017225" cy="5143500"/>
          </a:xfrm>
          <a:prstGeom prst="rect">
            <a:avLst/>
          </a:prstGeom>
        </p:spPr>
      </p:pic>
    </p:spTree>
    <p:extLst>
      <p:ext uri="{BB962C8B-B14F-4D97-AF65-F5344CB8AC3E}">
        <p14:creationId xmlns:p14="http://schemas.microsoft.com/office/powerpoint/2010/main" val="121201763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6711112"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47BEB086-B161-40ED-B2E3-DDF397278FA8}"/>
              </a:ext>
            </a:extLst>
          </p:cNvPr>
          <p:cNvGrpSpPr/>
          <p:nvPr userDrawn="1"/>
        </p:nvGrpSpPr>
        <p:grpSpPr>
          <a:xfrm>
            <a:off x="7055828" y="2418218"/>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1154097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a:t>Presentation</a:t>
            </a:r>
            <a:br>
              <a:rPr lang="en-GB"/>
            </a:br>
            <a:r>
              <a:rPr lang="en-GB"/>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8" name="Graphic 3">
            <a:extLst>
              <a:ext uri="{FF2B5EF4-FFF2-40B4-BE49-F238E27FC236}">
                <a16:creationId xmlns:a16="http://schemas.microsoft.com/office/drawing/2014/main" id="{02491239-1144-EB94-E007-F05D770D71DA}"/>
              </a:ext>
            </a:extLst>
          </p:cNvPr>
          <p:cNvGrpSpPr/>
          <p:nvPr userDrawn="1"/>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D596CCAF-CFD0-78BA-B2DE-D4AAECC80E0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83A073E-6395-AB52-363B-C387025E75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2EA63C6-5343-F79F-D184-6FE2E97A361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5B14FF50-A296-F5AE-C68C-5D0294FDC1A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1474354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3 White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8798"/>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a:t>Presentation</a:t>
            </a:r>
            <a:br>
              <a:rPr lang="en-GB"/>
            </a:br>
            <a:r>
              <a:rPr lang="en-GB"/>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51148809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3E33991A-B775-F150-1F53-A41B2C8F75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5037458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CEEAF690-F016-5F35-1D32-4ED93EF516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914390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220807344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6642088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1 Blan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39A41EB-58FB-922A-AD7C-3AE3F195AE9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A76F728-DC69-4AD8-9AEF-5B486F40096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E9B1CC16-8142-C9B4-AA53-7C6F5EB6495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22520D9A-9611-C82A-E40B-BC50B9BE663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393866873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393230971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5713A89-53EE-064B-A22B-BEF22E8A423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Tree>
    <p:extLst>
      <p:ext uri="{BB962C8B-B14F-4D97-AF65-F5344CB8AC3E}">
        <p14:creationId xmlns:p14="http://schemas.microsoft.com/office/powerpoint/2010/main" val="12008507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Tree>
    <p:extLst>
      <p:ext uri="{BB962C8B-B14F-4D97-AF65-F5344CB8AC3E}">
        <p14:creationId xmlns:p14="http://schemas.microsoft.com/office/powerpoint/2010/main" val="18601797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79911372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5665237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82020286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5562060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67166862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6.1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198751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7.3 - Divider BlueGreen5">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13" name="TextBox 12">
            <a:extLst>
              <a:ext uri="{FF2B5EF4-FFF2-40B4-BE49-F238E27FC236}">
                <a16:creationId xmlns:a16="http://schemas.microsoft.com/office/drawing/2014/main" id="{BC0FACD4-71CC-9E35-CDCC-22C146E52E9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823572DF-299F-8B6C-1E42-1A659F39324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2">
            <a:extLst>
              <a:ext uri="{FF2B5EF4-FFF2-40B4-BE49-F238E27FC236}">
                <a16:creationId xmlns:a16="http://schemas.microsoft.com/office/drawing/2014/main" id="{F374EA10-DD32-7823-1E8C-8A5B6454CCC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cxnSp>
        <p:nvCxnSpPr>
          <p:cNvPr id="16" name="Straight Connector 15">
            <a:extLst>
              <a:ext uri="{FF2B5EF4-FFF2-40B4-BE49-F238E27FC236}">
                <a16:creationId xmlns:a16="http://schemas.microsoft.com/office/drawing/2014/main" id="{C71093FD-E35A-D112-A739-F351DF6F9E5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42">
            <a:extLst>
              <a:ext uri="{FF2B5EF4-FFF2-40B4-BE49-F238E27FC236}">
                <a16:creationId xmlns:a16="http://schemas.microsoft.com/office/drawing/2014/main" id="{B4CCFE40-D40E-A7E0-E99F-0E9E3E7CA3B1}"/>
              </a:ext>
            </a:extLst>
          </p:cNvPr>
          <p:cNvSpPr>
            <a:spLocks noGrp="1"/>
          </p:cNvSpPr>
          <p:nvPr>
            <p:ph type="body" sz="quarter" idx="12"/>
          </p:nvPr>
        </p:nvSpPr>
        <p:spPr>
          <a:xfrm>
            <a:off x="417600" y="3161471"/>
            <a:ext cx="8308800" cy="1108470"/>
          </a:xfrm>
          <a:prstGeom prst="rect">
            <a:avLst/>
          </a:prstGeom>
        </p:spPr>
        <p:txBody>
          <a:bodyPr lIns="0" tIns="0" rIns="0" bIns="0"/>
          <a:lstStyle>
            <a:lvl1pPr marL="0" indent="0">
              <a:buNone/>
              <a:defRPr sz="1600" baseline="0">
                <a:solidFill>
                  <a:schemeClr val="bg1"/>
                </a:solidFill>
                <a:latin typeface="Nokia Pure Text Light" panose="020B0403020202020204" pitchFamily="34" charset="0"/>
                <a:ea typeface="Nokia Pure Text Light" panose="020B0403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24617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2 Titl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AE26DEAE-F305-C645-6B32-DF908A237F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761FD5D9-C8CE-C240-0A2D-0C207510560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1AC439E-0DDA-84C5-68C7-53D323ED0EC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9A6CDBE-EDE4-1381-C4AF-F7D0ED86948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135852159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1.2 -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4" name="TextBox 13">
            <a:extLst>
              <a:ext uri="{FF2B5EF4-FFF2-40B4-BE49-F238E27FC236}">
                <a16:creationId xmlns:a16="http://schemas.microsoft.com/office/drawing/2014/main" id="{B4AE9558-F65E-E57A-5394-E3FBBB881C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792A02F9-A52E-683F-E045-1AFEBB2E551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6" name="Footer Placeholder 2">
            <a:extLst>
              <a:ext uri="{FF2B5EF4-FFF2-40B4-BE49-F238E27FC236}">
                <a16:creationId xmlns:a16="http://schemas.microsoft.com/office/drawing/2014/main" id="{2949A3C7-28A6-58FC-0E18-DC956F4648A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cxnSp>
        <p:nvCxnSpPr>
          <p:cNvPr id="3" name="Straight Connector 2">
            <a:extLst>
              <a:ext uri="{FF2B5EF4-FFF2-40B4-BE49-F238E27FC236}">
                <a16:creationId xmlns:a16="http://schemas.microsoft.com/office/drawing/2014/main" id="{CEFAA3E0-B00E-20AD-DF22-CC9382F9B43E}"/>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46251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3.1 - Blank dar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60"/>
            <a:ext cx="972000" cy="219014"/>
          </a:xfrm>
          <a:prstGeom prst="rect">
            <a:avLst/>
          </a:prstGeom>
        </p:spPr>
      </p:pic>
      <p:sp>
        <p:nvSpPr>
          <p:cNvPr id="16" name="TextBox 15">
            <a:extLst>
              <a:ext uri="{FF2B5EF4-FFF2-40B4-BE49-F238E27FC236}">
                <a16:creationId xmlns:a16="http://schemas.microsoft.com/office/drawing/2014/main" id="{EFADF482-1182-15C3-2090-EF4C2A8F787E}"/>
              </a:ext>
            </a:extLst>
          </p:cNvPr>
          <p:cNvSpPr txBox="1"/>
          <p:nvPr userDrawn="1"/>
        </p:nvSpPr>
        <p:spPr>
          <a:xfrm>
            <a:off x="680029" y="4858556"/>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7" name="Slide Number Placeholder 5">
            <a:extLst>
              <a:ext uri="{FF2B5EF4-FFF2-40B4-BE49-F238E27FC236}">
                <a16:creationId xmlns:a16="http://schemas.microsoft.com/office/drawing/2014/main" id="{B5714932-B041-C268-D37A-89265A6401E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0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8" name="Footer Placeholder 2">
            <a:extLst>
              <a:ext uri="{FF2B5EF4-FFF2-40B4-BE49-F238E27FC236}">
                <a16:creationId xmlns:a16="http://schemas.microsoft.com/office/drawing/2014/main" id="{3D6BE398-80E2-C124-8939-1FA1DF0C101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189"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Berlin 6G Conference - 28th June 2023</a:t>
            </a:r>
          </a:p>
        </p:txBody>
      </p:sp>
      <p:cxnSp>
        <p:nvCxnSpPr>
          <p:cNvPr id="2" name="Straight Connector 1">
            <a:extLst>
              <a:ext uri="{FF2B5EF4-FFF2-40B4-BE49-F238E27FC236}">
                <a16:creationId xmlns:a16="http://schemas.microsoft.com/office/drawing/2014/main" id="{237A6C1B-66EA-1CDD-A7FD-918E8033052C}"/>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379429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A2CC8E39-9A4E-A4DF-F50E-11E2BDCAFF7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FF67EED-9146-FEFB-B660-62A252EB5D8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1965950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9" name="TextBox 8">
            <a:extLst>
              <a:ext uri="{FF2B5EF4-FFF2-40B4-BE49-F238E27FC236}">
                <a16:creationId xmlns:a16="http://schemas.microsoft.com/office/drawing/2014/main" id="{55C1BFCD-6D0E-9392-8AF1-AA5AC554C5C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660ADFB8-3432-B307-E345-E3F3BD40FB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E8B6B60-CBCC-891E-2583-9E8CD3C9950B}"/>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CBFB85A3-5CE3-2927-6461-99DEDFB9D5F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pic>
        <p:nvPicPr>
          <p:cNvPr id="3" name="Picture 2">
            <a:extLst>
              <a:ext uri="{FF2B5EF4-FFF2-40B4-BE49-F238E27FC236}">
                <a16:creationId xmlns:a16="http://schemas.microsoft.com/office/drawing/2014/main" id="{DD9CFB92-8504-7CDB-7998-BBCC1B12C25D}"/>
              </a:ext>
            </a:extLst>
          </p:cNvPr>
          <p:cNvPicPr>
            <a:picLocks noChangeAspect="1"/>
          </p:cNvPicPr>
          <p:nvPr userDrawn="1"/>
        </p:nvPicPr>
        <p:blipFill>
          <a:blip r:embed="rId2"/>
          <a:stretch>
            <a:fillRect/>
          </a:stretch>
        </p:blipFill>
        <p:spPr>
          <a:xfrm>
            <a:off x="7968928" y="4536760"/>
            <a:ext cx="755970" cy="365792"/>
          </a:xfrm>
          <a:prstGeom prst="rect">
            <a:avLst/>
          </a:prstGeom>
        </p:spPr>
      </p:pic>
    </p:spTree>
    <p:extLst>
      <p:ext uri="{BB962C8B-B14F-4D97-AF65-F5344CB8AC3E}">
        <p14:creationId xmlns:p14="http://schemas.microsoft.com/office/powerpoint/2010/main" val="239482231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6FD5FAA-4E42-2A01-7A0D-9D47214A39C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43C41B3-444A-B935-7F1C-44CC756EF99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DFE4EE1-1B23-D0EA-39ED-CDDC6ECFE4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C726386B-D9AC-0FCA-9F12-0FA32276F2A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10125235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0"/>
              </a:spcAft>
              <a:buSzPct val="70000"/>
              <a:defRPr sz="1200">
                <a:solidFill>
                  <a:schemeClr val="tx2"/>
                </a:solidFill>
              </a:defRPr>
            </a:lvl1pPr>
            <a:lvl2pPr marL="360000" indent="-180000">
              <a:lnSpc>
                <a:spcPct val="100000"/>
              </a:lnSpc>
              <a:spcBef>
                <a:spcPts val="0"/>
              </a:spcBef>
              <a:spcAft>
                <a:spcPts val="0"/>
              </a:spcAft>
              <a:buSzPct val="70000"/>
              <a:defRPr sz="1050">
                <a:solidFill>
                  <a:schemeClr val="tx2"/>
                </a:solidFill>
              </a:defRPr>
            </a:lvl2pPr>
            <a:lvl3pPr marL="540000" indent="-180000">
              <a:lnSpc>
                <a:spcPct val="100000"/>
              </a:lnSpc>
              <a:spcBef>
                <a:spcPts val="0"/>
              </a:spcBef>
              <a:spcAft>
                <a:spcPts val="0"/>
              </a:spcAft>
              <a:buSzPct val="70000"/>
              <a:defRPr sz="1050">
                <a:solidFill>
                  <a:schemeClr val="tx2"/>
                </a:solidFill>
              </a:defRPr>
            </a:lvl3pPr>
            <a:lvl4pPr marL="720000" indent="-180000">
              <a:lnSpc>
                <a:spcPct val="100000"/>
              </a:lnSpc>
              <a:spcBef>
                <a:spcPts val="0"/>
              </a:spcBef>
              <a:spcAft>
                <a:spcPts val="0"/>
              </a:spcAft>
              <a:buSzPct val="70000"/>
              <a:defRPr lang="en-US" sz="1050" kern="1200" dirty="0">
                <a:solidFill>
                  <a:schemeClr val="tx2"/>
                </a:solidFill>
                <a:latin typeface="+mn-lt"/>
                <a:ea typeface="+mn-ea"/>
                <a:cs typeface="+mn-cs"/>
              </a:defRPr>
            </a:lvl4pPr>
            <a:lvl5pPr marL="900000" indent="-180000">
              <a:lnSpc>
                <a:spcPct val="100000"/>
              </a:lnSpc>
              <a:spcBef>
                <a:spcPts val="0"/>
              </a:spcBef>
              <a:spcAft>
                <a:spcPts val="0"/>
              </a:spcAft>
              <a:buSzPct val="70000"/>
              <a:defRPr sz="105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6B13C58-337C-7F31-E842-1040B36F0D2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0257226-AE3E-3B65-71BB-8A6565585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FC74384-DD2A-533D-796C-EFFF39625FF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ACB227E-CF72-2719-133F-6CBEB353488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96241358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AA37820-182D-1EB7-AF8B-A6B34F63F68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CE2E5BE2-B331-A0C0-8C3D-3B644FF16CA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C4471E01-4B5D-597C-1AAD-279941B82E1C}"/>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177C34D5-50E3-692A-4113-A20C2953002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4701883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4095FB67-347C-9744-DDEC-EB9F26AE1E3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8A08A66-7F86-F362-AA5F-FEC2F95CF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1E32FE7-F16C-F5A2-7976-C8AE67A2B60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1B4CAA9-38F1-6F57-641C-B296225D4B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09432953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7239245-EC69-0915-96DF-689D05839B6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1E7D37B-C01D-8FDC-39D7-B6613DBAB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2D8ACCE-D657-1865-39B4-712A9F5DDA4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CD2F1279-1655-0D51-01CE-FA8A8342117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5338506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D6B4C56-703F-C230-A142-8BA0A116DED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1F6435CA-6601-0B80-DBC4-827F05548E9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DD1AEB7-7A91-F37A-8098-1A01C413E0C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1F0A7CA-1E30-E2BF-7969-46EE62F47BE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799558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1.3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37B7B596-4152-517C-5C30-64F14F1B9A2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8C58317-1366-95A8-E74C-B47D5FE79D6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0F4086A-EEE4-7238-CF78-1C3E853BE87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0D26E4F-5A2F-75BE-4956-4C895F30A9F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60326307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1.2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5039092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_1.2 Title">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78287548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6 Half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853DDBC-443E-D2EE-AA09-F815D5BE49A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2828423F-10A4-D452-0424-8A3CAC2408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33D91186-F39A-461C-3CC9-A6507EE465FF}"/>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B5F4FFD2-D5D2-2F5A-BE1E-C1FC6519294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77193123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F51C177B-3FC8-584E-049C-6A9FE0A186D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1C285EB0-637E-9CAE-CF2D-FD5A572F557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F69C3BFD-65A3-382D-EA4E-2A6602A965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ADBADA14-4C6E-3591-235D-3AE34227961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2471495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1.6 Half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629DB26-11E5-ACF0-2010-650C540428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48CDC4FF-5FCD-6139-0116-3D836D1460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E0338BE9-E41F-8369-F9D3-6CF49563032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20839AE3-23F8-8E55-3FA3-1B4150432C0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9554529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A17DAC68-7FA5-283E-0003-FC78D893CBC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A5133E-5A19-2135-6AC8-95A70D3E458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56AF0067-8CB1-581C-E8B3-761B8AA8571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39B62371-B8A4-2689-1BCB-5F7AC2C2FF1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9770751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1.1 Blan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D6A4B7-704E-AAAA-B16B-0F7877CA50B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39A41EB-58FB-922A-AD7C-3AE3F195AE9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A76F728-DC69-4AD8-9AEF-5B486F40096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E9B1CC16-8142-C9B4-AA53-7C6F5EB6495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22520D9A-9611-C82A-E40B-BC50B9BE663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99225699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1.2 Titl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AE26DEAE-F305-C645-6B32-DF908A237F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761FD5D9-C8CE-C240-0A2D-0C207510560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1AC439E-0DDA-84C5-68C7-53D323ED0EC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9A6CDBE-EDE4-1381-C4AF-F7D0ED86948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10343011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1.3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37B7B596-4152-517C-5C30-64F14F1B9A2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8C58317-1366-95A8-E74C-B47D5FE79D6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0F4086A-EEE4-7238-CF78-1C3E853BE87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0D26E4F-5A2F-75BE-4956-4C895F30A9F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05326169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8EED543-A0D2-4B1E-84AB-35BA8760AB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E1B1C6CE-73A8-5D3B-7402-E61E80018D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0AF05F9E-C966-5628-2820-8F1395BF81EA}"/>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B9B0982-1098-65B6-0BE1-70000891D5B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908321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8EED543-A0D2-4B1E-84AB-35BA8760AB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E1B1C6CE-73A8-5D3B-7402-E61E80018D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0AF05F9E-C966-5628-2820-8F1395BF81EA}"/>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B9B0982-1098-65B6-0BE1-70000891D5B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183466953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5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9C7DDDB1-93FF-2E9E-1523-25C0AAD59D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68F1AEE4-E0F5-CB51-2839-A6829D6302C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02EAA2F-400B-986E-5A5D-4153560C0C7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D1B7E901-0A28-DA54-D8A7-5F7C60E94EE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50118265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6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Box 2">
            <a:extLst>
              <a:ext uri="{FF2B5EF4-FFF2-40B4-BE49-F238E27FC236}">
                <a16:creationId xmlns:a16="http://schemas.microsoft.com/office/drawing/2014/main" id="{36385816-6569-35D3-5A7C-C29AD01DAA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8C37985A-D671-5872-8D8B-469FEF28399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90B45F8-CBC4-7A3B-7C6A-F7367BB2479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FF8E67C-8567-FFCB-4C89-6BEA15B2703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70572264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1F0ADB73-9C9A-832B-D8BF-9AF20DAA106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5BF0B68-A9EA-223F-2B7F-9D6F0EEB64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64673BBF-80EC-695B-A9CC-59A70D3443D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CAC8A9F-15DB-739A-7B06-E325184316B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337345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1.5 Numbered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F8516E12-24DD-827E-B42A-FEADBBD6DA7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713F659-CB75-ECA4-9103-AA521D00BDB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B0A1277-1BCA-C1CE-6430-E1E6743CC5F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E0B17C7F-E98A-8FDB-6CD3-CC1B3B50177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88462901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_1.2 Title">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21502250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1.2 Title">
    <p:bg>
      <p:bgPr>
        <a:solidFill>
          <a:schemeClr val="tx2"/>
        </a:solidFill>
        <a:effectLst/>
      </p:bgPr>
    </p:bg>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BA013C72-05A6-BC67-924F-AD55DE815D0C}"/>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68362856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1.6 Half imag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BC98A014-7BCB-58F3-B1D1-D4FD8EC7EB8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00F343F-6D93-CB75-9580-B22F74F2267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9C790EE6-1AD1-02A2-97B8-A6005C99629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7AA931E6-4B7F-669F-C445-1B4D50411BE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93569946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2" name="Footer Placeholder 2">
            <a:extLst>
              <a:ext uri="{FF2B5EF4-FFF2-40B4-BE49-F238E27FC236}">
                <a16:creationId xmlns:a16="http://schemas.microsoft.com/office/drawing/2014/main" id="{D1E6C875-6A56-ECD4-AA48-0284B4A6530D}"/>
              </a:ext>
            </a:extLst>
          </p:cNvPr>
          <p:cNvSpPr>
            <a:spLocks noGrp="1"/>
          </p:cNvSpPr>
          <p:nvPr>
            <p:ph type="ftr" sz="quarter" idx="3"/>
          </p:nvPr>
        </p:nvSpPr>
        <p:spPr>
          <a:xfrm>
            <a:off x="1504610" y="4873695"/>
            <a:ext cx="288000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9058EB71-1D91-BEB8-274C-75E76F9ED6FF}"/>
              </a:ext>
            </a:extLst>
          </p:cNvPr>
          <p:cNvSpPr txBox="1"/>
          <p:nvPr userDrawn="1"/>
        </p:nvSpPr>
        <p:spPr>
          <a:xfrm>
            <a:off x="680028" y="4858555"/>
            <a:ext cx="631583" cy="123111"/>
          </a:xfrm>
          <a:prstGeom prst="rect">
            <a:avLst/>
          </a:prstGeom>
          <a:noFill/>
        </p:spPr>
        <p:txBody>
          <a:bodyPr wrap="none" lIns="0" tIns="0" rIns="0" bIns="0" anchor="b" anchorCtr="0">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97C636AD-ADD5-F240-117B-08D310FF569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7FC8707-B3DD-AA96-72B6-571C83A1828E}"/>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39415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_1.6 Half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81B8F5FD-3C1E-ED2B-FEED-204E697F92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DFE05CD-640E-D8C4-CB9E-EDE52D29E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D759BC8-C107-9B15-676E-AEADF18E71A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F53CB0FD-5D02-760B-C180-7C3CC3C5DD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7715195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5884C8A4-6AD2-B11C-DB11-02D4D662D7E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487328-2697-279F-E20D-91C4C573F75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BFC15A2F-1CD7-4840-2A5F-B6E52DFFB1A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4B3AB92F-F3C9-83A8-7063-25752C64EEF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38613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9C7DDDB1-93FF-2E9E-1523-25C0AAD59D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68F1AEE4-E0F5-CB51-2839-A6829D6302C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02EAA2F-400B-986E-5A5D-4153560C0C7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D1B7E901-0A28-DA54-D8A7-5F7C60E94EE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6478257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0" name="Graphic 3">
            <a:extLst>
              <a:ext uri="{FF2B5EF4-FFF2-40B4-BE49-F238E27FC236}">
                <a16:creationId xmlns:a16="http://schemas.microsoft.com/office/drawing/2014/main" id="{49D9392C-9E29-427F-3C29-C64146E898C7}"/>
              </a:ext>
            </a:extLst>
          </p:cNvPr>
          <p:cNvGrpSpPr/>
          <p:nvPr userDrawn="1"/>
        </p:nvGrpSpPr>
        <p:grpSpPr>
          <a:xfrm>
            <a:off x="1237478" y="4482674"/>
            <a:ext cx="1363492" cy="307063"/>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659763D9-588F-2473-91CB-B8C347B7218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E9BC003D-0EF9-EF09-FA3B-B06705810FC8}"/>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753EC447-D430-EA30-E1F1-75D216432106}"/>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52867923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AC803887-2AFC-DF73-DE60-1BE27DDE158C}"/>
              </a:ext>
            </a:extLst>
          </p:cNvPr>
          <p:cNvGrpSpPr/>
          <p:nvPr userDrawn="1"/>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853E137B-4AA1-0543-1336-DFC6E4FFB011}"/>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64A66DCC-053F-B59E-D123-FE02866DE14E}"/>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D444D486-4F66-A858-1E27-52EA0097BAEE}"/>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FD4ACE8F-B23A-798D-9D92-BC5D1372B743}"/>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04936838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16C6526-B799-7D3B-3355-24FCAF3C0E0C}"/>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F8A50C4-0B90-3430-16AC-9B9A6559114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F2A9AEB3-FBA4-4EE3-A02B-9BF60D2824E6}"/>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DD3CEBA2-006C-A925-B52F-0D0CA4CB819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27066723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3 N Pink">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674FB718-4590-313D-1532-FE817A22ACB4}"/>
              </a:ext>
            </a:extLst>
          </p:cNvPr>
          <p:cNvSpPr/>
          <p:nvPr/>
        </p:nvSpPr>
        <p:spPr>
          <a:xfrm>
            <a:off x="0" y="0"/>
            <a:ext cx="5144400" cy="5144400"/>
          </a:xfrm>
          <a:custGeom>
            <a:avLst/>
            <a:gdLst>
              <a:gd name="connsiteX0" fmla="*/ 0 w 5144400"/>
              <a:gd name="connsiteY0" fmla="*/ 0 h 5144400"/>
              <a:gd name="connsiteX1" fmla="*/ 5144400 w 5144400"/>
              <a:gd name="connsiteY1" fmla="*/ 0 h 5144400"/>
              <a:gd name="connsiteX2" fmla="*/ 5144400 w 5144400"/>
              <a:gd name="connsiteY2" fmla="*/ 5144400 h 5144400"/>
              <a:gd name="connsiteX3" fmla="*/ 0 w 5144400"/>
              <a:gd name="connsiteY3" fmla="*/ 5144400 h 5144400"/>
            </a:gdLst>
            <a:ahLst/>
            <a:cxnLst>
              <a:cxn ang="0">
                <a:pos x="connsiteX0" y="connsiteY0"/>
              </a:cxn>
              <a:cxn ang="0">
                <a:pos x="connsiteX1" y="connsiteY1"/>
              </a:cxn>
              <a:cxn ang="0">
                <a:pos x="connsiteX2" y="connsiteY2"/>
              </a:cxn>
              <a:cxn ang="0">
                <a:pos x="connsiteX3" y="connsiteY3"/>
              </a:cxn>
            </a:cxnLst>
            <a:rect l="l" t="t" r="r" b="b"/>
            <a:pathLst>
              <a:path w="5144400" h="5144400">
                <a:moveTo>
                  <a:pt x="0" y="0"/>
                </a:moveTo>
                <a:lnTo>
                  <a:pt x="5144400" y="0"/>
                </a:lnTo>
                <a:lnTo>
                  <a:pt x="5144400" y="5144400"/>
                </a:lnTo>
                <a:lnTo>
                  <a:pt x="0" y="5144400"/>
                </a:lnTo>
                <a:close/>
              </a:path>
            </a:pathLst>
          </a:custGeom>
          <a:noFill/>
          <a:ln w="26789" cap="flat">
            <a:noFill/>
            <a:prstDash val="solid"/>
            <a:miter/>
          </a:ln>
        </p:spPr>
        <p:txBody>
          <a:bodyPr rtlCol="0" anchor="ctr"/>
          <a:lstStyle/>
          <a:p>
            <a:endParaRPr lang="en-US"/>
          </a:p>
        </p:txBody>
      </p:sp>
      <p:sp>
        <p:nvSpPr>
          <p:cNvPr id="5" name="Freeform: Shape 4">
            <a:extLst>
              <a:ext uri="{FF2B5EF4-FFF2-40B4-BE49-F238E27FC236}">
                <a16:creationId xmlns:a16="http://schemas.microsoft.com/office/drawing/2014/main" id="{6585F427-7AA2-BA79-9FAB-3B20B348D66A}"/>
              </a:ext>
            </a:extLst>
          </p:cNvPr>
          <p:cNvSpPr/>
          <p:nvPr/>
        </p:nvSpPr>
        <p:spPr>
          <a:xfrm>
            <a:off x="0" y="0"/>
            <a:ext cx="5144400" cy="5144400"/>
          </a:xfrm>
          <a:custGeom>
            <a:avLst/>
            <a:gdLst>
              <a:gd name="connsiteX0" fmla="*/ 0 w 5144400"/>
              <a:gd name="connsiteY0" fmla="*/ 0 h 5144400"/>
              <a:gd name="connsiteX1" fmla="*/ 0 w 5144400"/>
              <a:gd name="connsiteY1" fmla="*/ 5144400 h 5144400"/>
              <a:gd name="connsiteX2" fmla="*/ 794971 w 5144400"/>
              <a:gd name="connsiteY2" fmla="*/ 5144400 h 5144400"/>
              <a:gd name="connsiteX3" fmla="*/ 794971 w 5144400"/>
              <a:gd name="connsiteY3" fmla="*/ 1741594 h 5144400"/>
              <a:gd name="connsiteX4" fmla="*/ 5144400 w 5144400"/>
              <a:gd name="connsiteY4" fmla="*/ 5144400 h 5144400"/>
              <a:gd name="connsiteX5" fmla="*/ 5144400 w 5144400"/>
              <a:gd name="connsiteY5" fmla="*/ 4142850 h 5144400"/>
              <a:gd name="connsiteX6" fmla="*/ 0 w 5144400"/>
              <a:gd name="connsiteY6" fmla="*/ 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4400" h="5144400">
                <a:moveTo>
                  <a:pt x="0" y="0"/>
                </a:moveTo>
                <a:lnTo>
                  <a:pt x="0" y="5144400"/>
                </a:lnTo>
                <a:cubicBezTo>
                  <a:pt x="0" y="5144400"/>
                  <a:pt x="794971" y="5144400"/>
                  <a:pt x="794971" y="5144400"/>
                </a:cubicBezTo>
                <a:lnTo>
                  <a:pt x="794971" y="1741594"/>
                </a:lnTo>
                <a:cubicBezTo>
                  <a:pt x="794971" y="1741594"/>
                  <a:pt x="5144400" y="5144400"/>
                  <a:pt x="5144400" y="5144400"/>
                </a:cubicBezTo>
                <a:lnTo>
                  <a:pt x="5144400" y="4142850"/>
                </a:lnTo>
                <a:lnTo>
                  <a:pt x="0" y="0"/>
                </a:lnTo>
                <a:close/>
              </a:path>
            </a:pathLst>
          </a:custGeom>
          <a:solidFill>
            <a:schemeClr val="accent1"/>
          </a:solidFill>
          <a:ln w="26789" cap="flat">
            <a:noFill/>
            <a:prstDash val="solid"/>
            <a:miter/>
          </a:ln>
        </p:spPr>
        <p:txBody>
          <a:bodyPr rtlCol="0" anchor="ctr"/>
          <a:lstStyle/>
          <a:p>
            <a:endParaRPr lang="en-US"/>
          </a:p>
        </p:txBody>
      </p:sp>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accent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16C6526-B799-7D3B-3355-24FCAF3C0E0C}"/>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F8A50C4-0B90-3430-16AC-9B9A6559114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F2A9AEB3-FBA4-4EE3-A02B-9BF60D2824E6}"/>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DD3CEBA2-006C-A925-B52F-0D0CA4CB819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Apply appropriate data classification. Apply document ID (if applicable).</a:t>
            </a:r>
          </a:p>
        </p:txBody>
      </p:sp>
    </p:spTree>
    <p:extLst>
      <p:ext uri="{BB962C8B-B14F-4D97-AF65-F5344CB8AC3E}">
        <p14:creationId xmlns:p14="http://schemas.microsoft.com/office/powerpoint/2010/main" val="20394630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BBDEA00-FE7A-639E-C16F-BC5E3DBD8FD3}"/>
              </a:ext>
            </a:extLst>
          </p:cNvPr>
          <p:cNvGrpSpPr/>
          <p:nvPr userDrawn="1"/>
        </p:nvGrpSpPr>
        <p:grpSpPr>
          <a:xfrm>
            <a:off x="6981148" y="2418218"/>
            <a:ext cx="1363492" cy="307063"/>
            <a:chOff x="469958" y="1647414"/>
            <a:chExt cx="8205029" cy="1847802"/>
          </a:xfrm>
          <a:solidFill>
            <a:schemeClr val="bg1"/>
          </a:solidFill>
        </p:grpSpPr>
        <p:sp>
          <p:nvSpPr>
            <p:cNvPr id="4" name="Freeform 24">
              <a:extLst>
                <a:ext uri="{FF2B5EF4-FFF2-40B4-BE49-F238E27FC236}">
                  <a16:creationId xmlns:a16="http://schemas.microsoft.com/office/drawing/2014/main" id="{0B5F76F9-295B-59E5-BDCF-8B6840E5B5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25">
              <a:extLst>
                <a:ext uri="{FF2B5EF4-FFF2-40B4-BE49-F238E27FC236}">
                  <a16:creationId xmlns:a16="http://schemas.microsoft.com/office/drawing/2014/main" id="{B473941B-CE77-6414-782E-B5933651166D}"/>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26">
              <a:extLst>
                <a:ext uri="{FF2B5EF4-FFF2-40B4-BE49-F238E27FC236}">
                  <a16:creationId xmlns:a16="http://schemas.microsoft.com/office/drawing/2014/main" id="{03FCE4B1-384C-92A9-F114-45634B67A11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8" name="Freeform 27">
              <a:extLst>
                <a:ext uri="{FF2B5EF4-FFF2-40B4-BE49-F238E27FC236}">
                  <a16:creationId xmlns:a16="http://schemas.microsoft.com/office/drawing/2014/main" id="{16718376-BEBA-6EC2-B9BA-05AEA785303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2" name="Freeform 28">
              <a:extLst>
                <a:ext uri="{FF2B5EF4-FFF2-40B4-BE49-F238E27FC236}">
                  <a16:creationId xmlns:a16="http://schemas.microsoft.com/office/drawing/2014/main" id="{55E96EEC-F984-9065-5EAC-AF9297B31DF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87C7B85A-D75A-1A9C-EB9E-1F10BCD7B18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24452E9D-9590-537A-1306-6AC3186A676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933135B-E6E0-A180-C59B-EA4745CE657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E1E5813-C891-EC55-3C61-8BA65C529DF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0673411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9DC94188-095E-2B15-B1C9-BFEA9CD8AD5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40B3BB8B-340F-1B2C-CFDB-82FD55A3DE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43C0A07D-57CA-BFF4-F4D9-3C2FC68A391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C2925E9-CEC5-C2C9-18E8-E9BC48F8A75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7467850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07421534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 White title">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pic>
        <p:nvPicPr>
          <p:cNvPr id="20" name="Picture 19" descr="Circle&#10;&#10;Description automatically generated with medium confidence">
            <a:extLst>
              <a:ext uri="{FF2B5EF4-FFF2-40B4-BE49-F238E27FC236}">
                <a16:creationId xmlns:a16="http://schemas.microsoft.com/office/drawing/2014/main" id="{87D5AF06-6AF8-9002-BEDC-176CB57496A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25084"/>
          <a:stretch/>
        </p:blipFill>
        <p:spPr>
          <a:xfrm>
            <a:off x="5126775" y="-4796"/>
            <a:ext cx="4017225" cy="5143500"/>
          </a:xfrm>
          <a:prstGeom prst="rect">
            <a:avLst/>
          </a:prstGeom>
        </p:spPr>
      </p:pic>
    </p:spTree>
    <p:extLst>
      <p:ext uri="{BB962C8B-B14F-4D97-AF65-F5344CB8AC3E}">
        <p14:creationId xmlns:p14="http://schemas.microsoft.com/office/powerpoint/2010/main" val="148180953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7055828" y="2418218"/>
            <a:ext cx="1363492" cy="307063"/>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04E2F18-4E2A-EDFF-55AE-85920A343F20}"/>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B7433D11-0578-F766-1515-93267A2499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378871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47BEB086-B161-40ED-B2E3-DDF397278FA8}"/>
              </a:ext>
            </a:extLst>
          </p:cNvPr>
          <p:cNvGrpSpPr/>
          <p:nvPr userDrawn="1"/>
        </p:nvGrpSpPr>
        <p:grpSpPr>
          <a:xfrm>
            <a:off x="7055828" y="2418218"/>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0716091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55C1BFCD-6D0E-9392-8AF1-AA5AC554C5C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660ADFB8-3432-B307-E345-E3F3BD40FB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E8B6B60-CBCC-891E-2583-9E8CD3C9950B}"/>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CBFB85A3-5CE3-2927-6461-99DEDFB9D5F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216920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Box 2">
            <a:extLst>
              <a:ext uri="{FF2B5EF4-FFF2-40B4-BE49-F238E27FC236}">
                <a16:creationId xmlns:a16="http://schemas.microsoft.com/office/drawing/2014/main" id="{36385816-6569-35D3-5A7C-C29AD01DAA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8C37985A-D671-5872-8D8B-469FEF28399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90B45F8-CBC4-7A3B-7C6A-F7367BB2479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FF8E67C-8567-FFCB-4C89-6BEA15B2703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82382385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8" name="Graphic 3">
            <a:extLst>
              <a:ext uri="{FF2B5EF4-FFF2-40B4-BE49-F238E27FC236}">
                <a16:creationId xmlns:a16="http://schemas.microsoft.com/office/drawing/2014/main" id="{02491239-1144-EB94-E007-F05D770D71DA}"/>
              </a:ext>
            </a:extLst>
          </p:cNvPr>
          <p:cNvGrpSpPr/>
          <p:nvPr userDrawn="1"/>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D596CCAF-CFD0-78BA-B2DE-D4AAECC80E0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83A073E-6395-AB52-363B-C387025E75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2EA63C6-5343-F79F-D184-6FE2E97A361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5B14FF50-A296-F5AE-C68C-5D0294FDC1A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148127357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3 White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8798"/>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91037606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3E33991A-B775-F150-1F53-A41B2C8F75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2007926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CEEAF690-F016-5F35-1D32-4ED93EF516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389525209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55405067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403336103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06915363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5713A89-53EE-064B-A22B-BEF22E8A423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Tree>
    <p:extLst>
      <p:ext uri="{BB962C8B-B14F-4D97-AF65-F5344CB8AC3E}">
        <p14:creationId xmlns:p14="http://schemas.microsoft.com/office/powerpoint/2010/main" val="229361244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Apply appropriate data classification. Apply document ID (if applicable).</a:t>
            </a:r>
            <a:endParaRPr lang="en-US" dirty="0"/>
          </a:p>
        </p:txBody>
      </p:sp>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Tree>
    <p:extLst>
      <p:ext uri="{BB962C8B-B14F-4D97-AF65-F5344CB8AC3E}">
        <p14:creationId xmlns:p14="http://schemas.microsoft.com/office/powerpoint/2010/main" val="53269747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8805614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1F0ADB73-9C9A-832B-D8BF-9AF20DAA106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5BF0B68-A9EA-223F-2B7F-9D6F0EEB64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64673BBF-80EC-695B-A9CC-59A70D3443D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CAC8A9F-15DB-739A-7B06-E325184316B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408833040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91822616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12347276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5475266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8407896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0941263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208864006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6.1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24722869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3 Gradient blue-green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EA6BF65-D85B-485A-82F0-F876EADB4EEF}"/>
              </a:ext>
            </a:extLst>
          </p:cNvPr>
          <p:cNvGraphicFramePr>
            <a:graphicFrameLocks noChangeAspect="1"/>
          </p:cNvGraphicFramePr>
          <p:nvPr userDrawn="1">
            <p:custDataLst>
              <p:tags r:id="rId1"/>
            </p:custDataLst>
            <p:extLst>
              <p:ext uri="{D42A27DB-BD31-4B8C-83A1-F6EECF244321}">
                <p14:modId xmlns:p14="http://schemas.microsoft.com/office/powerpoint/2010/main" val="78180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Object 8" hidden="1">
                        <a:extLst>
                          <a:ext uri="{FF2B5EF4-FFF2-40B4-BE49-F238E27FC236}">
                            <a16:creationId xmlns:a16="http://schemas.microsoft.com/office/drawing/2014/main" id="{DEA6BF65-D85B-485A-82F0-F876EADB4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8" name="Text Placeholder 42">
            <a:extLst>
              <a:ext uri="{FF2B5EF4-FFF2-40B4-BE49-F238E27FC236}">
                <a16:creationId xmlns:a16="http://schemas.microsoft.com/office/drawing/2014/main" id="{E4E03277-15C4-4359-B053-3F467C69EC0C}"/>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2868611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3 Single column">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p>
            <a:r>
              <a:rPr lang="en-GB"/>
              <a:t>Nokia - CMCC Confidential</a:t>
            </a:r>
            <a:endParaRPr lang="en-US"/>
          </a:p>
        </p:txBody>
      </p:sp>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tx1"/>
                </a:solidFill>
                <a:latin typeface="Nokia Pure Headline Ultra Light" panose="020B02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2"/>
                </a:solidFill>
                <a:latin typeface="Nokia Pure Headline Ultra Light" panose="020B0204020202020204" pitchFamily="34" charset="0"/>
              </a:defRPr>
            </a:lvl1pPr>
          </a:lstStyle>
          <a:p>
            <a:pPr lvl="0"/>
            <a:r>
              <a:rPr lang="en-US" noProof="0"/>
              <a:t>Click to edit headline</a:t>
            </a:r>
          </a:p>
        </p:txBody>
      </p:sp>
      <p:sp>
        <p:nvSpPr>
          <p:cNvPr id="5" name="Text Placeholder 3">
            <a:extLst>
              <a:ext uri="{FF2B5EF4-FFF2-40B4-BE49-F238E27FC236}">
                <a16:creationId xmlns:a16="http://schemas.microsoft.com/office/drawing/2014/main" id="{6B3FE214-5976-44EB-8D69-829839140B4A}"/>
              </a:ext>
            </a:extLst>
          </p:cNvPr>
          <p:cNvSpPr>
            <a:spLocks noGrp="1"/>
          </p:cNvSpPr>
          <p:nvPr>
            <p:ph type="body" sz="quarter" idx="14"/>
          </p:nvPr>
        </p:nvSpPr>
        <p:spPr>
          <a:xfrm>
            <a:off x="417600" y="1260000"/>
            <a:ext cx="8308800" cy="3348000"/>
          </a:xfrm>
          <a:prstGeom prst="rect">
            <a:avLst/>
          </a:prstGeom>
        </p:spPr>
        <p:txBody>
          <a:bodyPr lIns="0" tIns="0" rIns="0" bIns="0">
            <a:noAutofit/>
          </a:bodyPr>
          <a:lstStyle>
            <a:lvl1pPr marL="0" indent="0">
              <a:lnSpc>
                <a:spcPct val="100000"/>
              </a:lnSpc>
              <a:spcBef>
                <a:spcPts val="0"/>
              </a:spcBef>
              <a:spcAft>
                <a:spcPts val="600"/>
              </a:spcAft>
              <a:buNone/>
              <a:defRPr sz="1400">
                <a:solidFill>
                  <a:schemeClr val="tx2"/>
                </a:solidFill>
                <a:latin typeface="Nokia Pure Text Light" panose="020B0403020202020204" pitchFamily="34" charset="0"/>
                <a:ea typeface="Nokia Pure Text Light" panose="020B0403020202020204" pitchFamily="34" charset="0"/>
              </a:defRPr>
            </a:lvl1pPr>
            <a:lvl2pPr marL="230394" indent="0">
              <a:lnSpc>
                <a:spcPct val="100000"/>
              </a:lnSpc>
              <a:spcBef>
                <a:spcPts val="0"/>
              </a:spcBef>
              <a:spcAft>
                <a:spcPts val="600"/>
              </a:spcAft>
              <a:buNone/>
              <a:defRPr sz="1200">
                <a:solidFill>
                  <a:schemeClr val="tx2"/>
                </a:solidFill>
                <a:latin typeface="Nokia Pure Text Light" panose="020B0403020202020204" pitchFamily="34" charset="0"/>
                <a:ea typeface="Nokia Pure Text Light" panose="020B0403020202020204" pitchFamily="34" charset="0"/>
              </a:defRPr>
            </a:lvl2pPr>
            <a:lvl3pPr marL="462589" indent="0">
              <a:lnSpc>
                <a:spcPct val="100000"/>
              </a:lnSpc>
              <a:spcBef>
                <a:spcPts val="0"/>
              </a:spcBef>
              <a:spcAft>
                <a:spcPts val="600"/>
              </a:spcAft>
              <a:buNone/>
              <a:defRPr sz="1100">
                <a:solidFill>
                  <a:schemeClr val="tx2"/>
                </a:solidFill>
                <a:latin typeface="Nokia Pure Text Light" panose="020B0403020202020204" pitchFamily="34" charset="0"/>
                <a:ea typeface="Nokia Pure Text Light" panose="020B0403020202020204" pitchFamily="34" charset="0"/>
              </a:defRPr>
            </a:lvl3pPr>
            <a:lvl4pPr marL="692983" indent="0">
              <a:lnSpc>
                <a:spcPct val="100000"/>
              </a:lnSpc>
              <a:spcBef>
                <a:spcPts val="0"/>
              </a:spcBef>
              <a:spcAft>
                <a:spcPts val="600"/>
              </a:spcAft>
              <a:buNone/>
              <a:defRPr sz="900">
                <a:solidFill>
                  <a:schemeClr val="tx2"/>
                </a:solidFill>
                <a:latin typeface="Nokia Pure Text Light" panose="020B0403020202020204" pitchFamily="34" charset="0"/>
                <a:ea typeface="Nokia Pure Text Light" panose="020B0403020202020204" pitchFamily="34" charset="0"/>
              </a:defRPr>
            </a:lvl4pPr>
            <a:lvl5pPr marL="923377" indent="0">
              <a:lnSpc>
                <a:spcPct val="100000"/>
              </a:lnSpc>
              <a:spcBef>
                <a:spcPts val="0"/>
              </a:spcBef>
              <a:spcAft>
                <a:spcPts val="600"/>
              </a:spcAft>
              <a:buFont typeface="Arial" panose="020B0604020202020204" pitchFamily="34" charset="0"/>
              <a:buNone/>
              <a:defRPr sz="700">
                <a:solidFill>
                  <a:schemeClr val="tx2"/>
                </a:solidFill>
                <a:latin typeface="Nokia Pure Text Light" panose="020B0403020202020204" pitchFamily="34" charset="0"/>
                <a:ea typeface="Nokia Pure Text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66C99775-F61C-AB94-3706-38FE1A78983F}"/>
              </a:ext>
            </a:extLst>
          </p:cNvPr>
          <p:cNvSpPr txBox="1"/>
          <p:nvPr userDrawn="1"/>
        </p:nvSpPr>
        <p:spPr>
          <a:xfrm>
            <a:off x="7999141" y="4854498"/>
            <a:ext cx="0" cy="0"/>
          </a:xfrm>
          <a:prstGeom prst="rect">
            <a:avLst/>
          </a:prstGeom>
          <a:noFill/>
        </p:spPr>
        <p:txBody>
          <a:bodyPr wrap="none" lIns="72000" tIns="72000" rIns="72000" bIns="72000" rtlCol="0">
            <a:noAutofit/>
          </a:bodyPr>
          <a:lstStyle/>
          <a:p>
            <a:pPr algn="l">
              <a:spcAft>
                <a:spcPts val="300"/>
              </a:spcAft>
              <a:buSzPct val="100000"/>
            </a:pPr>
            <a:endParaRPr lang="en-HU" sz="1200" dirty="0">
              <a:solidFill>
                <a:schemeClr val="tx2"/>
              </a:solidFill>
            </a:endParaRPr>
          </a:p>
        </p:txBody>
      </p:sp>
    </p:spTree>
    <p:extLst>
      <p:ext uri="{BB962C8B-B14F-4D97-AF65-F5344CB8AC3E}">
        <p14:creationId xmlns:p14="http://schemas.microsoft.com/office/powerpoint/2010/main" val="25999237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7_1.2 Title">
    <p:bg>
      <p:bgPr>
        <a:solidFill>
          <a:schemeClr val="bg1"/>
        </a:solidFill>
        <a:effectLst/>
      </p:bgPr>
    </p:bg>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lnSpc>
                <a:spcPct val="100000"/>
              </a:lnSpc>
              <a:spcBef>
                <a:spcPts val="0"/>
              </a:spcBef>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lnSpc>
                <a:spcPct val="100000"/>
              </a:lnSpc>
              <a:spcBef>
                <a:spcPts val="0"/>
              </a:spcBef>
              <a:buNone/>
              <a:defRPr sz="2000" baseline="0">
                <a:solidFill>
                  <a:schemeClr val="tx1"/>
                </a:solidFill>
                <a:latin typeface="+mj-lt"/>
              </a:defRPr>
            </a:lvl1pPr>
          </a:lstStyle>
          <a:p>
            <a:pPr lvl="0"/>
            <a:r>
              <a:rPr lang="en-US" noProof="0"/>
              <a:t>Click to edit headline</a:t>
            </a:r>
          </a:p>
        </p:txBody>
      </p:sp>
      <p:pic>
        <p:nvPicPr>
          <p:cNvPr id="7" name="Picture 6">
            <a:extLst>
              <a:ext uri="{FF2B5EF4-FFF2-40B4-BE49-F238E27FC236}">
                <a16:creationId xmlns:a16="http://schemas.microsoft.com/office/drawing/2014/main" id="{9846F2CB-252A-44C2-BFD9-9670D5AE9E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7226" y="4651002"/>
            <a:ext cx="1008112" cy="424363"/>
          </a:xfrm>
          <a:prstGeom prst="rect">
            <a:avLst/>
          </a:prstGeom>
        </p:spPr>
      </p:pic>
      <p:sp>
        <p:nvSpPr>
          <p:cNvPr id="8" name="Footer Placeholder 3">
            <a:extLst>
              <a:ext uri="{FF2B5EF4-FFF2-40B4-BE49-F238E27FC236}">
                <a16:creationId xmlns:a16="http://schemas.microsoft.com/office/drawing/2014/main" id="{AB1FBCAA-7490-4749-8B28-D96AE55EC7D0}"/>
              </a:ext>
            </a:extLst>
          </p:cNvPr>
          <p:cNvSpPr>
            <a:spLocks noGrp="1"/>
          </p:cNvSpPr>
          <p:nvPr>
            <p:ph type="ftr" sz="quarter" idx="13"/>
          </p:nvPr>
        </p:nvSpPr>
        <p:spPr>
          <a:xfrm>
            <a:off x="2304000" y="4816800"/>
            <a:ext cx="4536000" cy="122400"/>
          </a:xfrm>
          <a:prstGeom prst="rect">
            <a:avLst/>
          </a:prstGeom>
        </p:spPr>
        <p:txBody>
          <a:bodyPr/>
          <a:lstStyle>
            <a:lvl1pPr>
              <a:defRPr>
                <a:solidFill>
                  <a:schemeClr val="bg1"/>
                </a:solidFill>
              </a:defRPr>
            </a:lvl1pPr>
          </a:lstStyle>
          <a:p>
            <a:r>
              <a:rPr lang="en-GB"/>
              <a:t>Confidential</a:t>
            </a:r>
            <a:endParaRPr lang="en-US"/>
          </a:p>
        </p:txBody>
      </p:sp>
    </p:spTree>
    <p:extLst>
      <p:ext uri="{BB962C8B-B14F-4D97-AF65-F5344CB8AC3E}">
        <p14:creationId xmlns:p14="http://schemas.microsoft.com/office/powerpoint/2010/main" val="2241679782"/>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1.5 Numbered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F8516E12-24DD-827E-B42A-FEADBBD6DA7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713F659-CB75-ECA4-9103-AA521D00BDB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B0A1277-1BCA-C1CE-6430-E1E6743CC5F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E0B17C7F-E98A-8FDB-6CD3-CC1B3B50177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71670181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7 Gradient blue-pi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7FA4D4-5969-4CE1-99D8-8BCFD01C2B47}"/>
              </a:ext>
            </a:extLst>
          </p:cNvPr>
          <p:cNvGraphicFramePr>
            <a:graphicFrameLocks noChangeAspect="1"/>
          </p:cNvGraphicFramePr>
          <p:nvPr userDrawn="1">
            <p:custDataLst>
              <p:tags r:id="rId1"/>
            </p:custDataLst>
            <p:extLst>
              <p:ext uri="{D42A27DB-BD31-4B8C-83A1-F6EECF244321}">
                <p14:modId xmlns:p14="http://schemas.microsoft.com/office/powerpoint/2010/main" val="287344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757FA4D4-5969-4CE1-99D8-8BCFD01C2B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10" name="Text Placeholder 42">
            <a:extLst>
              <a:ext uri="{FF2B5EF4-FFF2-40B4-BE49-F238E27FC236}">
                <a16:creationId xmlns:a16="http://schemas.microsoft.com/office/drawing/2014/main" id="{C571946B-E071-4584-BA17-BC12B9A8087D}"/>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6614535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3.2 - Title dark">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pic>
        <p:nvPicPr>
          <p:cNvPr id="3" name="Graphic 2">
            <a:extLst>
              <a:ext uri="{FF2B5EF4-FFF2-40B4-BE49-F238E27FC236}">
                <a16:creationId xmlns:a16="http://schemas.microsoft.com/office/drawing/2014/main" id="{BC39B26E-924A-E04C-205D-CC553972AED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B4D6E92B-62A5-89F1-C025-9AFA6FCB33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F2BA0AE1-3EC1-6929-E965-9C60516B99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0" name="Footer Placeholder 2">
            <a:extLst>
              <a:ext uri="{FF2B5EF4-FFF2-40B4-BE49-F238E27FC236}">
                <a16:creationId xmlns:a16="http://schemas.microsoft.com/office/drawing/2014/main" id="{8CFFAAD9-97A5-7898-E5FF-36F481EB932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Internal</a:t>
            </a:r>
          </a:p>
        </p:txBody>
      </p:sp>
      <p:cxnSp>
        <p:nvCxnSpPr>
          <p:cNvPr id="2" name="Straight Connector 1">
            <a:extLst>
              <a:ext uri="{FF2B5EF4-FFF2-40B4-BE49-F238E27FC236}">
                <a16:creationId xmlns:a16="http://schemas.microsoft.com/office/drawing/2014/main" id="{209CB677-B3D7-E9DA-E119-15BB41993FA8}"/>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822570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1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12784281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1" y="4873695"/>
            <a:ext cx="3357110" cy="108000"/>
          </a:xfrm>
          <a:prstGeom prst="rect">
            <a:avLst/>
          </a:prstGeom>
        </p:spPr>
        <p:txBody>
          <a:bodyPr vert="horz" wrap="none" lIns="0" tIns="0" rIns="0" bIns="0" rtlCol="0" anchor="b" anchorCtr="0"/>
          <a:lstStyle>
            <a:lvl1pPr marL="0" algn="l" defTabSz="457189"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60"/>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9"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sz="10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12">
            <a:extLst>
              <a:ext uri="{FF2B5EF4-FFF2-40B4-BE49-F238E27FC236}">
                <a16:creationId xmlns:a16="http://schemas.microsoft.com/office/drawing/2014/main" id="{8259ED02-E433-9B53-37EA-B08EBD468260}"/>
              </a:ext>
            </a:extLst>
          </p:cNvPr>
          <p:cNvSpPr>
            <a:spLocks noGrp="1"/>
          </p:cNvSpPr>
          <p:nvPr>
            <p:ph type="body" sz="quarter" idx="15"/>
          </p:nvPr>
        </p:nvSpPr>
        <p:spPr>
          <a:xfrm>
            <a:off x="417338" y="1208382"/>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79996" indent="0">
              <a:lnSpc>
                <a:spcPct val="100000"/>
              </a:lnSpc>
              <a:spcBef>
                <a:spcPts val="0"/>
              </a:spcBef>
              <a:spcAft>
                <a:spcPts val="600"/>
              </a:spcAft>
              <a:buSzPct val="70000"/>
              <a:buNone/>
              <a:defRPr sz="1200">
                <a:solidFill>
                  <a:schemeClr val="tx2"/>
                </a:solidFill>
              </a:defRPr>
            </a:lvl2pPr>
            <a:lvl3pPr marL="359991" indent="0">
              <a:lnSpc>
                <a:spcPct val="100000"/>
              </a:lnSpc>
              <a:spcBef>
                <a:spcPts val="0"/>
              </a:spcBef>
              <a:spcAft>
                <a:spcPts val="600"/>
              </a:spcAft>
              <a:buSzPct val="70000"/>
              <a:buNone/>
              <a:defRPr sz="1200">
                <a:solidFill>
                  <a:schemeClr val="tx2"/>
                </a:solidFill>
              </a:defRPr>
            </a:lvl3pPr>
            <a:lvl4pPr marL="539987" indent="0">
              <a:lnSpc>
                <a:spcPct val="100000"/>
              </a:lnSpc>
              <a:spcBef>
                <a:spcPts val="0"/>
              </a:spcBef>
              <a:spcAft>
                <a:spcPts val="600"/>
              </a:spcAft>
              <a:buSzPct val="70000"/>
              <a:buNone/>
              <a:defRPr sz="1200">
                <a:solidFill>
                  <a:schemeClr val="tx2"/>
                </a:solidFill>
              </a:defRPr>
            </a:lvl4pPr>
            <a:lvl5pPr marL="719982"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362213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1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12784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81949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_1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127842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 Placeholder 12">
            <a:extLst>
              <a:ext uri="{FF2B5EF4-FFF2-40B4-BE49-F238E27FC236}">
                <a16:creationId xmlns:a16="http://schemas.microsoft.com/office/drawing/2014/main" id="{8259ED02-E433-9B53-37EA-B08EBD468260}"/>
              </a:ext>
            </a:extLst>
          </p:cNvPr>
          <p:cNvSpPr>
            <a:spLocks noGrp="1"/>
          </p:cNvSpPr>
          <p:nvPr>
            <p:ph type="body" sz="quarter" idx="15"/>
          </p:nvPr>
        </p:nvSpPr>
        <p:spPr>
          <a:xfrm>
            <a:off x="417338" y="1208382"/>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794895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2 Title and ma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156462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96" imgH="296" progId="TCLayout.ActiveDocument.1">
                  <p:embed/>
                </p:oleObj>
              </mc:Choice>
              <mc:Fallback>
                <p:oleObj name="think-cell Slide" r:id="rId3"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rgbClr val="001D47"/>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1288F38C-132D-4FA0-9BDC-1B41411BE2CD}"/>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52320" y="4740459"/>
            <a:ext cx="972000" cy="219014"/>
          </a:xfrm>
          <a:prstGeom prst="rect">
            <a:avLst/>
          </a:prstGeom>
        </p:spPr>
      </p:pic>
      <p:sp>
        <p:nvSpPr>
          <p:cNvPr id="12" name="TextBox 11">
            <a:extLst>
              <a:ext uri="{FF2B5EF4-FFF2-40B4-BE49-F238E27FC236}">
                <a16:creationId xmlns:a16="http://schemas.microsoft.com/office/drawing/2014/main" id="{0E93F57C-0B5B-4E65-94C1-E4625B3F7D64}"/>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B8E544A5-9D96-4513-8452-DB6216EDA52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A5F19C3-3F47-4E52-9358-3BE5D89B4F2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63C3C20B-69E0-40B2-BEAB-90FBEBE089F7}"/>
              </a:ext>
            </a:extLst>
          </p:cNvPr>
          <p:cNvGrpSpPr/>
          <p:nvPr userDrawn="1"/>
        </p:nvGrpSpPr>
        <p:grpSpPr>
          <a:xfrm>
            <a:off x="1568135" y="1133094"/>
            <a:ext cx="7096714" cy="3545665"/>
            <a:chOff x="995819" y="1133094"/>
            <a:chExt cx="7096714" cy="3545665"/>
          </a:xfrm>
          <a:solidFill>
            <a:srgbClr val="EBEBEB"/>
          </a:solidFill>
        </p:grpSpPr>
        <p:grpSp>
          <p:nvGrpSpPr>
            <p:cNvPr id="334" name="Group 331">
              <a:extLst>
                <a:ext uri="{FF2B5EF4-FFF2-40B4-BE49-F238E27FC236}">
                  <a16:creationId xmlns:a16="http://schemas.microsoft.com/office/drawing/2014/main" id="{4D5D0CD2-7DBA-49DB-8F93-0320934DDF8B}"/>
                </a:ext>
              </a:extLst>
            </p:cNvPr>
            <p:cNvGrpSpPr/>
            <p:nvPr/>
          </p:nvGrpSpPr>
          <p:grpSpPr>
            <a:xfrm>
              <a:off x="3594284" y="2149712"/>
              <a:ext cx="2314543" cy="1981849"/>
              <a:chOff x="3566445" y="2052092"/>
              <a:chExt cx="2450176" cy="2103083"/>
            </a:xfrm>
            <a:grpFill/>
          </p:grpSpPr>
          <p:sp>
            <p:nvSpPr>
              <p:cNvPr id="584" name="Freeform 5">
                <a:extLst>
                  <a:ext uri="{FF2B5EF4-FFF2-40B4-BE49-F238E27FC236}">
                    <a16:creationId xmlns:a16="http://schemas.microsoft.com/office/drawing/2014/main" id="{B3BFE91E-FBD2-4BF3-B105-DAEB95C56375}"/>
                  </a:ext>
                </a:extLst>
              </p:cNvPr>
              <p:cNvSpPr>
                <a:spLocks/>
              </p:cNvSpPr>
              <p:nvPr/>
            </p:nvSpPr>
            <p:spPr bwMode="auto">
              <a:xfrm>
                <a:off x="3639853" y="2710870"/>
                <a:ext cx="5540" cy="17686"/>
              </a:xfrm>
              <a:custGeom>
                <a:avLst/>
                <a:gdLst>
                  <a:gd name="T0" fmla="*/ 6350 w 4"/>
                  <a:gd name="T1" fmla="*/ 9525 h 12"/>
                  <a:gd name="T2" fmla="*/ 0 w 4"/>
                  <a:gd name="T3" fmla="*/ 0 h 12"/>
                  <a:gd name="T4" fmla="*/ 0 w 4"/>
                  <a:gd name="T5" fmla="*/ 19050 h 12"/>
                  <a:gd name="T6" fmla="*/ 6350 w 4"/>
                  <a:gd name="T7" fmla="*/ 9525 h 12"/>
                  <a:gd name="T8" fmla="*/ 6350 w 4"/>
                  <a:gd name="T9" fmla="*/ 9525 h 12"/>
                  <a:gd name="T10" fmla="*/ 0 60000 65536"/>
                  <a:gd name="T11" fmla="*/ 0 60000 65536"/>
                  <a:gd name="T12" fmla="*/ 0 60000 65536"/>
                  <a:gd name="T13" fmla="*/ 0 60000 65536"/>
                  <a:gd name="T14" fmla="*/ 0 60000 65536"/>
                  <a:gd name="T15" fmla="*/ 0 w 4"/>
                  <a:gd name="T16" fmla="*/ 0 h 12"/>
                  <a:gd name="T17" fmla="*/ 4 w 4"/>
                  <a:gd name="T18" fmla="*/ 12 h 12"/>
                </a:gdLst>
                <a:ahLst/>
                <a:cxnLst>
                  <a:cxn ang="T10">
                    <a:pos x="T0" y="T1"/>
                  </a:cxn>
                  <a:cxn ang="T11">
                    <a:pos x="T2" y="T3"/>
                  </a:cxn>
                  <a:cxn ang="T12">
                    <a:pos x="T4" y="T5"/>
                  </a:cxn>
                  <a:cxn ang="T13">
                    <a:pos x="T6" y="T7"/>
                  </a:cxn>
                  <a:cxn ang="T14">
                    <a:pos x="T8" y="T9"/>
                  </a:cxn>
                </a:cxnLst>
                <a:rect l="T15" t="T16" r="T17" b="T18"/>
                <a:pathLst>
                  <a:path w="4" h="12">
                    <a:moveTo>
                      <a:pt x="4" y="6"/>
                    </a:moveTo>
                    <a:lnTo>
                      <a:pt x="0" y="0"/>
                    </a:lnTo>
                    <a:lnTo>
                      <a:pt x="0" y="12"/>
                    </a:lnTo>
                    <a:lnTo>
                      <a:pt x="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5" name="Freeform 6">
                <a:extLst>
                  <a:ext uri="{FF2B5EF4-FFF2-40B4-BE49-F238E27FC236}">
                    <a16:creationId xmlns:a16="http://schemas.microsoft.com/office/drawing/2014/main" id="{A0B7F4B9-7ED5-470C-9989-5A50ECB0B2AB}"/>
                  </a:ext>
                </a:extLst>
              </p:cNvPr>
              <p:cNvSpPr>
                <a:spLocks/>
              </p:cNvSpPr>
              <p:nvPr/>
            </p:nvSpPr>
            <p:spPr bwMode="auto">
              <a:xfrm>
                <a:off x="3566445" y="2707923"/>
                <a:ext cx="22161" cy="14738"/>
              </a:xfrm>
              <a:custGeom>
                <a:avLst/>
                <a:gdLst>
                  <a:gd name="T0" fmla="*/ 25400 w 16"/>
                  <a:gd name="T1" fmla="*/ 6350 h 10"/>
                  <a:gd name="T2" fmla="*/ 22225 w 16"/>
                  <a:gd name="T3" fmla="*/ 0 h 10"/>
                  <a:gd name="T4" fmla="*/ 0 w 16"/>
                  <a:gd name="T5" fmla="*/ 3175 h 10"/>
                  <a:gd name="T6" fmla="*/ 6350 w 16"/>
                  <a:gd name="T7" fmla="*/ 15875 h 10"/>
                  <a:gd name="T8" fmla="*/ 25400 w 16"/>
                  <a:gd name="T9" fmla="*/ 6350 h 10"/>
                  <a:gd name="T10" fmla="*/ 25400 w 16"/>
                  <a:gd name="T11" fmla="*/ 6350 h 10"/>
                  <a:gd name="T12" fmla="*/ 0 60000 65536"/>
                  <a:gd name="T13" fmla="*/ 0 60000 65536"/>
                  <a:gd name="T14" fmla="*/ 0 60000 65536"/>
                  <a:gd name="T15" fmla="*/ 0 60000 65536"/>
                  <a:gd name="T16" fmla="*/ 0 60000 65536"/>
                  <a:gd name="T17" fmla="*/ 0 60000 65536"/>
                  <a:gd name="T18" fmla="*/ 0 w 16"/>
                  <a:gd name="T19" fmla="*/ 0 h 10"/>
                  <a:gd name="T20" fmla="*/ 16 w 16"/>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6" h="10">
                    <a:moveTo>
                      <a:pt x="16" y="4"/>
                    </a:moveTo>
                    <a:lnTo>
                      <a:pt x="14" y="0"/>
                    </a:lnTo>
                    <a:lnTo>
                      <a:pt x="0" y="2"/>
                    </a:lnTo>
                    <a:lnTo>
                      <a:pt x="4" y="10"/>
                    </a:lnTo>
                    <a:lnTo>
                      <a:pt x="16"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6" name="Freeform 7">
                <a:extLst>
                  <a:ext uri="{FF2B5EF4-FFF2-40B4-BE49-F238E27FC236}">
                    <a16:creationId xmlns:a16="http://schemas.microsoft.com/office/drawing/2014/main" id="{3BF0909D-071F-4558-BB9E-FF0E08BB9FF0}"/>
                  </a:ext>
                </a:extLst>
              </p:cNvPr>
              <p:cNvSpPr>
                <a:spLocks/>
              </p:cNvSpPr>
              <p:nvPr/>
            </p:nvSpPr>
            <p:spPr bwMode="auto">
              <a:xfrm>
                <a:off x="3637083" y="2731504"/>
                <a:ext cx="16621" cy="17686"/>
              </a:xfrm>
              <a:custGeom>
                <a:avLst/>
                <a:gdLst>
                  <a:gd name="T0" fmla="*/ 3175 w 12"/>
                  <a:gd name="T1" fmla="*/ 3175 h 12"/>
                  <a:gd name="T2" fmla="*/ 0 w 12"/>
                  <a:gd name="T3" fmla="*/ 9525 h 12"/>
                  <a:gd name="T4" fmla="*/ 6350 w 12"/>
                  <a:gd name="T5" fmla="*/ 19050 h 12"/>
                  <a:gd name="T6" fmla="*/ 12700 w 12"/>
                  <a:gd name="T7" fmla="*/ 15875 h 12"/>
                  <a:gd name="T8" fmla="*/ 19050 w 12"/>
                  <a:gd name="T9" fmla="*/ 12700 h 12"/>
                  <a:gd name="T10" fmla="*/ 19050 w 12"/>
                  <a:gd name="T11" fmla="*/ 3175 h 12"/>
                  <a:gd name="T12" fmla="*/ 12700 w 12"/>
                  <a:gd name="T13" fmla="*/ 0 h 12"/>
                  <a:gd name="T14" fmla="*/ 3175 w 12"/>
                  <a:gd name="T15" fmla="*/ 3175 h 12"/>
                  <a:gd name="T16" fmla="*/ 3175 w 12"/>
                  <a:gd name="T17" fmla="*/ 3175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2" y="2"/>
                    </a:moveTo>
                    <a:lnTo>
                      <a:pt x="0" y="6"/>
                    </a:lnTo>
                    <a:lnTo>
                      <a:pt x="4" y="12"/>
                    </a:lnTo>
                    <a:lnTo>
                      <a:pt x="8" y="10"/>
                    </a:lnTo>
                    <a:lnTo>
                      <a:pt x="12" y="8"/>
                    </a:lnTo>
                    <a:lnTo>
                      <a:pt x="12" y="2"/>
                    </a:lnTo>
                    <a:lnTo>
                      <a:pt x="8" y="0"/>
                    </a:lnTo>
                    <a:lnTo>
                      <a:pt x="2"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7" name="Freeform 8">
                <a:extLst>
                  <a:ext uri="{FF2B5EF4-FFF2-40B4-BE49-F238E27FC236}">
                    <a16:creationId xmlns:a16="http://schemas.microsoft.com/office/drawing/2014/main" id="{C05458D0-8332-453F-8275-63ED062A47C3}"/>
                  </a:ext>
                </a:extLst>
              </p:cNvPr>
              <p:cNvSpPr>
                <a:spLocks/>
              </p:cNvSpPr>
              <p:nvPr/>
            </p:nvSpPr>
            <p:spPr bwMode="auto">
              <a:xfrm>
                <a:off x="3591376" y="2769822"/>
                <a:ext cx="15235" cy="14738"/>
              </a:xfrm>
              <a:custGeom>
                <a:avLst/>
                <a:gdLst>
                  <a:gd name="T0" fmla="*/ 17463 w 11"/>
                  <a:gd name="T1" fmla="*/ 12700 h 10"/>
                  <a:gd name="T2" fmla="*/ 17463 w 11"/>
                  <a:gd name="T3" fmla="*/ 0 h 10"/>
                  <a:gd name="T4" fmla="*/ 6350 w 11"/>
                  <a:gd name="T5" fmla="*/ 3175 h 10"/>
                  <a:gd name="T6" fmla="*/ 0 w 11"/>
                  <a:gd name="T7" fmla="*/ 15875 h 10"/>
                  <a:gd name="T8" fmla="*/ 17463 w 11"/>
                  <a:gd name="T9" fmla="*/ 12700 h 10"/>
                  <a:gd name="T10" fmla="*/ 17463 w 11"/>
                  <a:gd name="T11" fmla="*/ 1270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8"/>
                    </a:moveTo>
                    <a:lnTo>
                      <a:pt x="11" y="0"/>
                    </a:lnTo>
                    <a:lnTo>
                      <a:pt x="4" y="2"/>
                    </a:lnTo>
                    <a:lnTo>
                      <a:pt x="0" y="10"/>
                    </a:lnTo>
                    <a:lnTo>
                      <a:pt x="11"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8" name="Freeform 9">
                <a:extLst>
                  <a:ext uri="{FF2B5EF4-FFF2-40B4-BE49-F238E27FC236}">
                    <a16:creationId xmlns:a16="http://schemas.microsoft.com/office/drawing/2014/main" id="{A9989AC7-A6D7-4A8B-9A73-4E15E443C3D0}"/>
                  </a:ext>
                </a:extLst>
              </p:cNvPr>
              <p:cNvSpPr>
                <a:spLocks/>
              </p:cNvSpPr>
              <p:nvPr/>
            </p:nvSpPr>
            <p:spPr bwMode="auto">
              <a:xfrm>
                <a:off x="3614921" y="2758032"/>
                <a:ext cx="22161" cy="23580"/>
              </a:xfrm>
              <a:custGeom>
                <a:avLst/>
                <a:gdLst>
                  <a:gd name="T0" fmla="*/ 0 w 16"/>
                  <a:gd name="T1" fmla="*/ 22225 h 16"/>
                  <a:gd name="T2" fmla="*/ 9525 w 16"/>
                  <a:gd name="T3" fmla="*/ 25400 h 16"/>
                  <a:gd name="T4" fmla="*/ 22225 w 16"/>
                  <a:gd name="T5" fmla="*/ 19050 h 16"/>
                  <a:gd name="T6" fmla="*/ 25400 w 16"/>
                  <a:gd name="T7" fmla="*/ 12700 h 16"/>
                  <a:gd name="T8" fmla="*/ 0 w 16"/>
                  <a:gd name="T9" fmla="*/ 0 h 16"/>
                  <a:gd name="T10" fmla="*/ 0 w 16"/>
                  <a:gd name="T11" fmla="*/ 22225 h 16"/>
                  <a:gd name="T12" fmla="*/ 0 w 16"/>
                  <a:gd name="T13" fmla="*/ 22225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14"/>
                    </a:moveTo>
                    <a:lnTo>
                      <a:pt x="6" y="16"/>
                    </a:lnTo>
                    <a:lnTo>
                      <a:pt x="14" y="12"/>
                    </a:lnTo>
                    <a:lnTo>
                      <a:pt x="16" y="8"/>
                    </a:lnTo>
                    <a:lnTo>
                      <a:pt x="0" y="0"/>
                    </a:lnTo>
                    <a:lnTo>
                      <a:pt x="0" y="1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9" name="Freeform 10">
                <a:extLst>
                  <a:ext uri="{FF2B5EF4-FFF2-40B4-BE49-F238E27FC236}">
                    <a16:creationId xmlns:a16="http://schemas.microsoft.com/office/drawing/2014/main" id="{FB7025CE-3DCA-47F2-8990-5617D42B9188}"/>
                  </a:ext>
                </a:extLst>
              </p:cNvPr>
              <p:cNvSpPr>
                <a:spLocks/>
              </p:cNvSpPr>
              <p:nvPr/>
            </p:nvSpPr>
            <p:spPr bwMode="auto">
              <a:xfrm>
                <a:off x="3594146" y="2722661"/>
                <a:ext cx="26316" cy="8843"/>
              </a:xfrm>
              <a:custGeom>
                <a:avLst/>
                <a:gdLst>
                  <a:gd name="T0" fmla="*/ 3175 w 19"/>
                  <a:gd name="T1" fmla="*/ 9525 h 6"/>
                  <a:gd name="T2" fmla="*/ 30163 w 19"/>
                  <a:gd name="T3" fmla="*/ 3175 h 6"/>
                  <a:gd name="T4" fmla="*/ 0 w 19"/>
                  <a:gd name="T5" fmla="*/ 0 h 6"/>
                  <a:gd name="T6" fmla="*/ 3175 w 19"/>
                  <a:gd name="T7" fmla="*/ 9525 h 6"/>
                  <a:gd name="T8" fmla="*/ 3175 w 19"/>
                  <a:gd name="T9" fmla="*/ 9525 h 6"/>
                  <a:gd name="T10" fmla="*/ 0 60000 65536"/>
                  <a:gd name="T11" fmla="*/ 0 60000 65536"/>
                  <a:gd name="T12" fmla="*/ 0 60000 65536"/>
                  <a:gd name="T13" fmla="*/ 0 60000 65536"/>
                  <a:gd name="T14" fmla="*/ 0 60000 65536"/>
                  <a:gd name="T15" fmla="*/ 0 w 19"/>
                  <a:gd name="T16" fmla="*/ 0 h 6"/>
                  <a:gd name="T17" fmla="*/ 19 w 19"/>
                  <a:gd name="T18" fmla="*/ 6 h 6"/>
                </a:gdLst>
                <a:ahLst/>
                <a:cxnLst>
                  <a:cxn ang="T10">
                    <a:pos x="T0" y="T1"/>
                  </a:cxn>
                  <a:cxn ang="T11">
                    <a:pos x="T2" y="T3"/>
                  </a:cxn>
                  <a:cxn ang="T12">
                    <a:pos x="T4" y="T5"/>
                  </a:cxn>
                  <a:cxn ang="T13">
                    <a:pos x="T6" y="T7"/>
                  </a:cxn>
                  <a:cxn ang="T14">
                    <a:pos x="T8" y="T9"/>
                  </a:cxn>
                </a:cxnLst>
                <a:rect l="T15" t="T16" r="T17" b="T18"/>
                <a:pathLst>
                  <a:path w="19" h="6">
                    <a:moveTo>
                      <a:pt x="2" y="6"/>
                    </a:moveTo>
                    <a:lnTo>
                      <a:pt x="19" y="2"/>
                    </a:lnTo>
                    <a:lnTo>
                      <a:pt x="0" y="0"/>
                    </a:lnTo>
                    <a:lnTo>
                      <a:pt x="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0" name="Freeform 3">
                <a:extLst>
                  <a:ext uri="{FF2B5EF4-FFF2-40B4-BE49-F238E27FC236}">
                    <a16:creationId xmlns:a16="http://schemas.microsoft.com/office/drawing/2014/main" id="{B587EF2A-25CC-456C-976B-BB262A4405AC}"/>
                  </a:ext>
                </a:extLst>
              </p:cNvPr>
              <p:cNvSpPr>
                <a:spLocks/>
              </p:cNvSpPr>
              <p:nvPr/>
            </p:nvSpPr>
            <p:spPr bwMode="auto">
              <a:xfrm>
                <a:off x="5085859" y="2665184"/>
                <a:ext cx="196679" cy="218119"/>
              </a:xfrm>
              <a:custGeom>
                <a:avLst/>
                <a:gdLst>
                  <a:gd name="T0" fmla="*/ 115887 w 142"/>
                  <a:gd name="T1" fmla="*/ 0 h 148"/>
                  <a:gd name="T2" fmla="*/ 15875 w 142"/>
                  <a:gd name="T3" fmla="*/ 34925 h 148"/>
                  <a:gd name="T4" fmla="*/ 0 w 142"/>
                  <a:gd name="T5" fmla="*/ 138112 h 148"/>
                  <a:gd name="T6" fmla="*/ 106363 w 142"/>
                  <a:gd name="T7" fmla="*/ 144462 h 148"/>
                  <a:gd name="T8" fmla="*/ 176212 w 142"/>
                  <a:gd name="T9" fmla="*/ 187325 h 148"/>
                  <a:gd name="T10" fmla="*/ 160337 w 142"/>
                  <a:gd name="T11" fmla="*/ 219075 h 148"/>
                  <a:gd name="T12" fmla="*/ 225425 w 142"/>
                  <a:gd name="T13" fmla="*/ 234950 h 148"/>
                  <a:gd name="T14" fmla="*/ 134937 w 142"/>
                  <a:gd name="T15" fmla="*/ 87312 h 148"/>
                  <a:gd name="T16" fmla="*/ 115887 w 142"/>
                  <a:gd name="T17" fmla="*/ 0 h 148"/>
                  <a:gd name="T18" fmla="*/ 115887 w 142"/>
                  <a:gd name="T19" fmla="*/ 0 h 1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2"/>
                  <a:gd name="T31" fmla="*/ 0 h 148"/>
                  <a:gd name="T32" fmla="*/ 142 w 142"/>
                  <a:gd name="T33" fmla="*/ 148 h 1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2" h="148">
                    <a:moveTo>
                      <a:pt x="73" y="0"/>
                    </a:moveTo>
                    <a:lnTo>
                      <a:pt x="10" y="22"/>
                    </a:lnTo>
                    <a:lnTo>
                      <a:pt x="0" y="87"/>
                    </a:lnTo>
                    <a:lnTo>
                      <a:pt x="67" y="91"/>
                    </a:lnTo>
                    <a:lnTo>
                      <a:pt x="111" y="118"/>
                    </a:lnTo>
                    <a:lnTo>
                      <a:pt x="101" y="138"/>
                    </a:lnTo>
                    <a:lnTo>
                      <a:pt x="142" y="148"/>
                    </a:lnTo>
                    <a:lnTo>
                      <a:pt x="85" y="55"/>
                    </a:lnTo>
                    <a:lnTo>
                      <a:pt x="7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1" name="Freeform 4">
                <a:extLst>
                  <a:ext uri="{FF2B5EF4-FFF2-40B4-BE49-F238E27FC236}">
                    <a16:creationId xmlns:a16="http://schemas.microsoft.com/office/drawing/2014/main" id="{54ED8554-5F15-4D4C-A193-5F943D1F1B1C}"/>
                  </a:ext>
                </a:extLst>
              </p:cNvPr>
              <p:cNvSpPr>
                <a:spLocks/>
              </p:cNvSpPr>
              <p:nvPr/>
            </p:nvSpPr>
            <p:spPr bwMode="auto">
              <a:xfrm>
                <a:off x="5555396" y="3763149"/>
                <a:ext cx="30471" cy="26528"/>
              </a:xfrm>
              <a:custGeom>
                <a:avLst/>
                <a:gdLst>
                  <a:gd name="T0" fmla="*/ 22225 w 22"/>
                  <a:gd name="T1" fmla="*/ 22225 h 18"/>
                  <a:gd name="T2" fmla="*/ 34925 w 22"/>
                  <a:gd name="T3" fmla="*/ 9525 h 18"/>
                  <a:gd name="T4" fmla="*/ 9525 w 22"/>
                  <a:gd name="T5" fmla="*/ 0 h 18"/>
                  <a:gd name="T6" fmla="*/ 0 w 22"/>
                  <a:gd name="T7" fmla="*/ 28575 h 18"/>
                  <a:gd name="T8" fmla="*/ 22225 w 22"/>
                  <a:gd name="T9" fmla="*/ 22225 h 18"/>
                  <a:gd name="T10" fmla="*/ 22225 w 22"/>
                  <a:gd name="T11" fmla="*/ 22225 h 18"/>
                  <a:gd name="T12" fmla="*/ 0 60000 65536"/>
                  <a:gd name="T13" fmla="*/ 0 60000 65536"/>
                  <a:gd name="T14" fmla="*/ 0 60000 65536"/>
                  <a:gd name="T15" fmla="*/ 0 60000 65536"/>
                  <a:gd name="T16" fmla="*/ 0 60000 65536"/>
                  <a:gd name="T17" fmla="*/ 0 60000 65536"/>
                  <a:gd name="T18" fmla="*/ 0 w 22"/>
                  <a:gd name="T19" fmla="*/ 0 h 18"/>
                  <a:gd name="T20" fmla="*/ 22 w 2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2" h="18">
                    <a:moveTo>
                      <a:pt x="14" y="14"/>
                    </a:moveTo>
                    <a:lnTo>
                      <a:pt x="22" y="6"/>
                    </a:lnTo>
                    <a:lnTo>
                      <a:pt x="6" y="0"/>
                    </a:lnTo>
                    <a:lnTo>
                      <a:pt x="0" y="18"/>
                    </a:lnTo>
                    <a:lnTo>
                      <a:pt x="14" y="1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2" name="Freeform 11">
                <a:extLst>
                  <a:ext uri="{FF2B5EF4-FFF2-40B4-BE49-F238E27FC236}">
                    <a16:creationId xmlns:a16="http://schemas.microsoft.com/office/drawing/2014/main" id="{89E1022F-38E1-4476-8F96-A4AA919845F4}"/>
                  </a:ext>
                </a:extLst>
              </p:cNvPr>
              <p:cNvSpPr>
                <a:spLocks noEditPoints="1"/>
              </p:cNvSpPr>
              <p:nvPr/>
            </p:nvSpPr>
            <p:spPr bwMode="auto">
              <a:xfrm>
                <a:off x="4601087" y="3802942"/>
                <a:ext cx="408594" cy="352233"/>
              </a:xfrm>
              <a:custGeom>
                <a:avLst/>
                <a:gdLst>
                  <a:gd name="T0" fmla="*/ 290512 w 295"/>
                  <a:gd name="T1" fmla="*/ 66675 h 239"/>
                  <a:gd name="T2" fmla="*/ 274637 w 295"/>
                  <a:gd name="T3" fmla="*/ 106363 h 239"/>
                  <a:gd name="T4" fmla="*/ 209550 w 295"/>
                  <a:gd name="T5" fmla="*/ 92075 h 239"/>
                  <a:gd name="T6" fmla="*/ 174625 w 295"/>
                  <a:gd name="T7" fmla="*/ 141288 h 239"/>
                  <a:gd name="T8" fmla="*/ 142875 w 295"/>
                  <a:gd name="T9" fmla="*/ 141288 h 239"/>
                  <a:gd name="T10" fmla="*/ 139700 w 295"/>
                  <a:gd name="T11" fmla="*/ 85725 h 239"/>
                  <a:gd name="T12" fmla="*/ 123825 w 295"/>
                  <a:gd name="T13" fmla="*/ 79375 h 239"/>
                  <a:gd name="T14" fmla="*/ 112712 w 295"/>
                  <a:gd name="T15" fmla="*/ 119063 h 239"/>
                  <a:gd name="T16" fmla="*/ 112712 w 295"/>
                  <a:gd name="T17" fmla="*/ 185738 h 239"/>
                  <a:gd name="T18" fmla="*/ 77787 w 295"/>
                  <a:gd name="T19" fmla="*/ 204788 h 239"/>
                  <a:gd name="T20" fmla="*/ 33337 w 295"/>
                  <a:gd name="T21" fmla="*/ 179388 h 239"/>
                  <a:gd name="T22" fmla="*/ 17462 w 295"/>
                  <a:gd name="T23" fmla="*/ 179388 h 239"/>
                  <a:gd name="T24" fmla="*/ 0 w 295"/>
                  <a:gd name="T25" fmla="*/ 185738 h 239"/>
                  <a:gd name="T26" fmla="*/ 23812 w 295"/>
                  <a:gd name="T27" fmla="*/ 212725 h 239"/>
                  <a:gd name="T28" fmla="*/ 26987 w 295"/>
                  <a:gd name="T29" fmla="*/ 247650 h 239"/>
                  <a:gd name="T30" fmla="*/ 58737 w 295"/>
                  <a:gd name="T31" fmla="*/ 307975 h 239"/>
                  <a:gd name="T32" fmla="*/ 49212 w 295"/>
                  <a:gd name="T33" fmla="*/ 322263 h 239"/>
                  <a:gd name="T34" fmla="*/ 52387 w 295"/>
                  <a:gd name="T35" fmla="*/ 363538 h 239"/>
                  <a:gd name="T36" fmla="*/ 90487 w 295"/>
                  <a:gd name="T37" fmla="*/ 379413 h 239"/>
                  <a:gd name="T38" fmla="*/ 158750 w 295"/>
                  <a:gd name="T39" fmla="*/ 363538 h 239"/>
                  <a:gd name="T40" fmla="*/ 177800 w 295"/>
                  <a:gd name="T41" fmla="*/ 369888 h 239"/>
                  <a:gd name="T42" fmla="*/ 200025 w 295"/>
                  <a:gd name="T43" fmla="*/ 363538 h 239"/>
                  <a:gd name="T44" fmla="*/ 255587 w 295"/>
                  <a:gd name="T45" fmla="*/ 363538 h 239"/>
                  <a:gd name="T46" fmla="*/ 265112 w 295"/>
                  <a:gd name="T47" fmla="*/ 347663 h 239"/>
                  <a:gd name="T48" fmla="*/ 293687 w 295"/>
                  <a:gd name="T49" fmla="*/ 344488 h 239"/>
                  <a:gd name="T50" fmla="*/ 377825 w 295"/>
                  <a:gd name="T51" fmla="*/ 276225 h 239"/>
                  <a:gd name="T52" fmla="*/ 442912 w 295"/>
                  <a:gd name="T53" fmla="*/ 192088 h 239"/>
                  <a:gd name="T54" fmla="*/ 442912 w 295"/>
                  <a:gd name="T55" fmla="*/ 179388 h 239"/>
                  <a:gd name="T56" fmla="*/ 461962 w 295"/>
                  <a:gd name="T57" fmla="*/ 144463 h 239"/>
                  <a:gd name="T58" fmla="*/ 468312 w 295"/>
                  <a:gd name="T59" fmla="*/ 119063 h 239"/>
                  <a:gd name="T60" fmla="*/ 433387 w 295"/>
                  <a:gd name="T61" fmla="*/ 134938 h 239"/>
                  <a:gd name="T62" fmla="*/ 422275 w 295"/>
                  <a:gd name="T63" fmla="*/ 134938 h 239"/>
                  <a:gd name="T64" fmla="*/ 425450 w 295"/>
                  <a:gd name="T65" fmla="*/ 98425 h 239"/>
                  <a:gd name="T66" fmla="*/ 449262 w 295"/>
                  <a:gd name="T67" fmla="*/ 79375 h 239"/>
                  <a:gd name="T68" fmla="*/ 439737 w 295"/>
                  <a:gd name="T69" fmla="*/ 0 h 239"/>
                  <a:gd name="T70" fmla="*/ 387350 w 295"/>
                  <a:gd name="T71" fmla="*/ 0 h 239"/>
                  <a:gd name="T72" fmla="*/ 290512 w 295"/>
                  <a:gd name="T73" fmla="*/ 66675 h 239"/>
                  <a:gd name="T74" fmla="*/ 290512 w 295"/>
                  <a:gd name="T75" fmla="*/ 66675 h 239"/>
                  <a:gd name="T76" fmla="*/ 303212 w 295"/>
                  <a:gd name="T77" fmla="*/ 228600 h 239"/>
                  <a:gd name="T78" fmla="*/ 352425 w 295"/>
                  <a:gd name="T79" fmla="*/ 198438 h 239"/>
                  <a:gd name="T80" fmla="*/ 371475 w 295"/>
                  <a:gd name="T81" fmla="*/ 219075 h 239"/>
                  <a:gd name="T82" fmla="*/ 352425 w 295"/>
                  <a:gd name="T83" fmla="*/ 241300 h 239"/>
                  <a:gd name="T84" fmla="*/ 330200 w 295"/>
                  <a:gd name="T85" fmla="*/ 247650 h 239"/>
                  <a:gd name="T86" fmla="*/ 303212 w 295"/>
                  <a:gd name="T87" fmla="*/ 228600 h 239"/>
                  <a:gd name="T88" fmla="*/ 303212 w 295"/>
                  <a:gd name="T89" fmla="*/ 228600 h 23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5"/>
                  <a:gd name="T136" fmla="*/ 0 h 239"/>
                  <a:gd name="T137" fmla="*/ 295 w 295"/>
                  <a:gd name="T138" fmla="*/ 239 h 23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5" h="239">
                    <a:moveTo>
                      <a:pt x="183" y="42"/>
                    </a:moveTo>
                    <a:lnTo>
                      <a:pt x="173" y="67"/>
                    </a:lnTo>
                    <a:lnTo>
                      <a:pt x="132" y="58"/>
                    </a:lnTo>
                    <a:lnTo>
                      <a:pt x="110" y="89"/>
                    </a:lnTo>
                    <a:lnTo>
                      <a:pt x="90" y="89"/>
                    </a:lnTo>
                    <a:lnTo>
                      <a:pt x="88" y="54"/>
                    </a:lnTo>
                    <a:lnTo>
                      <a:pt x="78" y="50"/>
                    </a:lnTo>
                    <a:lnTo>
                      <a:pt x="71" y="75"/>
                    </a:lnTo>
                    <a:lnTo>
                      <a:pt x="71" y="117"/>
                    </a:lnTo>
                    <a:lnTo>
                      <a:pt x="49" y="129"/>
                    </a:lnTo>
                    <a:lnTo>
                      <a:pt x="21" y="113"/>
                    </a:lnTo>
                    <a:lnTo>
                      <a:pt x="11" y="113"/>
                    </a:lnTo>
                    <a:lnTo>
                      <a:pt x="0" y="117"/>
                    </a:lnTo>
                    <a:lnTo>
                      <a:pt x="15" y="134"/>
                    </a:lnTo>
                    <a:lnTo>
                      <a:pt x="17" y="156"/>
                    </a:lnTo>
                    <a:lnTo>
                      <a:pt x="37" y="194"/>
                    </a:lnTo>
                    <a:lnTo>
                      <a:pt x="31" y="203"/>
                    </a:lnTo>
                    <a:lnTo>
                      <a:pt x="33" y="229"/>
                    </a:lnTo>
                    <a:lnTo>
                      <a:pt x="57" y="239"/>
                    </a:lnTo>
                    <a:lnTo>
                      <a:pt x="100" y="229"/>
                    </a:lnTo>
                    <a:lnTo>
                      <a:pt x="112" y="233"/>
                    </a:lnTo>
                    <a:lnTo>
                      <a:pt x="126" y="229"/>
                    </a:lnTo>
                    <a:lnTo>
                      <a:pt x="161" y="229"/>
                    </a:lnTo>
                    <a:lnTo>
                      <a:pt x="167" y="219"/>
                    </a:lnTo>
                    <a:lnTo>
                      <a:pt x="185" y="217"/>
                    </a:lnTo>
                    <a:lnTo>
                      <a:pt x="238" y="174"/>
                    </a:lnTo>
                    <a:lnTo>
                      <a:pt x="279" y="121"/>
                    </a:lnTo>
                    <a:lnTo>
                      <a:pt x="279" y="113"/>
                    </a:lnTo>
                    <a:lnTo>
                      <a:pt x="291" y="91"/>
                    </a:lnTo>
                    <a:lnTo>
                      <a:pt x="295" y="75"/>
                    </a:lnTo>
                    <a:lnTo>
                      <a:pt x="273" y="85"/>
                    </a:lnTo>
                    <a:lnTo>
                      <a:pt x="266" y="85"/>
                    </a:lnTo>
                    <a:lnTo>
                      <a:pt x="268" y="62"/>
                    </a:lnTo>
                    <a:lnTo>
                      <a:pt x="283" y="50"/>
                    </a:lnTo>
                    <a:lnTo>
                      <a:pt x="277" y="0"/>
                    </a:lnTo>
                    <a:lnTo>
                      <a:pt x="244" y="0"/>
                    </a:lnTo>
                    <a:lnTo>
                      <a:pt x="183" y="42"/>
                    </a:lnTo>
                    <a:close/>
                    <a:moveTo>
                      <a:pt x="191" y="144"/>
                    </a:moveTo>
                    <a:lnTo>
                      <a:pt x="222" y="125"/>
                    </a:lnTo>
                    <a:lnTo>
                      <a:pt x="234" y="138"/>
                    </a:lnTo>
                    <a:lnTo>
                      <a:pt x="222" y="152"/>
                    </a:lnTo>
                    <a:lnTo>
                      <a:pt x="208" y="156"/>
                    </a:lnTo>
                    <a:lnTo>
                      <a:pt x="191" y="14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3" name="Freeform 12">
                <a:extLst>
                  <a:ext uri="{FF2B5EF4-FFF2-40B4-BE49-F238E27FC236}">
                    <a16:creationId xmlns:a16="http://schemas.microsoft.com/office/drawing/2014/main" id="{1F3EA3F3-C5D1-450A-83C0-BE27939733AC}"/>
                  </a:ext>
                </a:extLst>
              </p:cNvPr>
              <p:cNvSpPr>
                <a:spLocks/>
              </p:cNvSpPr>
              <p:nvPr/>
            </p:nvSpPr>
            <p:spPr bwMode="auto">
              <a:xfrm>
                <a:off x="4865633" y="3987164"/>
                <a:ext cx="59558" cy="45687"/>
              </a:xfrm>
              <a:custGeom>
                <a:avLst/>
                <a:gdLst>
                  <a:gd name="T0" fmla="*/ 49213 w 43"/>
                  <a:gd name="T1" fmla="*/ 0 h 31"/>
                  <a:gd name="T2" fmla="*/ 0 w 43"/>
                  <a:gd name="T3" fmla="*/ 30162 h 31"/>
                  <a:gd name="T4" fmla="*/ 26988 w 43"/>
                  <a:gd name="T5" fmla="*/ 49212 h 31"/>
                  <a:gd name="T6" fmla="*/ 49213 w 43"/>
                  <a:gd name="T7" fmla="*/ 42862 h 31"/>
                  <a:gd name="T8" fmla="*/ 68263 w 43"/>
                  <a:gd name="T9" fmla="*/ 20637 h 31"/>
                  <a:gd name="T10" fmla="*/ 49213 w 43"/>
                  <a:gd name="T11" fmla="*/ 0 h 31"/>
                  <a:gd name="T12" fmla="*/ 49213 w 43"/>
                  <a:gd name="T13" fmla="*/ 0 h 31"/>
                  <a:gd name="T14" fmla="*/ 0 60000 65536"/>
                  <a:gd name="T15" fmla="*/ 0 60000 65536"/>
                  <a:gd name="T16" fmla="*/ 0 60000 65536"/>
                  <a:gd name="T17" fmla="*/ 0 60000 65536"/>
                  <a:gd name="T18" fmla="*/ 0 60000 65536"/>
                  <a:gd name="T19" fmla="*/ 0 60000 65536"/>
                  <a:gd name="T20" fmla="*/ 0 60000 65536"/>
                  <a:gd name="T21" fmla="*/ 0 w 43"/>
                  <a:gd name="T22" fmla="*/ 0 h 31"/>
                  <a:gd name="T23" fmla="*/ 43 w 43"/>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31">
                    <a:moveTo>
                      <a:pt x="31" y="0"/>
                    </a:moveTo>
                    <a:lnTo>
                      <a:pt x="0" y="19"/>
                    </a:lnTo>
                    <a:lnTo>
                      <a:pt x="17" y="31"/>
                    </a:lnTo>
                    <a:lnTo>
                      <a:pt x="31" y="27"/>
                    </a:lnTo>
                    <a:lnTo>
                      <a:pt x="43" y="13"/>
                    </a:lnTo>
                    <a:lnTo>
                      <a:pt x="31"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4" name="Freeform 13">
                <a:extLst>
                  <a:ext uri="{FF2B5EF4-FFF2-40B4-BE49-F238E27FC236}">
                    <a16:creationId xmlns:a16="http://schemas.microsoft.com/office/drawing/2014/main" id="{B8D78FA2-ED46-453D-AD34-EE65859716FA}"/>
                  </a:ext>
                </a:extLst>
              </p:cNvPr>
              <p:cNvSpPr>
                <a:spLocks/>
              </p:cNvSpPr>
              <p:nvPr/>
            </p:nvSpPr>
            <p:spPr bwMode="auto">
              <a:xfrm>
                <a:off x="4502747" y="3655563"/>
                <a:ext cx="343495" cy="337496"/>
              </a:xfrm>
              <a:custGeom>
                <a:avLst/>
                <a:gdLst>
                  <a:gd name="T0" fmla="*/ 393700 w 248"/>
                  <a:gd name="T1" fmla="*/ 28575 h 229"/>
                  <a:gd name="T2" fmla="*/ 387350 w 248"/>
                  <a:gd name="T3" fmla="*/ 9525 h 229"/>
                  <a:gd name="T4" fmla="*/ 328613 w 248"/>
                  <a:gd name="T5" fmla="*/ 15875 h 229"/>
                  <a:gd name="T6" fmla="*/ 280988 w 248"/>
                  <a:gd name="T7" fmla="*/ 34925 h 229"/>
                  <a:gd name="T8" fmla="*/ 203200 w 248"/>
                  <a:gd name="T9" fmla="*/ 25400 h 229"/>
                  <a:gd name="T10" fmla="*/ 203200 w 248"/>
                  <a:gd name="T11" fmla="*/ 15875 h 229"/>
                  <a:gd name="T12" fmla="*/ 130175 w 248"/>
                  <a:gd name="T13" fmla="*/ 19050 h 229"/>
                  <a:gd name="T14" fmla="*/ 68263 w 248"/>
                  <a:gd name="T15" fmla="*/ 0 h 229"/>
                  <a:gd name="T16" fmla="*/ 26988 w 248"/>
                  <a:gd name="T17" fmla="*/ 12700 h 229"/>
                  <a:gd name="T18" fmla="*/ 0 w 248"/>
                  <a:gd name="T19" fmla="*/ 9525 h 229"/>
                  <a:gd name="T20" fmla="*/ 0 w 248"/>
                  <a:gd name="T21" fmla="*/ 25400 h 229"/>
                  <a:gd name="T22" fmla="*/ 12700 w 248"/>
                  <a:gd name="T23" fmla="*/ 34925 h 229"/>
                  <a:gd name="T24" fmla="*/ 65088 w 248"/>
                  <a:gd name="T25" fmla="*/ 147638 h 229"/>
                  <a:gd name="T26" fmla="*/ 80963 w 248"/>
                  <a:gd name="T27" fmla="*/ 147638 h 229"/>
                  <a:gd name="T28" fmla="*/ 80963 w 248"/>
                  <a:gd name="T29" fmla="*/ 165100 h 229"/>
                  <a:gd name="T30" fmla="*/ 74613 w 248"/>
                  <a:gd name="T31" fmla="*/ 196850 h 229"/>
                  <a:gd name="T32" fmla="*/ 112713 w 248"/>
                  <a:gd name="T33" fmla="*/ 344488 h 229"/>
                  <a:gd name="T34" fmla="*/ 130175 w 248"/>
                  <a:gd name="T35" fmla="*/ 338138 h 229"/>
                  <a:gd name="T36" fmla="*/ 146050 w 248"/>
                  <a:gd name="T37" fmla="*/ 338138 h 229"/>
                  <a:gd name="T38" fmla="*/ 190500 w 248"/>
                  <a:gd name="T39" fmla="*/ 363538 h 229"/>
                  <a:gd name="T40" fmla="*/ 225425 w 248"/>
                  <a:gd name="T41" fmla="*/ 344488 h 229"/>
                  <a:gd name="T42" fmla="*/ 225425 w 248"/>
                  <a:gd name="T43" fmla="*/ 277813 h 229"/>
                  <a:gd name="T44" fmla="*/ 236538 w 248"/>
                  <a:gd name="T45" fmla="*/ 238125 h 229"/>
                  <a:gd name="T46" fmla="*/ 230188 w 248"/>
                  <a:gd name="T47" fmla="*/ 193675 h 229"/>
                  <a:gd name="T48" fmla="*/ 258763 w 248"/>
                  <a:gd name="T49" fmla="*/ 158750 h 229"/>
                  <a:gd name="T50" fmla="*/ 271463 w 248"/>
                  <a:gd name="T51" fmla="*/ 71438 h 229"/>
                  <a:gd name="T52" fmla="*/ 261938 w 248"/>
                  <a:gd name="T53" fmla="*/ 49213 h 229"/>
                  <a:gd name="T54" fmla="*/ 296863 w 248"/>
                  <a:gd name="T55" fmla="*/ 52388 h 229"/>
                  <a:gd name="T56" fmla="*/ 342900 w 248"/>
                  <a:gd name="T57" fmla="*/ 34925 h 229"/>
                  <a:gd name="T58" fmla="*/ 358775 w 248"/>
                  <a:gd name="T59" fmla="*/ 44450 h 229"/>
                  <a:gd name="T60" fmla="*/ 393700 w 248"/>
                  <a:gd name="T61" fmla="*/ 28575 h 229"/>
                  <a:gd name="T62" fmla="*/ 393700 w 248"/>
                  <a:gd name="T63" fmla="*/ 28575 h 2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229"/>
                  <a:gd name="T98" fmla="*/ 248 w 248"/>
                  <a:gd name="T99" fmla="*/ 229 h 2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229">
                    <a:moveTo>
                      <a:pt x="248" y="18"/>
                    </a:moveTo>
                    <a:lnTo>
                      <a:pt x="244" y="6"/>
                    </a:lnTo>
                    <a:lnTo>
                      <a:pt x="207" y="10"/>
                    </a:lnTo>
                    <a:lnTo>
                      <a:pt x="177" y="22"/>
                    </a:lnTo>
                    <a:lnTo>
                      <a:pt x="128" y="16"/>
                    </a:lnTo>
                    <a:lnTo>
                      <a:pt x="128" y="10"/>
                    </a:lnTo>
                    <a:lnTo>
                      <a:pt x="82" y="12"/>
                    </a:lnTo>
                    <a:lnTo>
                      <a:pt x="43" y="0"/>
                    </a:lnTo>
                    <a:lnTo>
                      <a:pt x="17" y="8"/>
                    </a:lnTo>
                    <a:lnTo>
                      <a:pt x="0" y="6"/>
                    </a:lnTo>
                    <a:lnTo>
                      <a:pt x="0" y="16"/>
                    </a:lnTo>
                    <a:lnTo>
                      <a:pt x="8" y="22"/>
                    </a:lnTo>
                    <a:lnTo>
                      <a:pt x="41" y="93"/>
                    </a:lnTo>
                    <a:lnTo>
                      <a:pt x="51" y="93"/>
                    </a:lnTo>
                    <a:lnTo>
                      <a:pt x="51" y="104"/>
                    </a:lnTo>
                    <a:lnTo>
                      <a:pt x="47" y="124"/>
                    </a:lnTo>
                    <a:lnTo>
                      <a:pt x="71" y="217"/>
                    </a:lnTo>
                    <a:lnTo>
                      <a:pt x="82" y="213"/>
                    </a:lnTo>
                    <a:lnTo>
                      <a:pt x="92" y="213"/>
                    </a:lnTo>
                    <a:lnTo>
                      <a:pt x="120" y="229"/>
                    </a:lnTo>
                    <a:lnTo>
                      <a:pt x="142" y="217"/>
                    </a:lnTo>
                    <a:lnTo>
                      <a:pt x="142" y="175"/>
                    </a:lnTo>
                    <a:lnTo>
                      <a:pt x="149" y="150"/>
                    </a:lnTo>
                    <a:lnTo>
                      <a:pt x="145" y="122"/>
                    </a:lnTo>
                    <a:lnTo>
                      <a:pt x="163" y="100"/>
                    </a:lnTo>
                    <a:lnTo>
                      <a:pt x="171" y="45"/>
                    </a:lnTo>
                    <a:lnTo>
                      <a:pt x="165" y="31"/>
                    </a:lnTo>
                    <a:lnTo>
                      <a:pt x="187" y="33"/>
                    </a:lnTo>
                    <a:lnTo>
                      <a:pt x="216" y="22"/>
                    </a:lnTo>
                    <a:lnTo>
                      <a:pt x="226" y="28"/>
                    </a:lnTo>
                    <a:lnTo>
                      <a:pt x="248"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5" name="Freeform 14">
                <a:extLst>
                  <a:ext uri="{FF2B5EF4-FFF2-40B4-BE49-F238E27FC236}">
                    <a16:creationId xmlns:a16="http://schemas.microsoft.com/office/drawing/2014/main" id="{8198ECC1-8066-4BDA-B9D7-B2A39BA0108A}"/>
                  </a:ext>
                </a:extLst>
              </p:cNvPr>
              <p:cNvSpPr>
                <a:spLocks/>
              </p:cNvSpPr>
              <p:nvPr/>
            </p:nvSpPr>
            <p:spPr bwMode="auto">
              <a:xfrm>
                <a:off x="4703582" y="3682091"/>
                <a:ext cx="235460" cy="252017"/>
              </a:xfrm>
              <a:custGeom>
                <a:avLst/>
                <a:gdLst>
                  <a:gd name="T0" fmla="*/ 173037 w 170"/>
                  <a:gd name="T1" fmla="*/ 23813 h 171"/>
                  <a:gd name="T2" fmla="*/ 163512 w 170"/>
                  <a:gd name="T3" fmla="*/ 0 h 171"/>
                  <a:gd name="T4" fmla="*/ 128588 w 170"/>
                  <a:gd name="T5" fmla="*/ 15875 h 171"/>
                  <a:gd name="T6" fmla="*/ 112713 w 170"/>
                  <a:gd name="T7" fmla="*/ 6350 h 171"/>
                  <a:gd name="T8" fmla="*/ 66675 w 170"/>
                  <a:gd name="T9" fmla="*/ 23813 h 171"/>
                  <a:gd name="T10" fmla="*/ 31750 w 170"/>
                  <a:gd name="T11" fmla="*/ 20638 h 171"/>
                  <a:gd name="T12" fmla="*/ 41275 w 170"/>
                  <a:gd name="T13" fmla="*/ 42863 h 171"/>
                  <a:gd name="T14" fmla="*/ 28575 w 170"/>
                  <a:gd name="T15" fmla="*/ 130175 h 171"/>
                  <a:gd name="T16" fmla="*/ 0 w 170"/>
                  <a:gd name="T17" fmla="*/ 165100 h 171"/>
                  <a:gd name="T18" fmla="*/ 6350 w 170"/>
                  <a:gd name="T19" fmla="*/ 209550 h 171"/>
                  <a:gd name="T20" fmla="*/ 22225 w 170"/>
                  <a:gd name="T21" fmla="*/ 215900 h 171"/>
                  <a:gd name="T22" fmla="*/ 25400 w 170"/>
                  <a:gd name="T23" fmla="*/ 271463 h 171"/>
                  <a:gd name="T24" fmla="*/ 57150 w 170"/>
                  <a:gd name="T25" fmla="*/ 271463 h 171"/>
                  <a:gd name="T26" fmla="*/ 92075 w 170"/>
                  <a:gd name="T27" fmla="*/ 222250 h 171"/>
                  <a:gd name="T28" fmla="*/ 157162 w 170"/>
                  <a:gd name="T29" fmla="*/ 236538 h 171"/>
                  <a:gd name="T30" fmla="*/ 173037 w 170"/>
                  <a:gd name="T31" fmla="*/ 196850 h 171"/>
                  <a:gd name="T32" fmla="*/ 269875 w 170"/>
                  <a:gd name="T33" fmla="*/ 130175 h 171"/>
                  <a:gd name="T34" fmla="*/ 254000 w 170"/>
                  <a:gd name="T35" fmla="*/ 122238 h 171"/>
                  <a:gd name="T36" fmla="*/ 209550 w 170"/>
                  <a:gd name="T37" fmla="*/ 61913 h 171"/>
                  <a:gd name="T38" fmla="*/ 173037 w 170"/>
                  <a:gd name="T39" fmla="*/ 23813 h 171"/>
                  <a:gd name="T40" fmla="*/ 173037 w 170"/>
                  <a:gd name="T41" fmla="*/ 23813 h 17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0"/>
                  <a:gd name="T64" fmla="*/ 0 h 171"/>
                  <a:gd name="T65" fmla="*/ 170 w 170"/>
                  <a:gd name="T66" fmla="*/ 171 h 17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0" h="171">
                    <a:moveTo>
                      <a:pt x="109" y="15"/>
                    </a:moveTo>
                    <a:lnTo>
                      <a:pt x="103" y="0"/>
                    </a:lnTo>
                    <a:lnTo>
                      <a:pt x="81" y="10"/>
                    </a:lnTo>
                    <a:lnTo>
                      <a:pt x="71" y="4"/>
                    </a:lnTo>
                    <a:lnTo>
                      <a:pt x="42" y="15"/>
                    </a:lnTo>
                    <a:lnTo>
                      <a:pt x="20" y="13"/>
                    </a:lnTo>
                    <a:lnTo>
                      <a:pt x="26" y="27"/>
                    </a:lnTo>
                    <a:lnTo>
                      <a:pt x="18" y="82"/>
                    </a:lnTo>
                    <a:lnTo>
                      <a:pt x="0" y="104"/>
                    </a:lnTo>
                    <a:lnTo>
                      <a:pt x="4" y="132"/>
                    </a:lnTo>
                    <a:lnTo>
                      <a:pt x="14" y="136"/>
                    </a:lnTo>
                    <a:lnTo>
                      <a:pt x="16" y="171"/>
                    </a:lnTo>
                    <a:lnTo>
                      <a:pt x="36" y="171"/>
                    </a:lnTo>
                    <a:lnTo>
                      <a:pt x="58" y="140"/>
                    </a:lnTo>
                    <a:lnTo>
                      <a:pt x="99" y="149"/>
                    </a:lnTo>
                    <a:lnTo>
                      <a:pt x="109" y="124"/>
                    </a:lnTo>
                    <a:lnTo>
                      <a:pt x="170" y="82"/>
                    </a:lnTo>
                    <a:lnTo>
                      <a:pt x="160" y="77"/>
                    </a:lnTo>
                    <a:lnTo>
                      <a:pt x="132" y="39"/>
                    </a:lnTo>
                    <a:lnTo>
                      <a:pt x="109" y="1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6" name="Freeform 15">
                <a:extLst>
                  <a:ext uri="{FF2B5EF4-FFF2-40B4-BE49-F238E27FC236}">
                    <a16:creationId xmlns:a16="http://schemas.microsoft.com/office/drawing/2014/main" id="{FB754E63-67B2-4C6D-A84C-56162C640E7A}"/>
                  </a:ext>
                </a:extLst>
              </p:cNvPr>
              <p:cNvSpPr>
                <a:spLocks/>
              </p:cNvSpPr>
              <p:nvPr/>
            </p:nvSpPr>
            <p:spPr bwMode="auto">
              <a:xfrm>
                <a:off x="4969513" y="3876630"/>
                <a:ext cx="23545" cy="51582"/>
              </a:xfrm>
              <a:custGeom>
                <a:avLst/>
                <a:gdLst>
                  <a:gd name="T0" fmla="*/ 26987 w 17"/>
                  <a:gd name="T1" fmla="*/ 0 h 35"/>
                  <a:gd name="T2" fmla="*/ 3175 w 17"/>
                  <a:gd name="T3" fmla="*/ 19050 h 35"/>
                  <a:gd name="T4" fmla="*/ 0 w 17"/>
                  <a:gd name="T5" fmla="*/ 55563 h 35"/>
                  <a:gd name="T6" fmla="*/ 11112 w 17"/>
                  <a:gd name="T7" fmla="*/ 55563 h 35"/>
                  <a:gd name="T8" fmla="*/ 26987 w 17"/>
                  <a:gd name="T9" fmla="*/ 46038 h 35"/>
                  <a:gd name="T10" fmla="*/ 26987 w 17"/>
                  <a:gd name="T11" fmla="*/ 0 h 35"/>
                  <a:gd name="T12" fmla="*/ 26987 w 17"/>
                  <a:gd name="T13" fmla="*/ 0 h 35"/>
                  <a:gd name="T14" fmla="*/ 0 60000 65536"/>
                  <a:gd name="T15" fmla="*/ 0 60000 65536"/>
                  <a:gd name="T16" fmla="*/ 0 60000 65536"/>
                  <a:gd name="T17" fmla="*/ 0 60000 65536"/>
                  <a:gd name="T18" fmla="*/ 0 60000 65536"/>
                  <a:gd name="T19" fmla="*/ 0 60000 65536"/>
                  <a:gd name="T20" fmla="*/ 0 60000 65536"/>
                  <a:gd name="T21" fmla="*/ 0 w 17"/>
                  <a:gd name="T22" fmla="*/ 0 h 35"/>
                  <a:gd name="T23" fmla="*/ 17 w 17"/>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35">
                    <a:moveTo>
                      <a:pt x="17" y="0"/>
                    </a:moveTo>
                    <a:lnTo>
                      <a:pt x="2" y="12"/>
                    </a:lnTo>
                    <a:lnTo>
                      <a:pt x="0" y="35"/>
                    </a:lnTo>
                    <a:lnTo>
                      <a:pt x="7" y="35"/>
                    </a:lnTo>
                    <a:lnTo>
                      <a:pt x="17" y="29"/>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7" name="Freeform 16">
                <a:extLst>
                  <a:ext uri="{FF2B5EF4-FFF2-40B4-BE49-F238E27FC236}">
                    <a16:creationId xmlns:a16="http://schemas.microsoft.com/office/drawing/2014/main" id="{07CA53B9-77E1-4FCB-8CF0-6774BED09BF1}"/>
                  </a:ext>
                </a:extLst>
              </p:cNvPr>
              <p:cNvSpPr>
                <a:spLocks/>
              </p:cNvSpPr>
              <p:nvPr/>
            </p:nvSpPr>
            <p:spPr bwMode="auto">
              <a:xfrm>
                <a:off x="4963973" y="3469867"/>
                <a:ext cx="253466" cy="449504"/>
              </a:xfrm>
              <a:custGeom>
                <a:avLst/>
                <a:gdLst>
                  <a:gd name="T0" fmla="*/ 84137 w 183"/>
                  <a:gd name="T1" fmla="*/ 112713 h 305"/>
                  <a:gd name="T2" fmla="*/ 0 w 183"/>
                  <a:gd name="T3" fmla="*/ 125413 h 305"/>
                  <a:gd name="T4" fmla="*/ 3175 w 183"/>
                  <a:gd name="T5" fmla="*/ 155575 h 305"/>
                  <a:gd name="T6" fmla="*/ 77787 w 183"/>
                  <a:gd name="T7" fmla="*/ 187325 h 305"/>
                  <a:gd name="T8" fmla="*/ 84137 w 183"/>
                  <a:gd name="T9" fmla="*/ 265113 h 305"/>
                  <a:gd name="T10" fmla="*/ 58737 w 183"/>
                  <a:gd name="T11" fmla="*/ 312738 h 305"/>
                  <a:gd name="T12" fmla="*/ 52387 w 183"/>
                  <a:gd name="T13" fmla="*/ 338138 h 305"/>
                  <a:gd name="T14" fmla="*/ 23812 w 183"/>
                  <a:gd name="T15" fmla="*/ 358775 h 305"/>
                  <a:gd name="T16" fmla="*/ 33337 w 183"/>
                  <a:gd name="T17" fmla="*/ 438150 h 305"/>
                  <a:gd name="T18" fmla="*/ 33337 w 183"/>
                  <a:gd name="T19" fmla="*/ 484188 h 305"/>
                  <a:gd name="T20" fmla="*/ 52387 w 183"/>
                  <a:gd name="T21" fmla="*/ 477838 h 305"/>
                  <a:gd name="T22" fmla="*/ 130175 w 183"/>
                  <a:gd name="T23" fmla="*/ 403225 h 305"/>
                  <a:gd name="T24" fmla="*/ 130175 w 183"/>
                  <a:gd name="T25" fmla="*/ 331788 h 305"/>
                  <a:gd name="T26" fmla="*/ 109537 w 183"/>
                  <a:gd name="T27" fmla="*/ 303213 h 305"/>
                  <a:gd name="T28" fmla="*/ 123825 w 183"/>
                  <a:gd name="T29" fmla="*/ 280988 h 305"/>
                  <a:gd name="T30" fmla="*/ 165100 w 183"/>
                  <a:gd name="T31" fmla="*/ 244475 h 305"/>
                  <a:gd name="T32" fmla="*/ 180975 w 183"/>
                  <a:gd name="T33" fmla="*/ 215900 h 305"/>
                  <a:gd name="T34" fmla="*/ 236537 w 183"/>
                  <a:gd name="T35" fmla="*/ 200025 h 305"/>
                  <a:gd name="T36" fmla="*/ 271462 w 183"/>
                  <a:gd name="T37" fmla="*/ 165100 h 305"/>
                  <a:gd name="T38" fmla="*/ 290512 w 183"/>
                  <a:gd name="T39" fmla="*/ 103188 h 305"/>
                  <a:gd name="T40" fmla="*/ 290512 w 183"/>
                  <a:gd name="T41" fmla="*/ 0 h 305"/>
                  <a:gd name="T42" fmla="*/ 209550 w 183"/>
                  <a:gd name="T43" fmla="*/ 36513 h 305"/>
                  <a:gd name="T44" fmla="*/ 136525 w 183"/>
                  <a:gd name="T45" fmla="*/ 28575 h 305"/>
                  <a:gd name="T46" fmla="*/ 123825 w 183"/>
                  <a:gd name="T47" fmla="*/ 65088 h 305"/>
                  <a:gd name="T48" fmla="*/ 152400 w 183"/>
                  <a:gd name="T49" fmla="*/ 106363 h 305"/>
                  <a:gd name="T50" fmla="*/ 165100 w 183"/>
                  <a:gd name="T51" fmla="*/ 152400 h 305"/>
                  <a:gd name="T52" fmla="*/ 158750 w 183"/>
                  <a:gd name="T53" fmla="*/ 174625 h 305"/>
                  <a:gd name="T54" fmla="*/ 142875 w 183"/>
                  <a:gd name="T55" fmla="*/ 177800 h 305"/>
                  <a:gd name="T56" fmla="*/ 142875 w 183"/>
                  <a:gd name="T57" fmla="*/ 200025 h 305"/>
                  <a:gd name="T58" fmla="*/ 112712 w 183"/>
                  <a:gd name="T59" fmla="*/ 180975 h 305"/>
                  <a:gd name="T60" fmla="*/ 112712 w 183"/>
                  <a:gd name="T61" fmla="*/ 168275 h 305"/>
                  <a:gd name="T62" fmla="*/ 127000 w 183"/>
                  <a:gd name="T63" fmla="*/ 138113 h 305"/>
                  <a:gd name="T64" fmla="*/ 84137 w 183"/>
                  <a:gd name="T65" fmla="*/ 112713 h 305"/>
                  <a:gd name="T66" fmla="*/ 84137 w 183"/>
                  <a:gd name="T67" fmla="*/ 112713 h 3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305"/>
                  <a:gd name="T104" fmla="*/ 183 w 183"/>
                  <a:gd name="T105" fmla="*/ 305 h 30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305">
                    <a:moveTo>
                      <a:pt x="53" y="71"/>
                    </a:moveTo>
                    <a:lnTo>
                      <a:pt x="0" y="79"/>
                    </a:lnTo>
                    <a:lnTo>
                      <a:pt x="2" y="98"/>
                    </a:lnTo>
                    <a:lnTo>
                      <a:pt x="49" y="118"/>
                    </a:lnTo>
                    <a:lnTo>
                      <a:pt x="53" y="167"/>
                    </a:lnTo>
                    <a:lnTo>
                      <a:pt x="37" y="197"/>
                    </a:lnTo>
                    <a:lnTo>
                      <a:pt x="33" y="213"/>
                    </a:lnTo>
                    <a:lnTo>
                      <a:pt x="15" y="226"/>
                    </a:lnTo>
                    <a:lnTo>
                      <a:pt x="21" y="276"/>
                    </a:lnTo>
                    <a:lnTo>
                      <a:pt x="21" y="305"/>
                    </a:lnTo>
                    <a:lnTo>
                      <a:pt x="33" y="301"/>
                    </a:lnTo>
                    <a:lnTo>
                      <a:pt x="82" y="254"/>
                    </a:lnTo>
                    <a:lnTo>
                      <a:pt x="82" y="209"/>
                    </a:lnTo>
                    <a:lnTo>
                      <a:pt x="69" y="191"/>
                    </a:lnTo>
                    <a:lnTo>
                      <a:pt x="78" y="177"/>
                    </a:lnTo>
                    <a:lnTo>
                      <a:pt x="104" y="154"/>
                    </a:lnTo>
                    <a:lnTo>
                      <a:pt x="114" y="136"/>
                    </a:lnTo>
                    <a:lnTo>
                      <a:pt x="149" y="126"/>
                    </a:lnTo>
                    <a:lnTo>
                      <a:pt x="171" y="104"/>
                    </a:lnTo>
                    <a:lnTo>
                      <a:pt x="183" y="65"/>
                    </a:lnTo>
                    <a:lnTo>
                      <a:pt x="183" y="0"/>
                    </a:lnTo>
                    <a:lnTo>
                      <a:pt x="132" y="23"/>
                    </a:lnTo>
                    <a:lnTo>
                      <a:pt x="86" y="18"/>
                    </a:lnTo>
                    <a:lnTo>
                      <a:pt x="78" y="41"/>
                    </a:lnTo>
                    <a:lnTo>
                      <a:pt x="96" y="67"/>
                    </a:lnTo>
                    <a:lnTo>
                      <a:pt x="104" y="96"/>
                    </a:lnTo>
                    <a:lnTo>
                      <a:pt x="100" y="110"/>
                    </a:lnTo>
                    <a:lnTo>
                      <a:pt x="90" y="112"/>
                    </a:lnTo>
                    <a:lnTo>
                      <a:pt x="90" y="126"/>
                    </a:lnTo>
                    <a:lnTo>
                      <a:pt x="71" y="114"/>
                    </a:lnTo>
                    <a:lnTo>
                      <a:pt x="71" y="106"/>
                    </a:lnTo>
                    <a:lnTo>
                      <a:pt x="80" y="87"/>
                    </a:lnTo>
                    <a:lnTo>
                      <a:pt x="53" y="7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8" name="Freeform 17">
                <a:extLst>
                  <a:ext uri="{FF2B5EF4-FFF2-40B4-BE49-F238E27FC236}">
                    <a16:creationId xmlns:a16="http://schemas.microsoft.com/office/drawing/2014/main" id="{F8805F8F-D32B-41CF-B9E1-4F7AD8F1E204}"/>
                  </a:ext>
                </a:extLst>
              </p:cNvPr>
              <p:cNvSpPr>
                <a:spLocks/>
              </p:cNvSpPr>
              <p:nvPr/>
            </p:nvSpPr>
            <p:spPr bwMode="auto">
              <a:xfrm>
                <a:off x="5265918" y="3506712"/>
                <a:ext cx="191139" cy="387603"/>
              </a:xfrm>
              <a:custGeom>
                <a:avLst/>
                <a:gdLst>
                  <a:gd name="T0" fmla="*/ 182562 w 138"/>
                  <a:gd name="T1" fmla="*/ 0 h 263"/>
                  <a:gd name="T2" fmla="*/ 147637 w 138"/>
                  <a:gd name="T3" fmla="*/ 88900 h 263"/>
                  <a:gd name="T4" fmla="*/ 112712 w 138"/>
                  <a:gd name="T5" fmla="*/ 88900 h 263"/>
                  <a:gd name="T6" fmla="*/ 112712 w 138"/>
                  <a:gd name="T7" fmla="*/ 106362 h 263"/>
                  <a:gd name="T8" fmla="*/ 44450 w 138"/>
                  <a:gd name="T9" fmla="*/ 134937 h 263"/>
                  <a:gd name="T10" fmla="*/ 25400 w 138"/>
                  <a:gd name="T11" fmla="*/ 182562 h 263"/>
                  <a:gd name="T12" fmla="*/ 41275 w 138"/>
                  <a:gd name="T13" fmla="*/ 231775 h 263"/>
                  <a:gd name="T14" fmla="*/ 0 w 138"/>
                  <a:gd name="T15" fmla="*/ 298450 h 263"/>
                  <a:gd name="T16" fmla="*/ 0 w 138"/>
                  <a:gd name="T17" fmla="*/ 319087 h 263"/>
                  <a:gd name="T18" fmla="*/ 0 w 138"/>
                  <a:gd name="T19" fmla="*/ 322262 h 263"/>
                  <a:gd name="T20" fmla="*/ 0 w 138"/>
                  <a:gd name="T21" fmla="*/ 325437 h 263"/>
                  <a:gd name="T22" fmla="*/ 0 w 138"/>
                  <a:gd name="T23" fmla="*/ 325437 h 263"/>
                  <a:gd name="T24" fmla="*/ 3175 w 138"/>
                  <a:gd name="T25" fmla="*/ 334962 h 263"/>
                  <a:gd name="T26" fmla="*/ 3175 w 138"/>
                  <a:gd name="T27" fmla="*/ 350837 h 263"/>
                  <a:gd name="T28" fmla="*/ 3175 w 138"/>
                  <a:gd name="T29" fmla="*/ 363537 h 263"/>
                  <a:gd name="T30" fmla="*/ 3175 w 138"/>
                  <a:gd name="T31" fmla="*/ 373062 h 263"/>
                  <a:gd name="T32" fmla="*/ 6350 w 138"/>
                  <a:gd name="T33" fmla="*/ 382587 h 263"/>
                  <a:gd name="T34" fmla="*/ 6350 w 138"/>
                  <a:gd name="T35" fmla="*/ 385762 h 263"/>
                  <a:gd name="T36" fmla="*/ 6350 w 138"/>
                  <a:gd name="T37" fmla="*/ 388937 h 263"/>
                  <a:gd name="T38" fmla="*/ 6350 w 138"/>
                  <a:gd name="T39" fmla="*/ 388937 h 263"/>
                  <a:gd name="T40" fmla="*/ 6350 w 138"/>
                  <a:gd name="T41" fmla="*/ 392112 h 263"/>
                  <a:gd name="T42" fmla="*/ 9525 w 138"/>
                  <a:gd name="T43" fmla="*/ 395287 h 263"/>
                  <a:gd name="T44" fmla="*/ 9525 w 138"/>
                  <a:gd name="T45" fmla="*/ 398462 h 263"/>
                  <a:gd name="T46" fmla="*/ 15875 w 138"/>
                  <a:gd name="T47" fmla="*/ 401637 h 263"/>
                  <a:gd name="T48" fmla="*/ 19050 w 138"/>
                  <a:gd name="T49" fmla="*/ 404812 h 263"/>
                  <a:gd name="T50" fmla="*/ 25400 w 138"/>
                  <a:gd name="T51" fmla="*/ 407987 h 263"/>
                  <a:gd name="T52" fmla="*/ 44450 w 138"/>
                  <a:gd name="T53" fmla="*/ 417512 h 263"/>
                  <a:gd name="T54" fmla="*/ 93662 w 138"/>
                  <a:gd name="T55" fmla="*/ 398462 h 263"/>
                  <a:gd name="T56" fmla="*/ 112712 w 138"/>
                  <a:gd name="T57" fmla="*/ 331787 h 263"/>
                  <a:gd name="T58" fmla="*/ 153987 w 138"/>
                  <a:gd name="T59" fmla="*/ 266700 h 263"/>
                  <a:gd name="T60" fmla="*/ 153987 w 138"/>
                  <a:gd name="T61" fmla="*/ 247650 h 263"/>
                  <a:gd name="T62" fmla="*/ 219075 w 138"/>
                  <a:gd name="T63" fmla="*/ 92075 h 263"/>
                  <a:gd name="T64" fmla="*/ 209550 w 138"/>
                  <a:gd name="T65" fmla="*/ 63500 h 263"/>
                  <a:gd name="T66" fmla="*/ 219075 w 138"/>
                  <a:gd name="T67" fmla="*/ 41275 h 263"/>
                  <a:gd name="T68" fmla="*/ 182562 w 138"/>
                  <a:gd name="T69" fmla="*/ 0 h 263"/>
                  <a:gd name="T70" fmla="*/ 182562 w 138"/>
                  <a:gd name="T71" fmla="*/ 0 h 2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
                  <a:gd name="T109" fmla="*/ 0 h 263"/>
                  <a:gd name="T110" fmla="*/ 138 w 138"/>
                  <a:gd name="T111" fmla="*/ 263 h 2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 h="263">
                    <a:moveTo>
                      <a:pt x="115" y="0"/>
                    </a:moveTo>
                    <a:lnTo>
                      <a:pt x="93" y="56"/>
                    </a:lnTo>
                    <a:lnTo>
                      <a:pt x="71" y="56"/>
                    </a:lnTo>
                    <a:lnTo>
                      <a:pt x="71" y="67"/>
                    </a:lnTo>
                    <a:lnTo>
                      <a:pt x="28" y="85"/>
                    </a:lnTo>
                    <a:lnTo>
                      <a:pt x="16" y="115"/>
                    </a:lnTo>
                    <a:lnTo>
                      <a:pt x="26" y="146"/>
                    </a:lnTo>
                    <a:lnTo>
                      <a:pt x="0" y="188"/>
                    </a:lnTo>
                    <a:lnTo>
                      <a:pt x="0" y="201"/>
                    </a:lnTo>
                    <a:lnTo>
                      <a:pt x="0" y="203"/>
                    </a:lnTo>
                    <a:lnTo>
                      <a:pt x="0" y="205"/>
                    </a:lnTo>
                    <a:lnTo>
                      <a:pt x="2" y="211"/>
                    </a:lnTo>
                    <a:lnTo>
                      <a:pt x="2" y="221"/>
                    </a:lnTo>
                    <a:lnTo>
                      <a:pt x="2" y="229"/>
                    </a:lnTo>
                    <a:lnTo>
                      <a:pt x="2" y="235"/>
                    </a:lnTo>
                    <a:lnTo>
                      <a:pt x="4" y="241"/>
                    </a:lnTo>
                    <a:lnTo>
                      <a:pt x="4" y="243"/>
                    </a:lnTo>
                    <a:lnTo>
                      <a:pt x="4" y="245"/>
                    </a:lnTo>
                    <a:lnTo>
                      <a:pt x="4" y="247"/>
                    </a:lnTo>
                    <a:lnTo>
                      <a:pt x="6" y="249"/>
                    </a:lnTo>
                    <a:lnTo>
                      <a:pt x="6" y="251"/>
                    </a:lnTo>
                    <a:lnTo>
                      <a:pt x="10" y="253"/>
                    </a:lnTo>
                    <a:lnTo>
                      <a:pt x="12" y="255"/>
                    </a:lnTo>
                    <a:lnTo>
                      <a:pt x="16" y="257"/>
                    </a:lnTo>
                    <a:lnTo>
                      <a:pt x="28" y="263"/>
                    </a:lnTo>
                    <a:lnTo>
                      <a:pt x="59" y="251"/>
                    </a:lnTo>
                    <a:lnTo>
                      <a:pt x="71" y="209"/>
                    </a:lnTo>
                    <a:lnTo>
                      <a:pt x="97" y="168"/>
                    </a:lnTo>
                    <a:lnTo>
                      <a:pt x="97" y="156"/>
                    </a:lnTo>
                    <a:lnTo>
                      <a:pt x="138" y="58"/>
                    </a:lnTo>
                    <a:lnTo>
                      <a:pt x="132" y="40"/>
                    </a:lnTo>
                    <a:lnTo>
                      <a:pt x="138" y="26"/>
                    </a:lnTo>
                    <a:lnTo>
                      <a:pt x="11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99" name="Freeform 18">
                <a:extLst>
                  <a:ext uri="{FF2B5EF4-FFF2-40B4-BE49-F238E27FC236}">
                    <a16:creationId xmlns:a16="http://schemas.microsoft.com/office/drawing/2014/main" id="{C65732D5-B150-4B4D-A4A8-792DBD5102F5}"/>
                  </a:ext>
                </a:extLst>
              </p:cNvPr>
              <p:cNvSpPr>
                <a:spLocks/>
              </p:cNvSpPr>
              <p:nvPr/>
            </p:nvSpPr>
            <p:spPr bwMode="auto">
              <a:xfrm>
                <a:off x="5037381" y="3446286"/>
                <a:ext cx="70638" cy="209277"/>
              </a:xfrm>
              <a:custGeom>
                <a:avLst/>
                <a:gdLst>
                  <a:gd name="T0" fmla="*/ 42863 w 51"/>
                  <a:gd name="T1" fmla="*/ 0 h 142"/>
                  <a:gd name="T2" fmla="*/ 19050 w 51"/>
                  <a:gd name="T3" fmla="*/ 9525 h 142"/>
                  <a:gd name="T4" fmla="*/ 19050 w 51"/>
                  <a:gd name="T5" fmla="*/ 31750 h 142"/>
                  <a:gd name="T6" fmla="*/ 0 w 51"/>
                  <a:gd name="T7" fmla="*/ 61912 h 142"/>
                  <a:gd name="T8" fmla="*/ 0 w 51"/>
                  <a:gd name="T9" fmla="*/ 138112 h 142"/>
                  <a:gd name="T10" fmla="*/ 42863 w 51"/>
                  <a:gd name="T11" fmla="*/ 163512 h 142"/>
                  <a:gd name="T12" fmla="*/ 28575 w 51"/>
                  <a:gd name="T13" fmla="*/ 193675 h 142"/>
                  <a:gd name="T14" fmla="*/ 28575 w 51"/>
                  <a:gd name="T15" fmla="*/ 206375 h 142"/>
                  <a:gd name="T16" fmla="*/ 58738 w 51"/>
                  <a:gd name="T17" fmla="*/ 225425 h 142"/>
                  <a:gd name="T18" fmla="*/ 58738 w 51"/>
                  <a:gd name="T19" fmla="*/ 203200 h 142"/>
                  <a:gd name="T20" fmla="*/ 74613 w 51"/>
                  <a:gd name="T21" fmla="*/ 200025 h 142"/>
                  <a:gd name="T22" fmla="*/ 80963 w 51"/>
                  <a:gd name="T23" fmla="*/ 177800 h 142"/>
                  <a:gd name="T24" fmla="*/ 68263 w 51"/>
                  <a:gd name="T25" fmla="*/ 131762 h 142"/>
                  <a:gd name="T26" fmla="*/ 39688 w 51"/>
                  <a:gd name="T27" fmla="*/ 90487 h 142"/>
                  <a:gd name="T28" fmla="*/ 52388 w 51"/>
                  <a:gd name="T29" fmla="*/ 53975 h 142"/>
                  <a:gd name="T30" fmla="*/ 42863 w 51"/>
                  <a:gd name="T31" fmla="*/ 0 h 142"/>
                  <a:gd name="T32" fmla="*/ 42863 w 51"/>
                  <a:gd name="T33" fmla="*/ 0 h 1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142"/>
                  <a:gd name="T53" fmla="*/ 51 w 51"/>
                  <a:gd name="T54" fmla="*/ 142 h 1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142">
                    <a:moveTo>
                      <a:pt x="27" y="0"/>
                    </a:moveTo>
                    <a:lnTo>
                      <a:pt x="12" y="6"/>
                    </a:lnTo>
                    <a:lnTo>
                      <a:pt x="12" y="20"/>
                    </a:lnTo>
                    <a:lnTo>
                      <a:pt x="0" y="39"/>
                    </a:lnTo>
                    <a:lnTo>
                      <a:pt x="0" y="87"/>
                    </a:lnTo>
                    <a:lnTo>
                      <a:pt x="27" y="103"/>
                    </a:lnTo>
                    <a:lnTo>
                      <a:pt x="18" y="122"/>
                    </a:lnTo>
                    <a:lnTo>
                      <a:pt x="18" y="130"/>
                    </a:lnTo>
                    <a:lnTo>
                      <a:pt x="37" y="142"/>
                    </a:lnTo>
                    <a:lnTo>
                      <a:pt x="37" y="128"/>
                    </a:lnTo>
                    <a:lnTo>
                      <a:pt x="47" y="126"/>
                    </a:lnTo>
                    <a:lnTo>
                      <a:pt x="51" y="112"/>
                    </a:lnTo>
                    <a:lnTo>
                      <a:pt x="43" y="83"/>
                    </a:lnTo>
                    <a:lnTo>
                      <a:pt x="25" y="57"/>
                    </a:lnTo>
                    <a:lnTo>
                      <a:pt x="33" y="34"/>
                    </a:lnTo>
                    <a:lnTo>
                      <a:pt x="2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0" name="Freeform 19">
                <a:extLst>
                  <a:ext uri="{FF2B5EF4-FFF2-40B4-BE49-F238E27FC236}">
                    <a16:creationId xmlns:a16="http://schemas.microsoft.com/office/drawing/2014/main" id="{B4C9CCF2-5278-43F8-BDAD-EDF964702696}"/>
                  </a:ext>
                </a:extLst>
              </p:cNvPr>
              <p:cNvSpPr>
                <a:spLocks/>
              </p:cNvSpPr>
              <p:nvPr/>
            </p:nvSpPr>
            <p:spPr bwMode="auto">
              <a:xfrm>
                <a:off x="4764525" y="3413863"/>
                <a:ext cx="289478" cy="268228"/>
              </a:xfrm>
              <a:custGeom>
                <a:avLst/>
                <a:gdLst>
                  <a:gd name="T0" fmla="*/ 315912 w 209"/>
                  <a:gd name="T1" fmla="*/ 28575 h 182"/>
                  <a:gd name="T2" fmla="*/ 249237 w 209"/>
                  <a:gd name="T3" fmla="*/ 0 h 182"/>
                  <a:gd name="T4" fmla="*/ 206375 w 209"/>
                  <a:gd name="T5" fmla="*/ 0 h 182"/>
                  <a:gd name="T6" fmla="*/ 165100 w 209"/>
                  <a:gd name="T7" fmla="*/ 96837 h 182"/>
                  <a:gd name="T8" fmla="*/ 122237 w 209"/>
                  <a:gd name="T9" fmla="*/ 109538 h 182"/>
                  <a:gd name="T10" fmla="*/ 90487 w 209"/>
                  <a:gd name="T11" fmla="*/ 85725 h 182"/>
                  <a:gd name="T12" fmla="*/ 61912 w 209"/>
                  <a:gd name="T13" fmla="*/ 82550 h 182"/>
                  <a:gd name="T14" fmla="*/ 52387 w 209"/>
                  <a:gd name="T15" fmla="*/ 138113 h 182"/>
                  <a:gd name="T16" fmla="*/ 0 w 209"/>
                  <a:gd name="T17" fmla="*/ 141288 h 182"/>
                  <a:gd name="T18" fmla="*/ 0 w 209"/>
                  <a:gd name="T19" fmla="*/ 247650 h 182"/>
                  <a:gd name="T20" fmla="*/ 28575 w 209"/>
                  <a:gd name="T21" fmla="*/ 276225 h 182"/>
                  <a:gd name="T22" fmla="*/ 87312 w 209"/>
                  <a:gd name="T23" fmla="*/ 269875 h 182"/>
                  <a:gd name="T24" fmla="*/ 93662 w 209"/>
                  <a:gd name="T25" fmla="*/ 288925 h 182"/>
                  <a:gd name="T26" fmla="*/ 128587 w 209"/>
                  <a:gd name="T27" fmla="*/ 285750 h 182"/>
                  <a:gd name="T28" fmla="*/ 152400 w 209"/>
                  <a:gd name="T29" fmla="*/ 263525 h 182"/>
                  <a:gd name="T30" fmla="*/ 203200 w 209"/>
                  <a:gd name="T31" fmla="*/ 228600 h 182"/>
                  <a:gd name="T32" fmla="*/ 231775 w 209"/>
                  <a:gd name="T33" fmla="*/ 215900 h 182"/>
                  <a:gd name="T34" fmla="*/ 228600 w 209"/>
                  <a:gd name="T35" fmla="*/ 185737 h 182"/>
                  <a:gd name="T36" fmla="*/ 312737 w 209"/>
                  <a:gd name="T37" fmla="*/ 173037 h 182"/>
                  <a:gd name="T38" fmla="*/ 312737 w 209"/>
                  <a:gd name="T39" fmla="*/ 96837 h 182"/>
                  <a:gd name="T40" fmla="*/ 331787 w 209"/>
                  <a:gd name="T41" fmla="*/ 66675 h 182"/>
                  <a:gd name="T42" fmla="*/ 331787 w 209"/>
                  <a:gd name="T43" fmla="*/ 44450 h 182"/>
                  <a:gd name="T44" fmla="*/ 315912 w 209"/>
                  <a:gd name="T45" fmla="*/ 28575 h 182"/>
                  <a:gd name="T46" fmla="*/ 315912 w 209"/>
                  <a:gd name="T47" fmla="*/ 28575 h 1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9"/>
                  <a:gd name="T73" fmla="*/ 0 h 182"/>
                  <a:gd name="T74" fmla="*/ 209 w 209"/>
                  <a:gd name="T75" fmla="*/ 182 h 1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9" h="182">
                    <a:moveTo>
                      <a:pt x="199" y="18"/>
                    </a:moveTo>
                    <a:lnTo>
                      <a:pt x="157" y="0"/>
                    </a:lnTo>
                    <a:lnTo>
                      <a:pt x="130" y="0"/>
                    </a:lnTo>
                    <a:lnTo>
                      <a:pt x="104" y="61"/>
                    </a:lnTo>
                    <a:lnTo>
                      <a:pt x="77" y="69"/>
                    </a:lnTo>
                    <a:lnTo>
                      <a:pt x="57" y="54"/>
                    </a:lnTo>
                    <a:lnTo>
                      <a:pt x="39" y="52"/>
                    </a:lnTo>
                    <a:lnTo>
                      <a:pt x="33" y="87"/>
                    </a:lnTo>
                    <a:lnTo>
                      <a:pt x="0" y="89"/>
                    </a:lnTo>
                    <a:lnTo>
                      <a:pt x="0" y="156"/>
                    </a:lnTo>
                    <a:lnTo>
                      <a:pt x="18" y="174"/>
                    </a:lnTo>
                    <a:lnTo>
                      <a:pt x="55" y="170"/>
                    </a:lnTo>
                    <a:lnTo>
                      <a:pt x="59" y="182"/>
                    </a:lnTo>
                    <a:lnTo>
                      <a:pt x="81" y="180"/>
                    </a:lnTo>
                    <a:lnTo>
                      <a:pt x="96" y="166"/>
                    </a:lnTo>
                    <a:lnTo>
                      <a:pt x="128" y="144"/>
                    </a:lnTo>
                    <a:lnTo>
                      <a:pt x="146" y="136"/>
                    </a:lnTo>
                    <a:lnTo>
                      <a:pt x="144" y="117"/>
                    </a:lnTo>
                    <a:lnTo>
                      <a:pt x="197" y="109"/>
                    </a:lnTo>
                    <a:lnTo>
                      <a:pt x="197" y="61"/>
                    </a:lnTo>
                    <a:lnTo>
                      <a:pt x="209" y="42"/>
                    </a:lnTo>
                    <a:lnTo>
                      <a:pt x="209" y="28"/>
                    </a:lnTo>
                    <a:lnTo>
                      <a:pt x="199"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1" name="Freeform 20">
                <a:extLst>
                  <a:ext uri="{FF2B5EF4-FFF2-40B4-BE49-F238E27FC236}">
                    <a16:creationId xmlns:a16="http://schemas.microsoft.com/office/drawing/2014/main" id="{E5A8431E-78B4-45D1-B84C-0894CBA48D48}"/>
                  </a:ext>
                </a:extLst>
              </p:cNvPr>
              <p:cNvSpPr>
                <a:spLocks/>
              </p:cNvSpPr>
              <p:nvPr/>
            </p:nvSpPr>
            <p:spPr bwMode="auto">
              <a:xfrm>
                <a:off x="4502747" y="3344597"/>
                <a:ext cx="315795" cy="343390"/>
              </a:xfrm>
              <a:custGeom>
                <a:avLst/>
                <a:gdLst>
                  <a:gd name="T0" fmla="*/ 174625 w 228"/>
                  <a:gd name="T1" fmla="*/ 61912 h 233"/>
                  <a:gd name="T2" fmla="*/ 155575 w 228"/>
                  <a:gd name="T3" fmla="*/ 0 h 233"/>
                  <a:gd name="T4" fmla="*/ 26988 w 228"/>
                  <a:gd name="T5" fmla="*/ 0 h 233"/>
                  <a:gd name="T6" fmla="*/ 55563 w 228"/>
                  <a:gd name="T7" fmla="*/ 80962 h 233"/>
                  <a:gd name="T8" fmla="*/ 46037 w 228"/>
                  <a:gd name="T9" fmla="*/ 103187 h 233"/>
                  <a:gd name="T10" fmla="*/ 68263 w 228"/>
                  <a:gd name="T11" fmla="*/ 157162 h 233"/>
                  <a:gd name="T12" fmla="*/ 61913 w 228"/>
                  <a:gd name="T13" fmla="*/ 193675 h 233"/>
                  <a:gd name="T14" fmla="*/ 15875 w 228"/>
                  <a:gd name="T15" fmla="*/ 241300 h 233"/>
                  <a:gd name="T16" fmla="*/ 15875 w 228"/>
                  <a:gd name="T17" fmla="*/ 293687 h 233"/>
                  <a:gd name="T18" fmla="*/ 0 w 228"/>
                  <a:gd name="T19" fmla="*/ 344487 h 233"/>
                  <a:gd name="T20" fmla="*/ 26988 w 228"/>
                  <a:gd name="T21" fmla="*/ 347662 h 233"/>
                  <a:gd name="T22" fmla="*/ 68263 w 228"/>
                  <a:gd name="T23" fmla="*/ 334962 h 233"/>
                  <a:gd name="T24" fmla="*/ 130175 w 228"/>
                  <a:gd name="T25" fmla="*/ 354012 h 233"/>
                  <a:gd name="T26" fmla="*/ 203200 w 228"/>
                  <a:gd name="T27" fmla="*/ 350837 h 233"/>
                  <a:gd name="T28" fmla="*/ 203200 w 228"/>
                  <a:gd name="T29" fmla="*/ 360362 h 233"/>
                  <a:gd name="T30" fmla="*/ 280988 w 228"/>
                  <a:gd name="T31" fmla="*/ 369887 h 233"/>
                  <a:gd name="T32" fmla="*/ 328613 w 228"/>
                  <a:gd name="T33" fmla="*/ 350837 h 233"/>
                  <a:gd name="T34" fmla="*/ 300038 w 228"/>
                  <a:gd name="T35" fmla="*/ 322262 h 233"/>
                  <a:gd name="T36" fmla="*/ 300038 w 228"/>
                  <a:gd name="T37" fmla="*/ 215900 h 233"/>
                  <a:gd name="T38" fmla="*/ 355600 w 228"/>
                  <a:gd name="T39" fmla="*/ 212725 h 233"/>
                  <a:gd name="T40" fmla="*/ 361950 w 228"/>
                  <a:gd name="T41" fmla="*/ 157162 h 233"/>
                  <a:gd name="T42" fmla="*/ 303213 w 228"/>
                  <a:gd name="T43" fmla="*/ 125412 h 233"/>
                  <a:gd name="T44" fmla="*/ 303213 w 228"/>
                  <a:gd name="T45" fmla="*/ 38100 h 233"/>
                  <a:gd name="T46" fmla="*/ 233363 w 228"/>
                  <a:gd name="T47" fmla="*/ 31750 h 233"/>
                  <a:gd name="T48" fmla="*/ 219075 w 228"/>
                  <a:gd name="T49" fmla="*/ 61912 h 233"/>
                  <a:gd name="T50" fmla="*/ 174625 w 228"/>
                  <a:gd name="T51" fmla="*/ 61912 h 233"/>
                  <a:gd name="T52" fmla="*/ 174625 w 228"/>
                  <a:gd name="T53" fmla="*/ 61912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8"/>
                  <a:gd name="T82" fmla="*/ 0 h 233"/>
                  <a:gd name="T83" fmla="*/ 228 w 228"/>
                  <a:gd name="T84" fmla="*/ 233 h 23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8" h="233">
                    <a:moveTo>
                      <a:pt x="110" y="39"/>
                    </a:moveTo>
                    <a:lnTo>
                      <a:pt x="98" y="0"/>
                    </a:lnTo>
                    <a:lnTo>
                      <a:pt x="17" y="0"/>
                    </a:lnTo>
                    <a:lnTo>
                      <a:pt x="35" y="51"/>
                    </a:lnTo>
                    <a:lnTo>
                      <a:pt x="29" y="65"/>
                    </a:lnTo>
                    <a:lnTo>
                      <a:pt x="43" y="99"/>
                    </a:lnTo>
                    <a:lnTo>
                      <a:pt x="39" y="122"/>
                    </a:lnTo>
                    <a:lnTo>
                      <a:pt x="10" y="152"/>
                    </a:lnTo>
                    <a:lnTo>
                      <a:pt x="10" y="185"/>
                    </a:lnTo>
                    <a:lnTo>
                      <a:pt x="0" y="217"/>
                    </a:lnTo>
                    <a:lnTo>
                      <a:pt x="17" y="219"/>
                    </a:lnTo>
                    <a:lnTo>
                      <a:pt x="43" y="211"/>
                    </a:lnTo>
                    <a:lnTo>
                      <a:pt x="82" y="223"/>
                    </a:lnTo>
                    <a:lnTo>
                      <a:pt x="128" y="221"/>
                    </a:lnTo>
                    <a:lnTo>
                      <a:pt x="128" y="227"/>
                    </a:lnTo>
                    <a:lnTo>
                      <a:pt x="177" y="233"/>
                    </a:lnTo>
                    <a:lnTo>
                      <a:pt x="207" y="221"/>
                    </a:lnTo>
                    <a:lnTo>
                      <a:pt x="189" y="203"/>
                    </a:lnTo>
                    <a:lnTo>
                      <a:pt x="189" y="136"/>
                    </a:lnTo>
                    <a:lnTo>
                      <a:pt x="224" y="134"/>
                    </a:lnTo>
                    <a:lnTo>
                      <a:pt x="228" y="99"/>
                    </a:lnTo>
                    <a:lnTo>
                      <a:pt x="191" y="79"/>
                    </a:lnTo>
                    <a:lnTo>
                      <a:pt x="191" y="24"/>
                    </a:lnTo>
                    <a:lnTo>
                      <a:pt x="147" y="20"/>
                    </a:lnTo>
                    <a:lnTo>
                      <a:pt x="138" y="39"/>
                    </a:lnTo>
                    <a:lnTo>
                      <a:pt x="110"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2" name="Freeform 21">
                <a:extLst>
                  <a:ext uri="{FF2B5EF4-FFF2-40B4-BE49-F238E27FC236}">
                    <a16:creationId xmlns:a16="http://schemas.microsoft.com/office/drawing/2014/main" id="{21D2458B-1266-4496-A4C2-614D9DD4C28C}"/>
                  </a:ext>
                </a:extLst>
              </p:cNvPr>
              <p:cNvSpPr>
                <a:spLocks/>
              </p:cNvSpPr>
              <p:nvPr/>
            </p:nvSpPr>
            <p:spPr bwMode="auto">
              <a:xfrm>
                <a:off x="4947353" y="3197218"/>
                <a:ext cx="270087" cy="306546"/>
              </a:xfrm>
              <a:custGeom>
                <a:avLst/>
                <a:gdLst>
                  <a:gd name="T0" fmla="*/ 284162 w 195"/>
                  <a:gd name="T1" fmla="*/ 109538 h 208"/>
                  <a:gd name="T2" fmla="*/ 231775 w 195"/>
                  <a:gd name="T3" fmla="*/ 61913 h 208"/>
                  <a:gd name="T4" fmla="*/ 142875 w 195"/>
                  <a:gd name="T5" fmla="*/ 0 h 208"/>
                  <a:gd name="T6" fmla="*/ 122237 w 195"/>
                  <a:gd name="T7" fmla="*/ 14288 h 208"/>
                  <a:gd name="T8" fmla="*/ 119062 w 195"/>
                  <a:gd name="T9" fmla="*/ 26988 h 208"/>
                  <a:gd name="T10" fmla="*/ 90487 w 195"/>
                  <a:gd name="T11" fmla="*/ 26988 h 208"/>
                  <a:gd name="T12" fmla="*/ 77787 w 195"/>
                  <a:gd name="T13" fmla="*/ 7938 h 208"/>
                  <a:gd name="T14" fmla="*/ 42862 w 195"/>
                  <a:gd name="T15" fmla="*/ 7938 h 208"/>
                  <a:gd name="T16" fmla="*/ 46037 w 195"/>
                  <a:gd name="T17" fmla="*/ 42862 h 208"/>
                  <a:gd name="T18" fmla="*/ 39687 w 195"/>
                  <a:gd name="T19" fmla="*/ 93662 h 208"/>
                  <a:gd name="T20" fmla="*/ 6350 w 195"/>
                  <a:gd name="T21" fmla="*/ 114300 h 208"/>
                  <a:gd name="T22" fmla="*/ 0 w 195"/>
                  <a:gd name="T23" fmla="*/ 165100 h 208"/>
                  <a:gd name="T24" fmla="*/ 39687 w 195"/>
                  <a:gd name="T25" fmla="*/ 212725 h 208"/>
                  <a:gd name="T26" fmla="*/ 39687 w 195"/>
                  <a:gd name="T27" fmla="*/ 230188 h 208"/>
                  <a:gd name="T28" fmla="*/ 106362 w 195"/>
                  <a:gd name="T29" fmla="*/ 261938 h 208"/>
                  <a:gd name="T30" fmla="*/ 122237 w 195"/>
                  <a:gd name="T31" fmla="*/ 277813 h 208"/>
                  <a:gd name="T32" fmla="*/ 146050 w 195"/>
                  <a:gd name="T33" fmla="*/ 268288 h 208"/>
                  <a:gd name="T34" fmla="*/ 155575 w 195"/>
                  <a:gd name="T35" fmla="*/ 322263 h 208"/>
                  <a:gd name="T36" fmla="*/ 228600 w 195"/>
                  <a:gd name="T37" fmla="*/ 330200 h 208"/>
                  <a:gd name="T38" fmla="*/ 309562 w 195"/>
                  <a:gd name="T39" fmla="*/ 293688 h 208"/>
                  <a:gd name="T40" fmla="*/ 277812 w 195"/>
                  <a:gd name="T41" fmla="*/ 255588 h 208"/>
                  <a:gd name="T42" fmla="*/ 274637 w 195"/>
                  <a:gd name="T43" fmla="*/ 161925 h 208"/>
                  <a:gd name="T44" fmla="*/ 261937 w 195"/>
                  <a:gd name="T45" fmla="*/ 142875 h 208"/>
                  <a:gd name="T46" fmla="*/ 284162 w 195"/>
                  <a:gd name="T47" fmla="*/ 109538 h 208"/>
                  <a:gd name="T48" fmla="*/ 284162 w 195"/>
                  <a:gd name="T49" fmla="*/ 109538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95"/>
                  <a:gd name="T76" fmla="*/ 0 h 208"/>
                  <a:gd name="T77" fmla="*/ 195 w 195"/>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95" h="208">
                    <a:moveTo>
                      <a:pt x="179" y="69"/>
                    </a:moveTo>
                    <a:lnTo>
                      <a:pt x="146" y="39"/>
                    </a:lnTo>
                    <a:lnTo>
                      <a:pt x="90" y="0"/>
                    </a:lnTo>
                    <a:lnTo>
                      <a:pt x="77" y="9"/>
                    </a:lnTo>
                    <a:lnTo>
                      <a:pt x="75" y="17"/>
                    </a:lnTo>
                    <a:lnTo>
                      <a:pt x="57" y="17"/>
                    </a:lnTo>
                    <a:lnTo>
                      <a:pt x="49" y="5"/>
                    </a:lnTo>
                    <a:lnTo>
                      <a:pt x="27" y="5"/>
                    </a:lnTo>
                    <a:lnTo>
                      <a:pt x="29" y="27"/>
                    </a:lnTo>
                    <a:lnTo>
                      <a:pt x="25" y="59"/>
                    </a:lnTo>
                    <a:lnTo>
                      <a:pt x="4" y="72"/>
                    </a:lnTo>
                    <a:lnTo>
                      <a:pt x="0" y="104"/>
                    </a:lnTo>
                    <a:lnTo>
                      <a:pt x="25" y="134"/>
                    </a:lnTo>
                    <a:lnTo>
                      <a:pt x="25" y="145"/>
                    </a:lnTo>
                    <a:lnTo>
                      <a:pt x="67" y="165"/>
                    </a:lnTo>
                    <a:lnTo>
                      <a:pt x="77" y="175"/>
                    </a:lnTo>
                    <a:lnTo>
                      <a:pt x="92" y="169"/>
                    </a:lnTo>
                    <a:lnTo>
                      <a:pt x="98" y="203"/>
                    </a:lnTo>
                    <a:lnTo>
                      <a:pt x="144" y="208"/>
                    </a:lnTo>
                    <a:lnTo>
                      <a:pt x="195" y="185"/>
                    </a:lnTo>
                    <a:lnTo>
                      <a:pt x="175" y="161"/>
                    </a:lnTo>
                    <a:lnTo>
                      <a:pt x="173" y="102"/>
                    </a:lnTo>
                    <a:lnTo>
                      <a:pt x="165" y="90"/>
                    </a:lnTo>
                    <a:lnTo>
                      <a:pt x="179" y="6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3" name="Freeform 22">
                <a:extLst>
                  <a:ext uri="{FF2B5EF4-FFF2-40B4-BE49-F238E27FC236}">
                    <a16:creationId xmlns:a16="http://schemas.microsoft.com/office/drawing/2014/main" id="{9BE1A4E1-D14D-4FBE-8776-5D2BE7C015E8}"/>
                  </a:ext>
                </a:extLst>
              </p:cNvPr>
              <p:cNvSpPr>
                <a:spLocks/>
              </p:cNvSpPr>
              <p:nvPr/>
            </p:nvSpPr>
            <p:spPr bwMode="auto">
              <a:xfrm>
                <a:off x="5069239" y="3045419"/>
                <a:ext cx="188369" cy="244647"/>
              </a:xfrm>
              <a:custGeom>
                <a:avLst/>
                <a:gdLst>
                  <a:gd name="T0" fmla="*/ 185737 w 136"/>
                  <a:gd name="T1" fmla="*/ 12700 h 166"/>
                  <a:gd name="T2" fmla="*/ 147637 w 136"/>
                  <a:gd name="T3" fmla="*/ 28575 h 166"/>
                  <a:gd name="T4" fmla="*/ 41275 w 136"/>
                  <a:gd name="T5" fmla="*/ 0 h 166"/>
                  <a:gd name="T6" fmla="*/ 0 w 136"/>
                  <a:gd name="T7" fmla="*/ 3175 h 166"/>
                  <a:gd name="T8" fmla="*/ 0 w 136"/>
                  <a:gd name="T9" fmla="*/ 22225 h 166"/>
                  <a:gd name="T10" fmla="*/ 15875 w 136"/>
                  <a:gd name="T11" fmla="*/ 90487 h 166"/>
                  <a:gd name="T12" fmla="*/ 0 w 136"/>
                  <a:gd name="T13" fmla="*/ 138112 h 166"/>
                  <a:gd name="T14" fmla="*/ 3175 w 136"/>
                  <a:gd name="T15" fmla="*/ 163512 h 166"/>
                  <a:gd name="T16" fmla="*/ 92075 w 136"/>
                  <a:gd name="T17" fmla="*/ 225425 h 166"/>
                  <a:gd name="T18" fmla="*/ 134937 w 136"/>
                  <a:gd name="T19" fmla="*/ 263525 h 166"/>
                  <a:gd name="T20" fmla="*/ 195262 w 136"/>
                  <a:gd name="T21" fmla="*/ 180975 h 166"/>
                  <a:gd name="T22" fmla="*/ 195262 w 136"/>
                  <a:gd name="T23" fmla="*/ 53975 h 166"/>
                  <a:gd name="T24" fmla="*/ 215900 w 136"/>
                  <a:gd name="T25" fmla="*/ 22225 h 166"/>
                  <a:gd name="T26" fmla="*/ 185737 w 136"/>
                  <a:gd name="T27" fmla="*/ 12700 h 166"/>
                  <a:gd name="T28" fmla="*/ 185737 w 136"/>
                  <a:gd name="T29" fmla="*/ 12700 h 1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66"/>
                  <a:gd name="T47" fmla="*/ 136 w 136"/>
                  <a:gd name="T48" fmla="*/ 166 h 1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66">
                    <a:moveTo>
                      <a:pt x="117" y="8"/>
                    </a:moveTo>
                    <a:lnTo>
                      <a:pt x="93" y="18"/>
                    </a:lnTo>
                    <a:lnTo>
                      <a:pt x="26" y="0"/>
                    </a:lnTo>
                    <a:lnTo>
                      <a:pt x="0" y="2"/>
                    </a:lnTo>
                    <a:lnTo>
                      <a:pt x="0" y="14"/>
                    </a:lnTo>
                    <a:lnTo>
                      <a:pt x="10" y="57"/>
                    </a:lnTo>
                    <a:lnTo>
                      <a:pt x="0" y="87"/>
                    </a:lnTo>
                    <a:lnTo>
                      <a:pt x="2" y="103"/>
                    </a:lnTo>
                    <a:lnTo>
                      <a:pt x="58" y="142"/>
                    </a:lnTo>
                    <a:lnTo>
                      <a:pt x="85" y="166"/>
                    </a:lnTo>
                    <a:lnTo>
                      <a:pt x="123" y="114"/>
                    </a:lnTo>
                    <a:lnTo>
                      <a:pt x="123" y="34"/>
                    </a:lnTo>
                    <a:lnTo>
                      <a:pt x="136" y="14"/>
                    </a:lnTo>
                    <a:lnTo>
                      <a:pt x="117"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4" name="Freeform 23">
                <a:extLst>
                  <a:ext uri="{FF2B5EF4-FFF2-40B4-BE49-F238E27FC236}">
                    <a16:creationId xmlns:a16="http://schemas.microsoft.com/office/drawing/2014/main" id="{655B1EBD-5A56-4716-8624-64EC13E48772}"/>
                  </a:ext>
                </a:extLst>
              </p:cNvPr>
              <p:cNvSpPr>
                <a:spLocks/>
              </p:cNvSpPr>
              <p:nvPr/>
            </p:nvSpPr>
            <p:spPr bwMode="auto">
              <a:xfrm>
                <a:off x="5239600" y="2833194"/>
                <a:ext cx="236847" cy="380236"/>
              </a:xfrm>
              <a:custGeom>
                <a:avLst/>
                <a:gdLst>
                  <a:gd name="T0" fmla="*/ 17463 w 171"/>
                  <a:gd name="T1" fmla="*/ 34925 h 258"/>
                  <a:gd name="T2" fmla="*/ 61913 w 171"/>
                  <a:gd name="T3" fmla="*/ 90487 h 258"/>
                  <a:gd name="T4" fmla="*/ 190500 w 171"/>
                  <a:gd name="T5" fmla="*/ 125412 h 258"/>
                  <a:gd name="T6" fmla="*/ 127000 w 171"/>
                  <a:gd name="T7" fmla="*/ 190500 h 258"/>
                  <a:gd name="T8" fmla="*/ 103188 w 171"/>
                  <a:gd name="T9" fmla="*/ 219075 h 258"/>
                  <a:gd name="T10" fmla="*/ 74613 w 171"/>
                  <a:gd name="T11" fmla="*/ 219075 h 258"/>
                  <a:gd name="T12" fmla="*/ 20638 w 171"/>
                  <a:gd name="T13" fmla="*/ 250825 h 258"/>
                  <a:gd name="T14" fmla="*/ 0 w 171"/>
                  <a:gd name="T15" fmla="*/ 282575 h 258"/>
                  <a:gd name="T16" fmla="*/ 0 w 171"/>
                  <a:gd name="T17" fmla="*/ 409575 h 258"/>
                  <a:gd name="T18" fmla="*/ 117475 w 171"/>
                  <a:gd name="T19" fmla="*/ 303212 h 258"/>
                  <a:gd name="T20" fmla="*/ 168275 w 171"/>
                  <a:gd name="T21" fmla="*/ 266700 h 258"/>
                  <a:gd name="T22" fmla="*/ 249238 w 171"/>
                  <a:gd name="T23" fmla="*/ 141287 h 258"/>
                  <a:gd name="T24" fmla="*/ 271463 w 171"/>
                  <a:gd name="T25" fmla="*/ 34925 h 258"/>
                  <a:gd name="T26" fmla="*/ 255588 w 171"/>
                  <a:gd name="T27" fmla="*/ 0 h 258"/>
                  <a:gd name="T28" fmla="*/ 230188 w 171"/>
                  <a:gd name="T29" fmla="*/ 19050 h 258"/>
                  <a:gd name="T30" fmla="*/ 71438 w 171"/>
                  <a:gd name="T31" fmla="*/ 44450 h 258"/>
                  <a:gd name="T32" fmla="*/ 52388 w 171"/>
                  <a:gd name="T33" fmla="*/ 22225 h 258"/>
                  <a:gd name="T34" fmla="*/ 17463 w 171"/>
                  <a:gd name="T35" fmla="*/ 34925 h 258"/>
                  <a:gd name="T36" fmla="*/ 17463 w 171"/>
                  <a:gd name="T37" fmla="*/ 34925 h 25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258"/>
                  <a:gd name="T59" fmla="*/ 171 w 171"/>
                  <a:gd name="T60" fmla="*/ 258 h 25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258">
                    <a:moveTo>
                      <a:pt x="11" y="22"/>
                    </a:moveTo>
                    <a:lnTo>
                      <a:pt x="39" y="57"/>
                    </a:lnTo>
                    <a:lnTo>
                      <a:pt x="120" y="79"/>
                    </a:lnTo>
                    <a:lnTo>
                      <a:pt x="80" y="120"/>
                    </a:lnTo>
                    <a:lnTo>
                      <a:pt x="65" y="138"/>
                    </a:lnTo>
                    <a:lnTo>
                      <a:pt x="47" y="138"/>
                    </a:lnTo>
                    <a:lnTo>
                      <a:pt x="13" y="158"/>
                    </a:lnTo>
                    <a:lnTo>
                      <a:pt x="0" y="178"/>
                    </a:lnTo>
                    <a:lnTo>
                      <a:pt x="0" y="258"/>
                    </a:lnTo>
                    <a:lnTo>
                      <a:pt x="74" y="191"/>
                    </a:lnTo>
                    <a:lnTo>
                      <a:pt x="106" y="168"/>
                    </a:lnTo>
                    <a:lnTo>
                      <a:pt x="157" y="89"/>
                    </a:lnTo>
                    <a:lnTo>
                      <a:pt x="171" y="22"/>
                    </a:lnTo>
                    <a:lnTo>
                      <a:pt x="161" y="0"/>
                    </a:lnTo>
                    <a:lnTo>
                      <a:pt x="145" y="12"/>
                    </a:lnTo>
                    <a:lnTo>
                      <a:pt x="45" y="28"/>
                    </a:lnTo>
                    <a:lnTo>
                      <a:pt x="33" y="14"/>
                    </a:lnTo>
                    <a:lnTo>
                      <a:pt x="11"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5" name="Freeform 24">
                <a:extLst>
                  <a:ext uri="{FF2B5EF4-FFF2-40B4-BE49-F238E27FC236}">
                    <a16:creationId xmlns:a16="http://schemas.microsoft.com/office/drawing/2014/main" id="{50CF6ECE-8081-4141-BD70-B173B3FF8FED}"/>
                  </a:ext>
                </a:extLst>
              </p:cNvPr>
              <p:cNvSpPr>
                <a:spLocks/>
              </p:cNvSpPr>
              <p:nvPr/>
            </p:nvSpPr>
            <p:spPr bwMode="auto">
              <a:xfrm>
                <a:off x="4526293" y="3021838"/>
                <a:ext cx="477846" cy="493716"/>
              </a:xfrm>
              <a:custGeom>
                <a:avLst/>
                <a:gdLst>
                  <a:gd name="T0" fmla="*/ 531812 w 345"/>
                  <a:gd name="T1" fmla="*/ 53975 h 335"/>
                  <a:gd name="T2" fmla="*/ 492125 w 345"/>
                  <a:gd name="T3" fmla="*/ 31750 h 335"/>
                  <a:gd name="T4" fmla="*/ 428625 w 345"/>
                  <a:gd name="T5" fmla="*/ 28575 h 335"/>
                  <a:gd name="T6" fmla="*/ 422275 w 345"/>
                  <a:gd name="T7" fmla="*/ 0 h 335"/>
                  <a:gd name="T8" fmla="*/ 404812 w 345"/>
                  <a:gd name="T9" fmla="*/ 12700 h 335"/>
                  <a:gd name="T10" fmla="*/ 266700 w 345"/>
                  <a:gd name="T11" fmla="*/ 38100 h 335"/>
                  <a:gd name="T12" fmla="*/ 215900 w 345"/>
                  <a:gd name="T13" fmla="*/ 12700 h 335"/>
                  <a:gd name="T14" fmla="*/ 169862 w 345"/>
                  <a:gd name="T15" fmla="*/ 57150 h 335"/>
                  <a:gd name="T16" fmla="*/ 166687 w 345"/>
                  <a:gd name="T17" fmla="*/ 100013 h 335"/>
                  <a:gd name="T18" fmla="*/ 147637 w 345"/>
                  <a:gd name="T19" fmla="*/ 200025 h 335"/>
                  <a:gd name="T20" fmla="*/ 119062 w 345"/>
                  <a:gd name="T21" fmla="*/ 225425 h 335"/>
                  <a:gd name="T22" fmla="*/ 112712 w 345"/>
                  <a:gd name="T23" fmla="*/ 279400 h 335"/>
                  <a:gd name="T24" fmla="*/ 69850 w 345"/>
                  <a:gd name="T25" fmla="*/ 312738 h 335"/>
                  <a:gd name="T26" fmla="*/ 25400 w 345"/>
                  <a:gd name="T27" fmla="*/ 303213 h 335"/>
                  <a:gd name="T28" fmla="*/ 15875 w 345"/>
                  <a:gd name="T29" fmla="*/ 328613 h 335"/>
                  <a:gd name="T30" fmla="*/ 0 w 345"/>
                  <a:gd name="T31" fmla="*/ 347663 h 335"/>
                  <a:gd name="T32" fmla="*/ 128587 w 345"/>
                  <a:gd name="T33" fmla="*/ 347663 h 335"/>
                  <a:gd name="T34" fmla="*/ 147637 w 345"/>
                  <a:gd name="T35" fmla="*/ 409575 h 335"/>
                  <a:gd name="T36" fmla="*/ 192087 w 345"/>
                  <a:gd name="T37" fmla="*/ 409575 h 335"/>
                  <a:gd name="T38" fmla="*/ 206375 w 345"/>
                  <a:gd name="T39" fmla="*/ 379413 h 335"/>
                  <a:gd name="T40" fmla="*/ 276225 w 345"/>
                  <a:gd name="T41" fmla="*/ 385763 h 335"/>
                  <a:gd name="T42" fmla="*/ 276225 w 345"/>
                  <a:gd name="T43" fmla="*/ 473075 h 335"/>
                  <a:gd name="T44" fmla="*/ 334962 w 345"/>
                  <a:gd name="T45" fmla="*/ 504825 h 335"/>
                  <a:gd name="T46" fmla="*/ 363537 w 345"/>
                  <a:gd name="T47" fmla="*/ 508000 h 335"/>
                  <a:gd name="T48" fmla="*/ 395287 w 345"/>
                  <a:gd name="T49" fmla="*/ 531813 h 335"/>
                  <a:gd name="T50" fmla="*/ 438150 w 345"/>
                  <a:gd name="T51" fmla="*/ 519113 h 335"/>
                  <a:gd name="T52" fmla="*/ 479425 w 345"/>
                  <a:gd name="T53" fmla="*/ 422275 h 335"/>
                  <a:gd name="T54" fmla="*/ 522287 w 345"/>
                  <a:gd name="T55" fmla="*/ 422275 h 335"/>
                  <a:gd name="T56" fmla="*/ 522287 w 345"/>
                  <a:gd name="T57" fmla="*/ 401638 h 335"/>
                  <a:gd name="T58" fmla="*/ 482600 w 345"/>
                  <a:gd name="T59" fmla="*/ 354013 h 335"/>
                  <a:gd name="T60" fmla="*/ 488950 w 345"/>
                  <a:gd name="T61" fmla="*/ 303213 h 335"/>
                  <a:gd name="T62" fmla="*/ 479425 w 345"/>
                  <a:gd name="T63" fmla="*/ 254000 h 335"/>
                  <a:gd name="T64" fmla="*/ 469900 w 345"/>
                  <a:gd name="T65" fmla="*/ 234950 h 335"/>
                  <a:gd name="T66" fmla="*/ 498475 w 345"/>
                  <a:gd name="T67" fmla="*/ 203200 h 335"/>
                  <a:gd name="T68" fmla="*/ 495300 w 345"/>
                  <a:gd name="T69" fmla="*/ 160338 h 335"/>
                  <a:gd name="T70" fmla="*/ 547687 w 345"/>
                  <a:gd name="T71" fmla="*/ 96838 h 335"/>
                  <a:gd name="T72" fmla="*/ 531812 w 345"/>
                  <a:gd name="T73" fmla="*/ 53975 h 335"/>
                  <a:gd name="T74" fmla="*/ 531812 w 345"/>
                  <a:gd name="T75" fmla="*/ 53975 h 3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335"/>
                  <a:gd name="T116" fmla="*/ 345 w 345"/>
                  <a:gd name="T117" fmla="*/ 335 h 3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335">
                    <a:moveTo>
                      <a:pt x="335" y="34"/>
                    </a:moveTo>
                    <a:lnTo>
                      <a:pt x="310" y="20"/>
                    </a:lnTo>
                    <a:lnTo>
                      <a:pt x="270" y="18"/>
                    </a:lnTo>
                    <a:lnTo>
                      <a:pt x="266" y="0"/>
                    </a:lnTo>
                    <a:lnTo>
                      <a:pt x="255" y="8"/>
                    </a:lnTo>
                    <a:lnTo>
                      <a:pt x="168" y="24"/>
                    </a:lnTo>
                    <a:lnTo>
                      <a:pt x="136" y="8"/>
                    </a:lnTo>
                    <a:lnTo>
                      <a:pt x="107" y="36"/>
                    </a:lnTo>
                    <a:lnTo>
                      <a:pt x="105" y="63"/>
                    </a:lnTo>
                    <a:lnTo>
                      <a:pt x="93" y="126"/>
                    </a:lnTo>
                    <a:lnTo>
                      <a:pt x="75" y="142"/>
                    </a:lnTo>
                    <a:lnTo>
                      <a:pt x="71" y="176"/>
                    </a:lnTo>
                    <a:lnTo>
                      <a:pt x="44" y="197"/>
                    </a:lnTo>
                    <a:lnTo>
                      <a:pt x="16" y="191"/>
                    </a:lnTo>
                    <a:lnTo>
                      <a:pt x="10" y="207"/>
                    </a:lnTo>
                    <a:lnTo>
                      <a:pt x="0" y="219"/>
                    </a:lnTo>
                    <a:lnTo>
                      <a:pt x="81" y="219"/>
                    </a:lnTo>
                    <a:lnTo>
                      <a:pt x="93" y="258"/>
                    </a:lnTo>
                    <a:lnTo>
                      <a:pt x="121" y="258"/>
                    </a:lnTo>
                    <a:lnTo>
                      <a:pt x="130" y="239"/>
                    </a:lnTo>
                    <a:lnTo>
                      <a:pt x="174" y="243"/>
                    </a:lnTo>
                    <a:lnTo>
                      <a:pt x="174" y="298"/>
                    </a:lnTo>
                    <a:lnTo>
                      <a:pt x="211" y="318"/>
                    </a:lnTo>
                    <a:lnTo>
                      <a:pt x="229" y="320"/>
                    </a:lnTo>
                    <a:lnTo>
                      <a:pt x="249" y="335"/>
                    </a:lnTo>
                    <a:lnTo>
                      <a:pt x="276" y="327"/>
                    </a:lnTo>
                    <a:lnTo>
                      <a:pt x="302" y="266"/>
                    </a:lnTo>
                    <a:lnTo>
                      <a:pt x="329" y="266"/>
                    </a:lnTo>
                    <a:lnTo>
                      <a:pt x="329" y="253"/>
                    </a:lnTo>
                    <a:lnTo>
                      <a:pt x="304" y="223"/>
                    </a:lnTo>
                    <a:lnTo>
                      <a:pt x="308" y="191"/>
                    </a:lnTo>
                    <a:lnTo>
                      <a:pt x="302" y="160"/>
                    </a:lnTo>
                    <a:lnTo>
                      <a:pt x="296" y="148"/>
                    </a:lnTo>
                    <a:lnTo>
                      <a:pt x="314" y="128"/>
                    </a:lnTo>
                    <a:lnTo>
                      <a:pt x="312" y="101"/>
                    </a:lnTo>
                    <a:lnTo>
                      <a:pt x="345" y="61"/>
                    </a:lnTo>
                    <a:lnTo>
                      <a:pt x="335" y="3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6" name="Freeform 25">
                <a:extLst>
                  <a:ext uri="{FF2B5EF4-FFF2-40B4-BE49-F238E27FC236}">
                    <a16:creationId xmlns:a16="http://schemas.microsoft.com/office/drawing/2014/main" id="{DC181A2A-367B-4640-ABB9-A4AD0E6AC3C7}"/>
                  </a:ext>
                </a:extLst>
              </p:cNvPr>
              <p:cNvSpPr>
                <a:spLocks/>
              </p:cNvSpPr>
              <p:nvPr/>
            </p:nvSpPr>
            <p:spPr bwMode="auto">
              <a:xfrm>
                <a:off x="4494437" y="3074894"/>
                <a:ext cx="180058" cy="237279"/>
              </a:xfrm>
              <a:custGeom>
                <a:avLst/>
                <a:gdLst>
                  <a:gd name="T0" fmla="*/ 203200 w 130"/>
                  <a:gd name="T1" fmla="*/ 42863 h 161"/>
                  <a:gd name="T2" fmla="*/ 206375 w 130"/>
                  <a:gd name="T3" fmla="*/ 0 h 161"/>
                  <a:gd name="T4" fmla="*/ 152400 w 130"/>
                  <a:gd name="T5" fmla="*/ 19050 h 161"/>
                  <a:gd name="T6" fmla="*/ 146050 w 130"/>
                  <a:gd name="T7" fmla="*/ 55563 h 161"/>
                  <a:gd name="T8" fmla="*/ 68262 w 130"/>
                  <a:gd name="T9" fmla="*/ 39688 h 161"/>
                  <a:gd name="T10" fmla="*/ 77787 w 130"/>
                  <a:gd name="T11" fmla="*/ 68263 h 161"/>
                  <a:gd name="T12" fmla="*/ 96837 w 130"/>
                  <a:gd name="T13" fmla="*/ 77788 h 161"/>
                  <a:gd name="T14" fmla="*/ 90487 w 130"/>
                  <a:gd name="T15" fmla="*/ 106363 h 161"/>
                  <a:gd name="T16" fmla="*/ 103188 w 130"/>
                  <a:gd name="T17" fmla="*/ 146050 h 161"/>
                  <a:gd name="T18" fmla="*/ 96837 w 130"/>
                  <a:gd name="T19" fmla="*/ 174625 h 161"/>
                  <a:gd name="T20" fmla="*/ 36512 w 130"/>
                  <a:gd name="T21" fmla="*/ 177800 h 161"/>
                  <a:gd name="T22" fmla="*/ 36512 w 130"/>
                  <a:gd name="T23" fmla="*/ 219075 h 161"/>
                  <a:gd name="T24" fmla="*/ 0 w 130"/>
                  <a:gd name="T25" fmla="*/ 231775 h 161"/>
                  <a:gd name="T26" fmla="*/ 15875 w 130"/>
                  <a:gd name="T27" fmla="*/ 255588 h 161"/>
                  <a:gd name="T28" fmla="*/ 61912 w 130"/>
                  <a:gd name="T29" fmla="*/ 246063 h 161"/>
                  <a:gd name="T30" fmla="*/ 106362 w 130"/>
                  <a:gd name="T31" fmla="*/ 255588 h 161"/>
                  <a:gd name="T32" fmla="*/ 149225 w 130"/>
                  <a:gd name="T33" fmla="*/ 222250 h 161"/>
                  <a:gd name="T34" fmla="*/ 155575 w 130"/>
                  <a:gd name="T35" fmla="*/ 168275 h 161"/>
                  <a:gd name="T36" fmla="*/ 184150 w 130"/>
                  <a:gd name="T37" fmla="*/ 142875 h 161"/>
                  <a:gd name="T38" fmla="*/ 203200 w 130"/>
                  <a:gd name="T39" fmla="*/ 42863 h 161"/>
                  <a:gd name="T40" fmla="*/ 203200 w 130"/>
                  <a:gd name="T41" fmla="*/ 42863 h 1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0"/>
                  <a:gd name="T64" fmla="*/ 0 h 161"/>
                  <a:gd name="T65" fmla="*/ 130 w 130"/>
                  <a:gd name="T66" fmla="*/ 161 h 1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0" h="161">
                    <a:moveTo>
                      <a:pt x="128" y="27"/>
                    </a:moveTo>
                    <a:lnTo>
                      <a:pt x="130" y="0"/>
                    </a:lnTo>
                    <a:lnTo>
                      <a:pt x="96" y="12"/>
                    </a:lnTo>
                    <a:lnTo>
                      <a:pt x="92" y="35"/>
                    </a:lnTo>
                    <a:lnTo>
                      <a:pt x="43" y="25"/>
                    </a:lnTo>
                    <a:lnTo>
                      <a:pt x="49" y="43"/>
                    </a:lnTo>
                    <a:lnTo>
                      <a:pt x="61" y="49"/>
                    </a:lnTo>
                    <a:lnTo>
                      <a:pt x="57" y="67"/>
                    </a:lnTo>
                    <a:lnTo>
                      <a:pt x="65" y="92"/>
                    </a:lnTo>
                    <a:lnTo>
                      <a:pt x="61" y="110"/>
                    </a:lnTo>
                    <a:lnTo>
                      <a:pt x="23" y="112"/>
                    </a:lnTo>
                    <a:lnTo>
                      <a:pt x="23" y="138"/>
                    </a:lnTo>
                    <a:lnTo>
                      <a:pt x="0" y="146"/>
                    </a:lnTo>
                    <a:lnTo>
                      <a:pt x="10" y="161"/>
                    </a:lnTo>
                    <a:lnTo>
                      <a:pt x="39" y="155"/>
                    </a:lnTo>
                    <a:lnTo>
                      <a:pt x="67" y="161"/>
                    </a:lnTo>
                    <a:lnTo>
                      <a:pt x="94" y="140"/>
                    </a:lnTo>
                    <a:lnTo>
                      <a:pt x="98" y="106"/>
                    </a:lnTo>
                    <a:lnTo>
                      <a:pt x="116" y="90"/>
                    </a:lnTo>
                    <a:lnTo>
                      <a:pt x="128" y="2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7" name="Freeform 26">
                <a:extLst>
                  <a:ext uri="{FF2B5EF4-FFF2-40B4-BE49-F238E27FC236}">
                    <a16:creationId xmlns:a16="http://schemas.microsoft.com/office/drawing/2014/main" id="{C2B5BF49-FE1A-4BC6-A493-6B41F153BCB7}"/>
                  </a:ext>
                </a:extLst>
              </p:cNvPr>
              <p:cNvSpPr>
                <a:spLocks/>
              </p:cNvSpPr>
              <p:nvPr/>
            </p:nvSpPr>
            <p:spPr bwMode="auto">
              <a:xfrm>
                <a:off x="4436264" y="3111738"/>
                <a:ext cx="148202" cy="178326"/>
              </a:xfrm>
              <a:custGeom>
                <a:avLst/>
                <a:gdLst>
                  <a:gd name="T0" fmla="*/ 144463 w 107"/>
                  <a:gd name="T1" fmla="*/ 28575 h 121"/>
                  <a:gd name="T2" fmla="*/ 134938 w 107"/>
                  <a:gd name="T3" fmla="*/ 0 h 121"/>
                  <a:gd name="T4" fmla="*/ 82550 w 107"/>
                  <a:gd name="T5" fmla="*/ 0 h 121"/>
                  <a:gd name="T6" fmla="*/ 82550 w 107"/>
                  <a:gd name="T7" fmla="*/ 38100 h 121"/>
                  <a:gd name="T8" fmla="*/ 25400 w 107"/>
                  <a:gd name="T9" fmla="*/ 38100 h 121"/>
                  <a:gd name="T10" fmla="*/ 31750 w 107"/>
                  <a:gd name="T11" fmla="*/ 63500 h 121"/>
                  <a:gd name="T12" fmla="*/ 0 w 107"/>
                  <a:gd name="T13" fmla="*/ 100012 h 121"/>
                  <a:gd name="T14" fmla="*/ 66675 w 107"/>
                  <a:gd name="T15" fmla="*/ 192087 h 121"/>
                  <a:gd name="T16" fmla="*/ 103188 w 107"/>
                  <a:gd name="T17" fmla="*/ 179387 h 121"/>
                  <a:gd name="T18" fmla="*/ 103188 w 107"/>
                  <a:gd name="T19" fmla="*/ 138112 h 121"/>
                  <a:gd name="T20" fmla="*/ 163513 w 107"/>
                  <a:gd name="T21" fmla="*/ 134937 h 121"/>
                  <a:gd name="T22" fmla="*/ 169863 w 107"/>
                  <a:gd name="T23" fmla="*/ 106362 h 121"/>
                  <a:gd name="T24" fmla="*/ 157163 w 107"/>
                  <a:gd name="T25" fmla="*/ 66675 h 121"/>
                  <a:gd name="T26" fmla="*/ 163513 w 107"/>
                  <a:gd name="T27" fmla="*/ 38100 h 121"/>
                  <a:gd name="T28" fmla="*/ 144463 w 107"/>
                  <a:gd name="T29" fmla="*/ 28575 h 121"/>
                  <a:gd name="T30" fmla="*/ 144463 w 107"/>
                  <a:gd name="T31" fmla="*/ 28575 h 1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7"/>
                  <a:gd name="T49" fmla="*/ 0 h 121"/>
                  <a:gd name="T50" fmla="*/ 107 w 107"/>
                  <a:gd name="T51" fmla="*/ 121 h 1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7" h="121">
                    <a:moveTo>
                      <a:pt x="91" y="18"/>
                    </a:moveTo>
                    <a:lnTo>
                      <a:pt x="85" y="0"/>
                    </a:lnTo>
                    <a:lnTo>
                      <a:pt x="52" y="0"/>
                    </a:lnTo>
                    <a:lnTo>
                      <a:pt x="52" y="24"/>
                    </a:lnTo>
                    <a:lnTo>
                      <a:pt x="16" y="24"/>
                    </a:lnTo>
                    <a:lnTo>
                      <a:pt x="20" y="40"/>
                    </a:lnTo>
                    <a:lnTo>
                      <a:pt x="0" y="63"/>
                    </a:lnTo>
                    <a:lnTo>
                      <a:pt x="42" y="121"/>
                    </a:lnTo>
                    <a:lnTo>
                      <a:pt x="65" y="113"/>
                    </a:lnTo>
                    <a:lnTo>
                      <a:pt x="65" y="87"/>
                    </a:lnTo>
                    <a:lnTo>
                      <a:pt x="103" y="85"/>
                    </a:lnTo>
                    <a:lnTo>
                      <a:pt x="107" y="67"/>
                    </a:lnTo>
                    <a:lnTo>
                      <a:pt x="99" y="42"/>
                    </a:lnTo>
                    <a:lnTo>
                      <a:pt x="103" y="24"/>
                    </a:lnTo>
                    <a:lnTo>
                      <a:pt x="91"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8" name="Freeform 27">
                <a:extLst>
                  <a:ext uri="{FF2B5EF4-FFF2-40B4-BE49-F238E27FC236}">
                    <a16:creationId xmlns:a16="http://schemas.microsoft.com/office/drawing/2014/main" id="{6B2BCFC3-6B1A-46FB-A838-38F165A168A9}"/>
                  </a:ext>
                </a:extLst>
              </p:cNvPr>
              <p:cNvSpPr>
                <a:spLocks/>
              </p:cNvSpPr>
              <p:nvPr/>
            </p:nvSpPr>
            <p:spPr bwMode="auto">
              <a:xfrm>
                <a:off x="4950122" y="3237010"/>
                <a:ext cx="37396" cy="66321"/>
              </a:xfrm>
              <a:custGeom>
                <a:avLst/>
                <a:gdLst>
                  <a:gd name="T0" fmla="*/ 3175 w 27"/>
                  <a:gd name="T1" fmla="*/ 71438 h 45"/>
                  <a:gd name="T2" fmla="*/ 36512 w 27"/>
                  <a:gd name="T3" fmla="*/ 50800 h 45"/>
                  <a:gd name="T4" fmla="*/ 42862 w 27"/>
                  <a:gd name="T5" fmla="*/ 0 h 45"/>
                  <a:gd name="T6" fmla="*/ 0 w 27"/>
                  <a:gd name="T7" fmla="*/ 22225 h 45"/>
                  <a:gd name="T8" fmla="*/ 3175 w 27"/>
                  <a:gd name="T9" fmla="*/ 71438 h 45"/>
                  <a:gd name="T10" fmla="*/ 3175 w 27"/>
                  <a:gd name="T11" fmla="*/ 71438 h 45"/>
                  <a:gd name="T12" fmla="*/ 0 60000 65536"/>
                  <a:gd name="T13" fmla="*/ 0 60000 65536"/>
                  <a:gd name="T14" fmla="*/ 0 60000 65536"/>
                  <a:gd name="T15" fmla="*/ 0 60000 65536"/>
                  <a:gd name="T16" fmla="*/ 0 60000 65536"/>
                  <a:gd name="T17" fmla="*/ 0 60000 65536"/>
                  <a:gd name="T18" fmla="*/ 0 w 27"/>
                  <a:gd name="T19" fmla="*/ 0 h 45"/>
                  <a:gd name="T20" fmla="*/ 27 w 27"/>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7" h="45">
                    <a:moveTo>
                      <a:pt x="2" y="45"/>
                    </a:moveTo>
                    <a:lnTo>
                      <a:pt x="23" y="32"/>
                    </a:lnTo>
                    <a:lnTo>
                      <a:pt x="27" y="0"/>
                    </a:lnTo>
                    <a:lnTo>
                      <a:pt x="0" y="14"/>
                    </a:lnTo>
                    <a:lnTo>
                      <a:pt x="2" y="4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09" name="Freeform 28">
                <a:extLst>
                  <a:ext uri="{FF2B5EF4-FFF2-40B4-BE49-F238E27FC236}">
                    <a16:creationId xmlns:a16="http://schemas.microsoft.com/office/drawing/2014/main" id="{2CB7CAC7-2198-41D4-A14C-DD87268E95DD}"/>
                  </a:ext>
                </a:extLst>
              </p:cNvPr>
              <p:cNvSpPr>
                <a:spLocks/>
              </p:cNvSpPr>
              <p:nvPr/>
            </p:nvSpPr>
            <p:spPr bwMode="auto">
              <a:xfrm>
                <a:off x="4936272" y="3204588"/>
                <a:ext cx="51246" cy="53056"/>
              </a:xfrm>
              <a:custGeom>
                <a:avLst/>
                <a:gdLst>
                  <a:gd name="T0" fmla="*/ 58737 w 37"/>
                  <a:gd name="T1" fmla="*/ 0 h 36"/>
                  <a:gd name="T2" fmla="*/ 28575 w 37"/>
                  <a:gd name="T3" fmla="*/ 6350 h 36"/>
                  <a:gd name="T4" fmla="*/ 0 w 37"/>
                  <a:gd name="T5" fmla="*/ 38100 h 36"/>
                  <a:gd name="T6" fmla="*/ 15875 w 37"/>
                  <a:gd name="T7" fmla="*/ 57150 h 36"/>
                  <a:gd name="T8" fmla="*/ 58737 w 37"/>
                  <a:gd name="T9" fmla="*/ 34925 h 36"/>
                  <a:gd name="T10" fmla="*/ 58737 w 37"/>
                  <a:gd name="T11" fmla="*/ 0 h 36"/>
                  <a:gd name="T12" fmla="*/ 58737 w 37"/>
                  <a:gd name="T13" fmla="*/ 0 h 36"/>
                  <a:gd name="T14" fmla="*/ 0 60000 65536"/>
                  <a:gd name="T15" fmla="*/ 0 60000 65536"/>
                  <a:gd name="T16" fmla="*/ 0 60000 65536"/>
                  <a:gd name="T17" fmla="*/ 0 60000 65536"/>
                  <a:gd name="T18" fmla="*/ 0 60000 65536"/>
                  <a:gd name="T19" fmla="*/ 0 60000 65536"/>
                  <a:gd name="T20" fmla="*/ 0 60000 65536"/>
                  <a:gd name="T21" fmla="*/ 0 w 37"/>
                  <a:gd name="T22" fmla="*/ 0 h 36"/>
                  <a:gd name="T23" fmla="*/ 37 w 37"/>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6">
                    <a:moveTo>
                      <a:pt x="37" y="0"/>
                    </a:moveTo>
                    <a:lnTo>
                      <a:pt x="18" y="4"/>
                    </a:lnTo>
                    <a:lnTo>
                      <a:pt x="0" y="24"/>
                    </a:lnTo>
                    <a:lnTo>
                      <a:pt x="10" y="36"/>
                    </a:lnTo>
                    <a:lnTo>
                      <a:pt x="37" y="22"/>
                    </a:lnTo>
                    <a:lnTo>
                      <a:pt x="3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0" name="Freeform 29">
                <a:extLst>
                  <a:ext uri="{FF2B5EF4-FFF2-40B4-BE49-F238E27FC236}">
                    <a16:creationId xmlns:a16="http://schemas.microsoft.com/office/drawing/2014/main" id="{E8F23F1D-B294-4640-9DEF-C78EBC62A1A3}"/>
                  </a:ext>
                </a:extLst>
              </p:cNvPr>
              <p:cNvSpPr>
                <a:spLocks/>
              </p:cNvSpPr>
              <p:nvPr/>
            </p:nvSpPr>
            <p:spPr bwMode="auto">
              <a:xfrm>
                <a:off x="4958433" y="3066052"/>
                <a:ext cx="124656" cy="144430"/>
              </a:xfrm>
              <a:custGeom>
                <a:avLst/>
                <a:gdLst>
                  <a:gd name="T0" fmla="*/ 142875 w 90"/>
                  <a:gd name="T1" fmla="*/ 68263 h 98"/>
                  <a:gd name="T2" fmla="*/ 127000 w 90"/>
                  <a:gd name="T3" fmla="*/ 0 h 98"/>
                  <a:gd name="T4" fmla="*/ 36512 w 90"/>
                  <a:gd name="T5" fmla="*/ 6350 h 98"/>
                  <a:gd name="T6" fmla="*/ 52388 w 90"/>
                  <a:gd name="T7" fmla="*/ 49212 h 98"/>
                  <a:gd name="T8" fmla="*/ 0 w 90"/>
                  <a:gd name="T9" fmla="*/ 112713 h 98"/>
                  <a:gd name="T10" fmla="*/ 3175 w 90"/>
                  <a:gd name="T11" fmla="*/ 155575 h 98"/>
                  <a:gd name="T12" fmla="*/ 30163 w 90"/>
                  <a:gd name="T13" fmla="*/ 149225 h 98"/>
                  <a:gd name="T14" fmla="*/ 65088 w 90"/>
                  <a:gd name="T15" fmla="*/ 149225 h 98"/>
                  <a:gd name="T16" fmla="*/ 74612 w 90"/>
                  <a:gd name="T17" fmla="*/ 122238 h 98"/>
                  <a:gd name="T18" fmla="*/ 112713 w 90"/>
                  <a:gd name="T19" fmla="*/ 90487 h 98"/>
                  <a:gd name="T20" fmla="*/ 127000 w 90"/>
                  <a:gd name="T21" fmla="*/ 115888 h 98"/>
                  <a:gd name="T22" fmla="*/ 142875 w 90"/>
                  <a:gd name="T23" fmla="*/ 68263 h 98"/>
                  <a:gd name="T24" fmla="*/ 142875 w 90"/>
                  <a:gd name="T25" fmla="*/ 68263 h 9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98"/>
                  <a:gd name="T41" fmla="*/ 90 w 90"/>
                  <a:gd name="T42" fmla="*/ 98 h 9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98">
                    <a:moveTo>
                      <a:pt x="90" y="43"/>
                    </a:moveTo>
                    <a:lnTo>
                      <a:pt x="80" y="0"/>
                    </a:lnTo>
                    <a:lnTo>
                      <a:pt x="23" y="4"/>
                    </a:lnTo>
                    <a:lnTo>
                      <a:pt x="33" y="31"/>
                    </a:lnTo>
                    <a:lnTo>
                      <a:pt x="0" y="71"/>
                    </a:lnTo>
                    <a:lnTo>
                      <a:pt x="2" y="98"/>
                    </a:lnTo>
                    <a:lnTo>
                      <a:pt x="19" y="94"/>
                    </a:lnTo>
                    <a:lnTo>
                      <a:pt x="41" y="94"/>
                    </a:lnTo>
                    <a:lnTo>
                      <a:pt x="47" y="77"/>
                    </a:lnTo>
                    <a:lnTo>
                      <a:pt x="71" y="57"/>
                    </a:lnTo>
                    <a:lnTo>
                      <a:pt x="80" y="73"/>
                    </a:lnTo>
                    <a:lnTo>
                      <a:pt x="90" y="4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1" name="Freeform 30">
                <a:extLst>
                  <a:ext uri="{FF2B5EF4-FFF2-40B4-BE49-F238E27FC236}">
                    <a16:creationId xmlns:a16="http://schemas.microsoft.com/office/drawing/2014/main" id="{BC62160D-6DF9-40A4-BFF8-527A3CC50B3E}"/>
                  </a:ext>
                </a:extLst>
              </p:cNvPr>
              <p:cNvSpPr>
                <a:spLocks/>
              </p:cNvSpPr>
              <p:nvPr/>
            </p:nvSpPr>
            <p:spPr bwMode="auto">
              <a:xfrm>
                <a:off x="5023531" y="2775718"/>
                <a:ext cx="382277" cy="296229"/>
              </a:xfrm>
              <a:custGeom>
                <a:avLst/>
                <a:gdLst>
                  <a:gd name="T0" fmla="*/ 0 w 276"/>
                  <a:gd name="T1" fmla="*/ 177800 h 201"/>
                  <a:gd name="T2" fmla="*/ 0 w 276"/>
                  <a:gd name="T3" fmla="*/ 203200 h 201"/>
                  <a:gd name="T4" fmla="*/ 19050 w 276"/>
                  <a:gd name="T5" fmla="*/ 203200 h 201"/>
                  <a:gd name="T6" fmla="*/ 65087 w 276"/>
                  <a:gd name="T7" fmla="*/ 258762 h 201"/>
                  <a:gd name="T8" fmla="*/ 90487 w 276"/>
                  <a:gd name="T9" fmla="*/ 265112 h 201"/>
                  <a:gd name="T10" fmla="*/ 93662 w 276"/>
                  <a:gd name="T11" fmla="*/ 290512 h 201"/>
                  <a:gd name="T12" fmla="*/ 200025 w 276"/>
                  <a:gd name="T13" fmla="*/ 319087 h 201"/>
                  <a:gd name="T14" fmla="*/ 238125 w 276"/>
                  <a:gd name="T15" fmla="*/ 303212 h 201"/>
                  <a:gd name="T16" fmla="*/ 268287 w 276"/>
                  <a:gd name="T17" fmla="*/ 312737 h 201"/>
                  <a:gd name="T18" fmla="*/ 322262 w 276"/>
                  <a:gd name="T19" fmla="*/ 280987 h 201"/>
                  <a:gd name="T20" fmla="*/ 350837 w 276"/>
                  <a:gd name="T21" fmla="*/ 280987 h 201"/>
                  <a:gd name="T22" fmla="*/ 374650 w 276"/>
                  <a:gd name="T23" fmla="*/ 252412 h 201"/>
                  <a:gd name="T24" fmla="*/ 438150 w 276"/>
                  <a:gd name="T25" fmla="*/ 187325 h 201"/>
                  <a:gd name="T26" fmla="*/ 309562 w 276"/>
                  <a:gd name="T27" fmla="*/ 152400 h 201"/>
                  <a:gd name="T28" fmla="*/ 247650 w 276"/>
                  <a:gd name="T29" fmla="*/ 71437 h 201"/>
                  <a:gd name="T30" fmla="*/ 258762 w 276"/>
                  <a:gd name="T31" fmla="*/ 49212 h 201"/>
                  <a:gd name="T32" fmla="*/ 231775 w 276"/>
                  <a:gd name="T33" fmla="*/ 25400 h 201"/>
                  <a:gd name="T34" fmla="*/ 187325 w 276"/>
                  <a:gd name="T35" fmla="*/ 0 h 201"/>
                  <a:gd name="T36" fmla="*/ 80962 w 276"/>
                  <a:gd name="T37" fmla="*/ 19050 h 201"/>
                  <a:gd name="T38" fmla="*/ 44450 w 276"/>
                  <a:gd name="T39" fmla="*/ 106362 h 201"/>
                  <a:gd name="T40" fmla="*/ 25400 w 276"/>
                  <a:gd name="T41" fmla="*/ 106362 h 201"/>
                  <a:gd name="T42" fmla="*/ 19050 w 276"/>
                  <a:gd name="T43" fmla="*/ 177800 h 201"/>
                  <a:gd name="T44" fmla="*/ 0 w 276"/>
                  <a:gd name="T45" fmla="*/ 177800 h 201"/>
                  <a:gd name="T46" fmla="*/ 0 w 276"/>
                  <a:gd name="T47" fmla="*/ 177800 h 2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6"/>
                  <a:gd name="T73" fmla="*/ 0 h 201"/>
                  <a:gd name="T74" fmla="*/ 276 w 276"/>
                  <a:gd name="T75" fmla="*/ 201 h 2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6" h="201">
                    <a:moveTo>
                      <a:pt x="0" y="112"/>
                    </a:moveTo>
                    <a:lnTo>
                      <a:pt x="0" y="128"/>
                    </a:lnTo>
                    <a:lnTo>
                      <a:pt x="12" y="128"/>
                    </a:lnTo>
                    <a:lnTo>
                      <a:pt x="41" y="163"/>
                    </a:lnTo>
                    <a:lnTo>
                      <a:pt x="57" y="167"/>
                    </a:lnTo>
                    <a:lnTo>
                      <a:pt x="59" y="183"/>
                    </a:lnTo>
                    <a:lnTo>
                      <a:pt x="126" y="201"/>
                    </a:lnTo>
                    <a:lnTo>
                      <a:pt x="150" y="191"/>
                    </a:lnTo>
                    <a:lnTo>
                      <a:pt x="169" y="197"/>
                    </a:lnTo>
                    <a:lnTo>
                      <a:pt x="203" y="177"/>
                    </a:lnTo>
                    <a:lnTo>
                      <a:pt x="221" y="177"/>
                    </a:lnTo>
                    <a:lnTo>
                      <a:pt x="236" y="159"/>
                    </a:lnTo>
                    <a:lnTo>
                      <a:pt x="276" y="118"/>
                    </a:lnTo>
                    <a:lnTo>
                      <a:pt x="195" y="96"/>
                    </a:lnTo>
                    <a:lnTo>
                      <a:pt x="156" y="45"/>
                    </a:lnTo>
                    <a:lnTo>
                      <a:pt x="163" y="31"/>
                    </a:lnTo>
                    <a:lnTo>
                      <a:pt x="146" y="16"/>
                    </a:lnTo>
                    <a:lnTo>
                      <a:pt x="118" y="0"/>
                    </a:lnTo>
                    <a:lnTo>
                      <a:pt x="51" y="12"/>
                    </a:lnTo>
                    <a:lnTo>
                      <a:pt x="28" y="67"/>
                    </a:lnTo>
                    <a:lnTo>
                      <a:pt x="16" y="67"/>
                    </a:lnTo>
                    <a:lnTo>
                      <a:pt x="12" y="112"/>
                    </a:lnTo>
                    <a:lnTo>
                      <a:pt x="0" y="1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2" name="Freeform 31">
                <a:extLst>
                  <a:ext uri="{FF2B5EF4-FFF2-40B4-BE49-F238E27FC236}">
                    <a16:creationId xmlns:a16="http://schemas.microsoft.com/office/drawing/2014/main" id="{90DAC640-021B-4A3C-8A0E-EE47B11A97A5}"/>
                  </a:ext>
                </a:extLst>
              </p:cNvPr>
              <p:cNvSpPr>
                <a:spLocks/>
              </p:cNvSpPr>
              <p:nvPr/>
            </p:nvSpPr>
            <p:spPr bwMode="auto">
              <a:xfrm>
                <a:off x="4761754" y="2531070"/>
                <a:ext cx="405823" cy="540876"/>
              </a:xfrm>
              <a:custGeom>
                <a:avLst/>
                <a:gdLst>
                  <a:gd name="T0" fmla="*/ 80962 w 293"/>
                  <a:gd name="T1" fmla="*/ 77787 h 367"/>
                  <a:gd name="T2" fmla="*/ 55562 w 293"/>
                  <a:gd name="T3" fmla="*/ 87312 h 367"/>
                  <a:gd name="T4" fmla="*/ 55562 w 293"/>
                  <a:gd name="T5" fmla="*/ 219075 h 367"/>
                  <a:gd name="T6" fmla="*/ 12700 w 293"/>
                  <a:gd name="T7" fmla="*/ 263525 h 367"/>
                  <a:gd name="T8" fmla="*/ 0 w 293"/>
                  <a:gd name="T9" fmla="*/ 306387 h 367"/>
                  <a:gd name="T10" fmla="*/ 71437 w 293"/>
                  <a:gd name="T11" fmla="*/ 450850 h 367"/>
                  <a:gd name="T12" fmla="*/ 93662 w 293"/>
                  <a:gd name="T13" fmla="*/ 454025 h 367"/>
                  <a:gd name="T14" fmla="*/ 152400 w 293"/>
                  <a:gd name="T15" fmla="*/ 528637 h 367"/>
                  <a:gd name="T16" fmla="*/ 158750 w 293"/>
                  <a:gd name="T17" fmla="*/ 557212 h 367"/>
                  <a:gd name="T18" fmla="*/ 222250 w 293"/>
                  <a:gd name="T19" fmla="*/ 560387 h 367"/>
                  <a:gd name="T20" fmla="*/ 261937 w 293"/>
                  <a:gd name="T21" fmla="*/ 582612 h 367"/>
                  <a:gd name="T22" fmla="*/ 352425 w 293"/>
                  <a:gd name="T23" fmla="*/ 576262 h 367"/>
                  <a:gd name="T24" fmla="*/ 352425 w 293"/>
                  <a:gd name="T25" fmla="*/ 557212 h 367"/>
                  <a:gd name="T26" fmla="*/ 393700 w 293"/>
                  <a:gd name="T27" fmla="*/ 554037 h 367"/>
                  <a:gd name="T28" fmla="*/ 390525 w 293"/>
                  <a:gd name="T29" fmla="*/ 528637 h 367"/>
                  <a:gd name="T30" fmla="*/ 365125 w 293"/>
                  <a:gd name="T31" fmla="*/ 522287 h 367"/>
                  <a:gd name="T32" fmla="*/ 319087 w 293"/>
                  <a:gd name="T33" fmla="*/ 466725 h 367"/>
                  <a:gd name="T34" fmla="*/ 300037 w 293"/>
                  <a:gd name="T35" fmla="*/ 466725 h 367"/>
                  <a:gd name="T36" fmla="*/ 300037 w 293"/>
                  <a:gd name="T37" fmla="*/ 441325 h 367"/>
                  <a:gd name="T38" fmla="*/ 319087 w 293"/>
                  <a:gd name="T39" fmla="*/ 441325 h 367"/>
                  <a:gd name="T40" fmla="*/ 325437 w 293"/>
                  <a:gd name="T41" fmla="*/ 369887 h 367"/>
                  <a:gd name="T42" fmla="*/ 344487 w 293"/>
                  <a:gd name="T43" fmla="*/ 369887 h 367"/>
                  <a:gd name="T44" fmla="*/ 381000 w 293"/>
                  <a:gd name="T45" fmla="*/ 282575 h 367"/>
                  <a:gd name="T46" fmla="*/ 396875 w 293"/>
                  <a:gd name="T47" fmla="*/ 182562 h 367"/>
                  <a:gd name="T48" fmla="*/ 465137 w 293"/>
                  <a:gd name="T49" fmla="*/ 150812 h 367"/>
                  <a:gd name="T50" fmla="*/ 415925 w 293"/>
                  <a:gd name="T51" fmla="*/ 106362 h 367"/>
                  <a:gd name="T52" fmla="*/ 400050 w 293"/>
                  <a:gd name="T53" fmla="*/ 25400 h 367"/>
                  <a:gd name="T54" fmla="*/ 361950 w 293"/>
                  <a:gd name="T55" fmla="*/ 0 h 367"/>
                  <a:gd name="T56" fmla="*/ 325437 w 293"/>
                  <a:gd name="T57" fmla="*/ 34925 h 367"/>
                  <a:gd name="T58" fmla="*/ 77787 w 293"/>
                  <a:gd name="T59" fmla="*/ 31750 h 367"/>
                  <a:gd name="T60" fmla="*/ 80962 w 293"/>
                  <a:gd name="T61" fmla="*/ 77787 h 367"/>
                  <a:gd name="T62" fmla="*/ 80962 w 293"/>
                  <a:gd name="T63" fmla="*/ 77787 h 3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3"/>
                  <a:gd name="T97" fmla="*/ 0 h 367"/>
                  <a:gd name="T98" fmla="*/ 293 w 293"/>
                  <a:gd name="T99" fmla="*/ 367 h 3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3" h="367">
                    <a:moveTo>
                      <a:pt x="51" y="49"/>
                    </a:moveTo>
                    <a:lnTo>
                      <a:pt x="35" y="55"/>
                    </a:lnTo>
                    <a:lnTo>
                      <a:pt x="35" y="138"/>
                    </a:lnTo>
                    <a:lnTo>
                      <a:pt x="8" y="166"/>
                    </a:lnTo>
                    <a:lnTo>
                      <a:pt x="0" y="193"/>
                    </a:lnTo>
                    <a:lnTo>
                      <a:pt x="45" y="284"/>
                    </a:lnTo>
                    <a:lnTo>
                      <a:pt x="59" y="286"/>
                    </a:lnTo>
                    <a:lnTo>
                      <a:pt x="96" y="333"/>
                    </a:lnTo>
                    <a:lnTo>
                      <a:pt x="100" y="351"/>
                    </a:lnTo>
                    <a:lnTo>
                      <a:pt x="140" y="353"/>
                    </a:lnTo>
                    <a:lnTo>
                      <a:pt x="165" y="367"/>
                    </a:lnTo>
                    <a:lnTo>
                      <a:pt x="222" y="363"/>
                    </a:lnTo>
                    <a:lnTo>
                      <a:pt x="222" y="351"/>
                    </a:lnTo>
                    <a:lnTo>
                      <a:pt x="248" y="349"/>
                    </a:lnTo>
                    <a:lnTo>
                      <a:pt x="246" y="333"/>
                    </a:lnTo>
                    <a:lnTo>
                      <a:pt x="230" y="329"/>
                    </a:lnTo>
                    <a:lnTo>
                      <a:pt x="201" y="294"/>
                    </a:lnTo>
                    <a:lnTo>
                      <a:pt x="189" y="294"/>
                    </a:lnTo>
                    <a:lnTo>
                      <a:pt x="189" y="278"/>
                    </a:lnTo>
                    <a:lnTo>
                      <a:pt x="201" y="278"/>
                    </a:lnTo>
                    <a:lnTo>
                      <a:pt x="205" y="233"/>
                    </a:lnTo>
                    <a:lnTo>
                      <a:pt x="217" y="233"/>
                    </a:lnTo>
                    <a:lnTo>
                      <a:pt x="240" y="178"/>
                    </a:lnTo>
                    <a:lnTo>
                      <a:pt x="250" y="115"/>
                    </a:lnTo>
                    <a:lnTo>
                      <a:pt x="293" y="95"/>
                    </a:lnTo>
                    <a:lnTo>
                      <a:pt x="262" y="67"/>
                    </a:lnTo>
                    <a:lnTo>
                      <a:pt x="252" y="16"/>
                    </a:lnTo>
                    <a:lnTo>
                      <a:pt x="228" y="0"/>
                    </a:lnTo>
                    <a:lnTo>
                      <a:pt x="205" y="22"/>
                    </a:lnTo>
                    <a:lnTo>
                      <a:pt x="49" y="20"/>
                    </a:lnTo>
                    <a:lnTo>
                      <a:pt x="51" y="4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3" name="Freeform 32">
                <a:extLst>
                  <a:ext uri="{FF2B5EF4-FFF2-40B4-BE49-F238E27FC236}">
                    <a16:creationId xmlns:a16="http://schemas.microsoft.com/office/drawing/2014/main" id="{B232821D-5F52-429B-9FC7-2E8BC2F6934A}"/>
                  </a:ext>
                </a:extLst>
              </p:cNvPr>
              <p:cNvSpPr>
                <a:spLocks/>
              </p:cNvSpPr>
              <p:nvPr/>
            </p:nvSpPr>
            <p:spPr bwMode="auto">
              <a:xfrm>
                <a:off x="4562305" y="2522228"/>
                <a:ext cx="247925" cy="445081"/>
              </a:xfrm>
              <a:custGeom>
                <a:avLst/>
                <a:gdLst>
                  <a:gd name="T0" fmla="*/ 61912 w 179"/>
                  <a:gd name="T1" fmla="*/ 0 h 302"/>
                  <a:gd name="T2" fmla="*/ 34925 w 179"/>
                  <a:gd name="T3" fmla="*/ 12700 h 302"/>
                  <a:gd name="T4" fmla="*/ 34925 w 179"/>
                  <a:gd name="T5" fmla="*/ 50800 h 302"/>
                  <a:gd name="T6" fmla="*/ 61912 w 179"/>
                  <a:gd name="T7" fmla="*/ 96837 h 302"/>
                  <a:gd name="T8" fmla="*/ 44450 w 179"/>
                  <a:gd name="T9" fmla="*/ 119063 h 302"/>
                  <a:gd name="T10" fmla="*/ 44450 w 179"/>
                  <a:gd name="T11" fmla="*/ 192087 h 302"/>
                  <a:gd name="T12" fmla="*/ 19050 w 179"/>
                  <a:gd name="T13" fmla="*/ 228600 h 302"/>
                  <a:gd name="T14" fmla="*/ 0 w 179"/>
                  <a:gd name="T15" fmla="*/ 285750 h 302"/>
                  <a:gd name="T16" fmla="*/ 34925 w 179"/>
                  <a:gd name="T17" fmla="*/ 309562 h 302"/>
                  <a:gd name="T18" fmla="*/ 55562 w 179"/>
                  <a:gd name="T19" fmla="*/ 398462 h 302"/>
                  <a:gd name="T20" fmla="*/ 19050 w 179"/>
                  <a:gd name="T21" fmla="*/ 409575 h 302"/>
                  <a:gd name="T22" fmla="*/ 50800 w 179"/>
                  <a:gd name="T23" fmla="*/ 479425 h 302"/>
                  <a:gd name="T24" fmla="*/ 147637 w 179"/>
                  <a:gd name="T25" fmla="*/ 444500 h 302"/>
                  <a:gd name="T26" fmla="*/ 147637 w 179"/>
                  <a:gd name="T27" fmla="*/ 434975 h 302"/>
                  <a:gd name="T28" fmla="*/ 177800 w 179"/>
                  <a:gd name="T29" fmla="*/ 431800 h 302"/>
                  <a:gd name="T30" fmla="*/ 219075 w 179"/>
                  <a:gd name="T31" fmla="*/ 388937 h 302"/>
                  <a:gd name="T32" fmla="*/ 254000 w 179"/>
                  <a:gd name="T33" fmla="*/ 373062 h 302"/>
                  <a:gd name="T34" fmla="*/ 228600 w 179"/>
                  <a:gd name="T35" fmla="*/ 315912 h 302"/>
                  <a:gd name="T36" fmla="*/ 241300 w 179"/>
                  <a:gd name="T37" fmla="*/ 273050 h 302"/>
                  <a:gd name="T38" fmla="*/ 284162 w 179"/>
                  <a:gd name="T39" fmla="*/ 228600 h 302"/>
                  <a:gd name="T40" fmla="*/ 284162 w 179"/>
                  <a:gd name="T41" fmla="*/ 119063 h 302"/>
                  <a:gd name="T42" fmla="*/ 61912 w 179"/>
                  <a:gd name="T43" fmla="*/ 0 h 302"/>
                  <a:gd name="T44" fmla="*/ 61912 w 179"/>
                  <a:gd name="T45" fmla="*/ 0 h 30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9"/>
                  <a:gd name="T70" fmla="*/ 0 h 302"/>
                  <a:gd name="T71" fmla="*/ 179 w 179"/>
                  <a:gd name="T72" fmla="*/ 302 h 30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9" h="302">
                    <a:moveTo>
                      <a:pt x="39" y="0"/>
                    </a:moveTo>
                    <a:lnTo>
                      <a:pt x="22" y="8"/>
                    </a:lnTo>
                    <a:lnTo>
                      <a:pt x="22" y="32"/>
                    </a:lnTo>
                    <a:lnTo>
                      <a:pt x="39" y="61"/>
                    </a:lnTo>
                    <a:lnTo>
                      <a:pt x="28" y="75"/>
                    </a:lnTo>
                    <a:lnTo>
                      <a:pt x="28" y="121"/>
                    </a:lnTo>
                    <a:lnTo>
                      <a:pt x="12" y="144"/>
                    </a:lnTo>
                    <a:lnTo>
                      <a:pt x="0" y="180"/>
                    </a:lnTo>
                    <a:lnTo>
                      <a:pt x="22" y="195"/>
                    </a:lnTo>
                    <a:lnTo>
                      <a:pt x="35" y="251"/>
                    </a:lnTo>
                    <a:lnTo>
                      <a:pt x="12" y="258"/>
                    </a:lnTo>
                    <a:lnTo>
                      <a:pt x="32" y="302"/>
                    </a:lnTo>
                    <a:lnTo>
                      <a:pt x="93" y="280"/>
                    </a:lnTo>
                    <a:lnTo>
                      <a:pt x="93" y="274"/>
                    </a:lnTo>
                    <a:lnTo>
                      <a:pt x="112" y="272"/>
                    </a:lnTo>
                    <a:lnTo>
                      <a:pt x="138" y="245"/>
                    </a:lnTo>
                    <a:lnTo>
                      <a:pt x="160" y="235"/>
                    </a:lnTo>
                    <a:lnTo>
                      <a:pt x="144" y="199"/>
                    </a:lnTo>
                    <a:lnTo>
                      <a:pt x="152" y="172"/>
                    </a:lnTo>
                    <a:lnTo>
                      <a:pt x="179" y="144"/>
                    </a:lnTo>
                    <a:lnTo>
                      <a:pt x="179" y="75"/>
                    </a:lnTo>
                    <a:lnTo>
                      <a:pt x="3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4" name="Freeform 33">
                <a:extLst>
                  <a:ext uri="{FF2B5EF4-FFF2-40B4-BE49-F238E27FC236}">
                    <a16:creationId xmlns:a16="http://schemas.microsoft.com/office/drawing/2014/main" id="{FD3B96D7-32C3-439F-B32D-EB7E2D086140}"/>
                  </a:ext>
                </a:extLst>
              </p:cNvPr>
              <p:cNvSpPr>
                <a:spLocks/>
              </p:cNvSpPr>
              <p:nvPr/>
            </p:nvSpPr>
            <p:spPr bwMode="auto">
              <a:xfrm>
                <a:off x="4578926" y="2868565"/>
                <a:ext cx="315795" cy="224014"/>
              </a:xfrm>
              <a:custGeom>
                <a:avLst/>
                <a:gdLst>
                  <a:gd name="T0" fmla="*/ 361950 w 228"/>
                  <a:gd name="T1" fmla="*/ 165100 h 152"/>
                  <a:gd name="T2" fmla="*/ 303213 w 228"/>
                  <a:gd name="T3" fmla="*/ 90487 h 152"/>
                  <a:gd name="T4" fmla="*/ 280988 w 228"/>
                  <a:gd name="T5" fmla="*/ 87312 h 152"/>
                  <a:gd name="T6" fmla="*/ 234950 w 228"/>
                  <a:gd name="T7" fmla="*/ 0 h 152"/>
                  <a:gd name="T8" fmla="*/ 200025 w 228"/>
                  <a:gd name="T9" fmla="*/ 15875 h 152"/>
                  <a:gd name="T10" fmla="*/ 158750 w 228"/>
                  <a:gd name="T11" fmla="*/ 58738 h 152"/>
                  <a:gd name="T12" fmla="*/ 128588 w 228"/>
                  <a:gd name="T13" fmla="*/ 61912 h 152"/>
                  <a:gd name="T14" fmla="*/ 128588 w 228"/>
                  <a:gd name="T15" fmla="*/ 71437 h 152"/>
                  <a:gd name="T16" fmla="*/ 31750 w 228"/>
                  <a:gd name="T17" fmla="*/ 106363 h 152"/>
                  <a:gd name="T18" fmla="*/ 0 w 228"/>
                  <a:gd name="T19" fmla="*/ 177800 h 152"/>
                  <a:gd name="T20" fmla="*/ 3175 w 228"/>
                  <a:gd name="T21" fmla="*/ 215900 h 152"/>
                  <a:gd name="T22" fmla="*/ 55563 w 228"/>
                  <a:gd name="T23" fmla="*/ 241300 h 152"/>
                  <a:gd name="T24" fmla="*/ 109538 w 228"/>
                  <a:gd name="T25" fmla="*/ 222250 h 152"/>
                  <a:gd name="T26" fmla="*/ 155575 w 228"/>
                  <a:gd name="T27" fmla="*/ 177800 h 152"/>
                  <a:gd name="T28" fmla="*/ 206375 w 228"/>
                  <a:gd name="T29" fmla="*/ 203200 h 152"/>
                  <a:gd name="T30" fmla="*/ 344488 w 228"/>
                  <a:gd name="T31" fmla="*/ 177800 h 152"/>
                  <a:gd name="T32" fmla="*/ 361950 w 228"/>
                  <a:gd name="T33" fmla="*/ 165100 h 152"/>
                  <a:gd name="T34" fmla="*/ 361950 w 228"/>
                  <a:gd name="T35" fmla="*/ 165100 h 1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8"/>
                  <a:gd name="T55" fmla="*/ 0 h 152"/>
                  <a:gd name="T56" fmla="*/ 228 w 228"/>
                  <a:gd name="T57" fmla="*/ 152 h 1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8" h="152">
                    <a:moveTo>
                      <a:pt x="228" y="104"/>
                    </a:moveTo>
                    <a:lnTo>
                      <a:pt x="191" y="57"/>
                    </a:lnTo>
                    <a:lnTo>
                      <a:pt x="177" y="55"/>
                    </a:lnTo>
                    <a:lnTo>
                      <a:pt x="148" y="0"/>
                    </a:lnTo>
                    <a:lnTo>
                      <a:pt x="126" y="10"/>
                    </a:lnTo>
                    <a:lnTo>
                      <a:pt x="100" y="37"/>
                    </a:lnTo>
                    <a:lnTo>
                      <a:pt x="81" y="39"/>
                    </a:lnTo>
                    <a:lnTo>
                      <a:pt x="81" y="45"/>
                    </a:lnTo>
                    <a:lnTo>
                      <a:pt x="20" y="67"/>
                    </a:lnTo>
                    <a:lnTo>
                      <a:pt x="0" y="112"/>
                    </a:lnTo>
                    <a:lnTo>
                      <a:pt x="2" y="136"/>
                    </a:lnTo>
                    <a:lnTo>
                      <a:pt x="35" y="152"/>
                    </a:lnTo>
                    <a:lnTo>
                      <a:pt x="69" y="140"/>
                    </a:lnTo>
                    <a:lnTo>
                      <a:pt x="98" y="112"/>
                    </a:lnTo>
                    <a:lnTo>
                      <a:pt x="130" y="128"/>
                    </a:lnTo>
                    <a:lnTo>
                      <a:pt x="217" y="112"/>
                    </a:lnTo>
                    <a:lnTo>
                      <a:pt x="228" y="10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5" name="Freeform 34">
                <a:extLst>
                  <a:ext uri="{FF2B5EF4-FFF2-40B4-BE49-F238E27FC236}">
                    <a16:creationId xmlns:a16="http://schemas.microsoft.com/office/drawing/2014/main" id="{4BE65C88-CA83-4BF1-B544-20DAEDD7E269}"/>
                  </a:ext>
                </a:extLst>
              </p:cNvPr>
              <p:cNvSpPr>
                <a:spLocks/>
              </p:cNvSpPr>
              <p:nvPr/>
            </p:nvSpPr>
            <p:spPr bwMode="auto">
              <a:xfrm>
                <a:off x="4436264" y="2809614"/>
                <a:ext cx="191139" cy="316863"/>
              </a:xfrm>
              <a:custGeom>
                <a:avLst/>
                <a:gdLst>
                  <a:gd name="T0" fmla="*/ 179387 w 138"/>
                  <a:gd name="T1" fmla="*/ 0 h 215"/>
                  <a:gd name="T2" fmla="*/ 150812 w 138"/>
                  <a:gd name="T3" fmla="*/ 19050 h 215"/>
                  <a:gd name="T4" fmla="*/ 153987 w 138"/>
                  <a:gd name="T5" fmla="*/ 44450 h 215"/>
                  <a:gd name="T6" fmla="*/ 128587 w 138"/>
                  <a:gd name="T7" fmla="*/ 88900 h 215"/>
                  <a:gd name="T8" fmla="*/ 82550 w 138"/>
                  <a:gd name="T9" fmla="*/ 201613 h 215"/>
                  <a:gd name="T10" fmla="*/ 50800 w 138"/>
                  <a:gd name="T11" fmla="*/ 188913 h 215"/>
                  <a:gd name="T12" fmla="*/ 22225 w 138"/>
                  <a:gd name="T13" fmla="*/ 201613 h 215"/>
                  <a:gd name="T14" fmla="*/ 0 w 138"/>
                  <a:gd name="T15" fmla="*/ 257175 h 215"/>
                  <a:gd name="T16" fmla="*/ 9525 w 138"/>
                  <a:gd name="T17" fmla="*/ 273050 h 215"/>
                  <a:gd name="T18" fmla="*/ 34925 w 138"/>
                  <a:gd name="T19" fmla="*/ 273050 h 215"/>
                  <a:gd name="T20" fmla="*/ 31750 w 138"/>
                  <a:gd name="T21" fmla="*/ 325438 h 215"/>
                  <a:gd name="T22" fmla="*/ 134937 w 138"/>
                  <a:gd name="T23" fmla="*/ 325438 h 215"/>
                  <a:gd name="T24" fmla="*/ 212725 w 138"/>
                  <a:gd name="T25" fmla="*/ 341313 h 215"/>
                  <a:gd name="T26" fmla="*/ 219075 w 138"/>
                  <a:gd name="T27" fmla="*/ 304800 h 215"/>
                  <a:gd name="T28" fmla="*/ 166687 w 138"/>
                  <a:gd name="T29" fmla="*/ 279400 h 215"/>
                  <a:gd name="T30" fmla="*/ 163512 w 138"/>
                  <a:gd name="T31" fmla="*/ 241300 h 215"/>
                  <a:gd name="T32" fmla="*/ 195262 w 138"/>
                  <a:gd name="T33" fmla="*/ 169863 h 215"/>
                  <a:gd name="T34" fmla="*/ 163512 w 138"/>
                  <a:gd name="T35" fmla="*/ 100013 h 215"/>
                  <a:gd name="T36" fmla="*/ 200025 w 138"/>
                  <a:gd name="T37" fmla="*/ 88900 h 215"/>
                  <a:gd name="T38" fmla="*/ 179387 w 138"/>
                  <a:gd name="T39" fmla="*/ 0 h 215"/>
                  <a:gd name="T40" fmla="*/ 179387 w 138"/>
                  <a:gd name="T41" fmla="*/ 0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8"/>
                  <a:gd name="T64" fmla="*/ 0 h 215"/>
                  <a:gd name="T65" fmla="*/ 138 w 138"/>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8" h="215">
                    <a:moveTo>
                      <a:pt x="113" y="0"/>
                    </a:moveTo>
                    <a:lnTo>
                      <a:pt x="95" y="12"/>
                    </a:lnTo>
                    <a:lnTo>
                      <a:pt x="97" y="28"/>
                    </a:lnTo>
                    <a:lnTo>
                      <a:pt x="81" y="56"/>
                    </a:lnTo>
                    <a:lnTo>
                      <a:pt x="52" y="127"/>
                    </a:lnTo>
                    <a:lnTo>
                      <a:pt x="32" y="119"/>
                    </a:lnTo>
                    <a:lnTo>
                      <a:pt x="14" y="127"/>
                    </a:lnTo>
                    <a:lnTo>
                      <a:pt x="0" y="162"/>
                    </a:lnTo>
                    <a:lnTo>
                      <a:pt x="6" y="172"/>
                    </a:lnTo>
                    <a:lnTo>
                      <a:pt x="22" y="172"/>
                    </a:lnTo>
                    <a:lnTo>
                      <a:pt x="20" y="205"/>
                    </a:lnTo>
                    <a:lnTo>
                      <a:pt x="85" y="205"/>
                    </a:lnTo>
                    <a:lnTo>
                      <a:pt x="134" y="215"/>
                    </a:lnTo>
                    <a:lnTo>
                      <a:pt x="138" y="192"/>
                    </a:lnTo>
                    <a:lnTo>
                      <a:pt x="105" y="176"/>
                    </a:lnTo>
                    <a:lnTo>
                      <a:pt x="103" y="152"/>
                    </a:lnTo>
                    <a:lnTo>
                      <a:pt x="123" y="107"/>
                    </a:lnTo>
                    <a:lnTo>
                      <a:pt x="103" y="63"/>
                    </a:lnTo>
                    <a:lnTo>
                      <a:pt x="126" y="56"/>
                    </a:lnTo>
                    <a:lnTo>
                      <a:pt x="11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6" name="Freeform 35">
                <a:extLst>
                  <a:ext uri="{FF2B5EF4-FFF2-40B4-BE49-F238E27FC236}">
                    <a16:creationId xmlns:a16="http://schemas.microsoft.com/office/drawing/2014/main" id="{963B2454-4582-49E4-9F09-3E353ABA4845}"/>
                  </a:ext>
                </a:extLst>
              </p:cNvPr>
              <p:cNvSpPr>
                <a:spLocks/>
              </p:cNvSpPr>
              <p:nvPr/>
            </p:nvSpPr>
            <p:spPr bwMode="auto">
              <a:xfrm>
                <a:off x="4300527" y="2793403"/>
                <a:ext cx="270088" cy="254964"/>
              </a:xfrm>
              <a:custGeom>
                <a:avLst/>
                <a:gdLst>
                  <a:gd name="T0" fmla="*/ 228600 w 195"/>
                  <a:gd name="T1" fmla="*/ 6350 h 173"/>
                  <a:gd name="T2" fmla="*/ 200025 w 195"/>
                  <a:gd name="T3" fmla="*/ 17462 h 173"/>
                  <a:gd name="T4" fmla="*/ 174625 w 195"/>
                  <a:gd name="T5" fmla="*/ 39687 h 173"/>
                  <a:gd name="T6" fmla="*/ 138113 w 195"/>
                  <a:gd name="T7" fmla="*/ 14287 h 173"/>
                  <a:gd name="T8" fmla="*/ 122238 w 195"/>
                  <a:gd name="T9" fmla="*/ 23812 h 173"/>
                  <a:gd name="T10" fmla="*/ 68263 w 195"/>
                  <a:gd name="T11" fmla="*/ 0 h 173"/>
                  <a:gd name="T12" fmla="*/ 34925 w 195"/>
                  <a:gd name="T13" fmla="*/ 17462 h 173"/>
                  <a:gd name="T14" fmla="*/ 22225 w 195"/>
                  <a:gd name="T15" fmla="*/ 58737 h 173"/>
                  <a:gd name="T16" fmla="*/ 31750 w 195"/>
                  <a:gd name="T17" fmla="*/ 90487 h 173"/>
                  <a:gd name="T18" fmla="*/ 0 w 195"/>
                  <a:gd name="T19" fmla="*/ 161925 h 173"/>
                  <a:gd name="T20" fmla="*/ 0 w 195"/>
                  <a:gd name="T21" fmla="*/ 215900 h 173"/>
                  <a:gd name="T22" fmla="*/ 52388 w 195"/>
                  <a:gd name="T23" fmla="*/ 230187 h 173"/>
                  <a:gd name="T24" fmla="*/ 84138 w 195"/>
                  <a:gd name="T25" fmla="*/ 271462 h 173"/>
                  <a:gd name="T26" fmla="*/ 155575 w 195"/>
                  <a:gd name="T27" fmla="*/ 274637 h 173"/>
                  <a:gd name="T28" fmla="*/ 177800 w 195"/>
                  <a:gd name="T29" fmla="*/ 219075 h 173"/>
                  <a:gd name="T30" fmla="*/ 206375 w 195"/>
                  <a:gd name="T31" fmla="*/ 206375 h 173"/>
                  <a:gd name="T32" fmla="*/ 238125 w 195"/>
                  <a:gd name="T33" fmla="*/ 219075 h 173"/>
                  <a:gd name="T34" fmla="*/ 284163 w 195"/>
                  <a:gd name="T35" fmla="*/ 106362 h 173"/>
                  <a:gd name="T36" fmla="*/ 309563 w 195"/>
                  <a:gd name="T37" fmla="*/ 61912 h 173"/>
                  <a:gd name="T38" fmla="*/ 306388 w 195"/>
                  <a:gd name="T39" fmla="*/ 36512 h 173"/>
                  <a:gd name="T40" fmla="*/ 284163 w 195"/>
                  <a:gd name="T41" fmla="*/ 17462 h 173"/>
                  <a:gd name="T42" fmla="*/ 265113 w 195"/>
                  <a:gd name="T43" fmla="*/ 26987 h 173"/>
                  <a:gd name="T44" fmla="*/ 228600 w 195"/>
                  <a:gd name="T45" fmla="*/ 6350 h 173"/>
                  <a:gd name="T46" fmla="*/ 228600 w 195"/>
                  <a:gd name="T47" fmla="*/ 6350 h 1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5"/>
                  <a:gd name="T73" fmla="*/ 0 h 173"/>
                  <a:gd name="T74" fmla="*/ 195 w 195"/>
                  <a:gd name="T75" fmla="*/ 173 h 17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5" h="173">
                    <a:moveTo>
                      <a:pt x="144" y="4"/>
                    </a:moveTo>
                    <a:lnTo>
                      <a:pt x="126" y="11"/>
                    </a:lnTo>
                    <a:lnTo>
                      <a:pt x="110" y="25"/>
                    </a:lnTo>
                    <a:lnTo>
                      <a:pt x="87" y="9"/>
                    </a:lnTo>
                    <a:lnTo>
                      <a:pt x="77" y="15"/>
                    </a:lnTo>
                    <a:lnTo>
                      <a:pt x="43" y="0"/>
                    </a:lnTo>
                    <a:lnTo>
                      <a:pt x="22" y="11"/>
                    </a:lnTo>
                    <a:lnTo>
                      <a:pt x="14" y="37"/>
                    </a:lnTo>
                    <a:lnTo>
                      <a:pt x="20" y="57"/>
                    </a:lnTo>
                    <a:lnTo>
                      <a:pt x="0" y="102"/>
                    </a:lnTo>
                    <a:lnTo>
                      <a:pt x="0" y="136"/>
                    </a:lnTo>
                    <a:lnTo>
                      <a:pt x="33" y="145"/>
                    </a:lnTo>
                    <a:lnTo>
                      <a:pt x="53" y="171"/>
                    </a:lnTo>
                    <a:lnTo>
                      <a:pt x="98" y="173"/>
                    </a:lnTo>
                    <a:lnTo>
                      <a:pt x="112" y="138"/>
                    </a:lnTo>
                    <a:lnTo>
                      <a:pt x="130" y="130"/>
                    </a:lnTo>
                    <a:lnTo>
                      <a:pt x="150" y="138"/>
                    </a:lnTo>
                    <a:lnTo>
                      <a:pt x="179" y="67"/>
                    </a:lnTo>
                    <a:lnTo>
                      <a:pt x="195" y="39"/>
                    </a:lnTo>
                    <a:lnTo>
                      <a:pt x="193" y="23"/>
                    </a:lnTo>
                    <a:lnTo>
                      <a:pt x="179" y="11"/>
                    </a:lnTo>
                    <a:lnTo>
                      <a:pt x="167" y="17"/>
                    </a:lnTo>
                    <a:lnTo>
                      <a:pt x="144"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7" name="Freeform 36">
                <a:extLst>
                  <a:ext uri="{FF2B5EF4-FFF2-40B4-BE49-F238E27FC236}">
                    <a16:creationId xmlns:a16="http://schemas.microsoft.com/office/drawing/2014/main" id="{A546AD64-A4D3-4B24-A530-6EC31A21D49F}"/>
                  </a:ext>
                </a:extLst>
              </p:cNvPr>
              <p:cNvSpPr>
                <a:spLocks/>
              </p:cNvSpPr>
              <p:nvPr/>
            </p:nvSpPr>
            <p:spPr bwMode="auto">
              <a:xfrm>
                <a:off x="4256205" y="2833194"/>
                <a:ext cx="72024" cy="163590"/>
              </a:xfrm>
              <a:custGeom>
                <a:avLst/>
                <a:gdLst>
                  <a:gd name="T0" fmla="*/ 19050 w 52"/>
                  <a:gd name="T1" fmla="*/ 25400 h 111"/>
                  <a:gd name="T2" fmla="*/ 0 w 52"/>
                  <a:gd name="T3" fmla="*/ 38100 h 111"/>
                  <a:gd name="T4" fmla="*/ 19050 w 52"/>
                  <a:gd name="T5" fmla="*/ 106363 h 111"/>
                  <a:gd name="T6" fmla="*/ 19050 w 52"/>
                  <a:gd name="T7" fmla="*/ 176213 h 111"/>
                  <a:gd name="T8" fmla="*/ 50800 w 52"/>
                  <a:gd name="T9" fmla="*/ 173038 h 111"/>
                  <a:gd name="T10" fmla="*/ 50800 w 52"/>
                  <a:gd name="T11" fmla="*/ 119063 h 111"/>
                  <a:gd name="T12" fmla="*/ 82550 w 52"/>
                  <a:gd name="T13" fmla="*/ 47625 h 111"/>
                  <a:gd name="T14" fmla="*/ 73025 w 52"/>
                  <a:gd name="T15" fmla="*/ 15875 h 111"/>
                  <a:gd name="T16" fmla="*/ 44450 w 52"/>
                  <a:gd name="T17" fmla="*/ 0 h 111"/>
                  <a:gd name="T18" fmla="*/ 31750 w 52"/>
                  <a:gd name="T19" fmla="*/ 25400 h 111"/>
                  <a:gd name="T20" fmla="*/ 19050 w 52"/>
                  <a:gd name="T21" fmla="*/ 25400 h 111"/>
                  <a:gd name="T22" fmla="*/ 19050 w 52"/>
                  <a:gd name="T23" fmla="*/ 25400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111"/>
                  <a:gd name="T38" fmla="*/ 52 w 52"/>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111">
                    <a:moveTo>
                      <a:pt x="12" y="16"/>
                    </a:moveTo>
                    <a:lnTo>
                      <a:pt x="0" y="24"/>
                    </a:lnTo>
                    <a:lnTo>
                      <a:pt x="12" y="67"/>
                    </a:lnTo>
                    <a:lnTo>
                      <a:pt x="12" y="111"/>
                    </a:lnTo>
                    <a:lnTo>
                      <a:pt x="32" y="109"/>
                    </a:lnTo>
                    <a:lnTo>
                      <a:pt x="32" y="75"/>
                    </a:lnTo>
                    <a:lnTo>
                      <a:pt x="52" y="30"/>
                    </a:lnTo>
                    <a:lnTo>
                      <a:pt x="46" y="10"/>
                    </a:lnTo>
                    <a:lnTo>
                      <a:pt x="28" y="0"/>
                    </a:lnTo>
                    <a:lnTo>
                      <a:pt x="20" y="16"/>
                    </a:lnTo>
                    <a:lnTo>
                      <a:pt x="12"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8" name="Freeform 37">
                <a:extLst>
                  <a:ext uri="{FF2B5EF4-FFF2-40B4-BE49-F238E27FC236}">
                    <a16:creationId xmlns:a16="http://schemas.microsoft.com/office/drawing/2014/main" id="{8FC436CE-7AF9-4BCC-B73C-120BE1B078F2}"/>
                  </a:ext>
                </a:extLst>
              </p:cNvPr>
              <p:cNvSpPr>
                <a:spLocks/>
              </p:cNvSpPr>
              <p:nvPr/>
            </p:nvSpPr>
            <p:spPr bwMode="auto">
              <a:xfrm>
                <a:off x="4227120" y="2868565"/>
                <a:ext cx="45707" cy="135588"/>
              </a:xfrm>
              <a:custGeom>
                <a:avLst/>
                <a:gdLst>
                  <a:gd name="T0" fmla="*/ 52387 w 33"/>
                  <a:gd name="T1" fmla="*/ 68263 h 92"/>
                  <a:gd name="T2" fmla="*/ 33337 w 33"/>
                  <a:gd name="T3" fmla="*/ 0 h 92"/>
                  <a:gd name="T4" fmla="*/ 0 w 33"/>
                  <a:gd name="T5" fmla="*/ 0 h 92"/>
                  <a:gd name="T6" fmla="*/ 23812 w 33"/>
                  <a:gd name="T7" fmla="*/ 65088 h 92"/>
                  <a:gd name="T8" fmla="*/ 23812 w 33"/>
                  <a:gd name="T9" fmla="*/ 106363 h 92"/>
                  <a:gd name="T10" fmla="*/ 36512 w 33"/>
                  <a:gd name="T11" fmla="*/ 146050 h 92"/>
                  <a:gd name="T12" fmla="*/ 52387 w 33"/>
                  <a:gd name="T13" fmla="*/ 138113 h 92"/>
                  <a:gd name="T14" fmla="*/ 52387 w 33"/>
                  <a:gd name="T15" fmla="*/ 68263 h 92"/>
                  <a:gd name="T16" fmla="*/ 52387 w 33"/>
                  <a:gd name="T17" fmla="*/ 68263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92"/>
                  <a:gd name="T29" fmla="*/ 33 w 33"/>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92">
                    <a:moveTo>
                      <a:pt x="33" y="43"/>
                    </a:moveTo>
                    <a:lnTo>
                      <a:pt x="21" y="0"/>
                    </a:lnTo>
                    <a:lnTo>
                      <a:pt x="0" y="0"/>
                    </a:lnTo>
                    <a:lnTo>
                      <a:pt x="15" y="41"/>
                    </a:lnTo>
                    <a:lnTo>
                      <a:pt x="15" y="67"/>
                    </a:lnTo>
                    <a:lnTo>
                      <a:pt x="23" y="92"/>
                    </a:lnTo>
                    <a:lnTo>
                      <a:pt x="33" y="87"/>
                    </a:lnTo>
                    <a:lnTo>
                      <a:pt x="33" y="4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19" name="Freeform 38">
                <a:extLst>
                  <a:ext uri="{FF2B5EF4-FFF2-40B4-BE49-F238E27FC236}">
                    <a16:creationId xmlns:a16="http://schemas.microsoft.com/office/drawing/2014/main" id="{E7476D5C-3508-45C4-970D-59FA8CEF863C}"/>
                  </a:ext>
                </a:extLst>
              </p:cNvPr>
              <p:cNvSpPr>
                <a:spLocks/>
              </p:cNvSpPr>
              <p:nvPr/>
            </p:nvSpPr>
            <p:spPr bwMode="auto">
              <a:xfrm>
                <a:off x="4150942" y="2868565"/>
                <a:ext cx="108036" cy="176853"/>
              </a:xfrm>
              <a:custGeom>
                <a:avLst/>
                <a:gdLst>
                  <a:gd name="T0" fmla="*/ 87312 w 78"/>
                  <a:gd name="T1" fmla="*/ 0 h 120"/>
                  <a:gd name="T2" fmla="*/ 14288 w 78"/>
                  <a:gd name="T3" fmla="*/ 0 h 120"/>
                  <a:gd name="T4" fmla="*/ 14288 w 78"/>
                  <a:gd name="T5" fmla="*/ 39688 h 120"/>
                  <a:gd name="T6" fmla="*/ 23812 w 78"/>
                  <a:gd name="T7" fmla="*/ 80963 h 120"/>
                  <a:gd name="T8" fmla="*/ 0 w 78"/>
                  <a:gd name="T9" fmla="*/ 131763 h 120"/>
                  <a:gd name="T10" fmla="*/ 14288 w 78"/>
                  <a:gd name="T11" fmla="*/ 165100 h 120"/>
                  <a:gd name="T12" fmla="*/ 7937 w 78"/>
                  <a:gd name="T13" fmla="*/ 190500 h 120"/>
                  <a:gd name="T14" fmla="*/ 123825 w 78"/>
                  <a:gd name="T15" fmla="*/ 146050 h 120"/>
                  <a:gd name="T16" fmla="*/ 111125 w 78"/>
                  <a:gd name="T17" fmla="*/ 106363 h 120"/>
                  <a:gd name="T18" fmla="*/ 111125 w 78"/>
                  <a:gd name="T19" fmla="*/ 65088 h 120"/>
                  <a:gd name="T20" fmla="*/ 87312 w 78"/>
                  <a:gd name="T21" fmla="*/ 0 h 120"/>
                  <a:gd name="T22" fmla="*/ 87312 w 78"/>
                  <a:gd name="T23" fmla="*/ 0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
                  <a:gd name="T37" fmla="*/ 0 h 120"/>
                  <a:gd name="T38" fmla="*/ 78 w 78"/>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 h="120">
                    <a:moveTo>
                      <a:pt x="55" y="0"/>
                    </a:moveTo>
                    <a:lnTo>
                      <a:pt x="9" y="0"/>
                    </a:lnTo>
                    <a:lnTo>
                      <a:pt x="9" y="25"/>
                    </a:lnTo>
                    <a:lnTo>
                      <a:pt x="15" y="51"/>
                    </a:lnTo>
                    <a:lnTo>
                      <a:pt x="0" y="83"/>
                    </a:lnTo>
                    <a:lnTo>
                      <a:pt x="9" y="104"/>
                    </a:lnTo>
                    <a:lnTo>
                      <a:pt x="5" y="120"/>
                    </a:lnTo>
                    <a:lnTo>
                      <a:pt x="78" y="92"/>
                    </a:lnTo>
                    <a:lnTo>
                      <a:pt x="70" y="67"/>
                    </a:lnTo>
                    <a:lnTo>
                      <a:pt x="70" y="41"/>
                    </a:lnTo>
                    <a:lnTo>
                      <a:pt x="5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0" name="Freeform 39">
                <a:extLst>
                  <a:ext uri="{FF2B5EF4-FFF2-40B4-BE49-F238E27FC236}">
                    <a16:creationId xmlns:a16="http://schemas.microsoft.com/office/drawing/2014/main" id="{CAA2D5FD-65FB-4950-9F73-0D0977B5F384}"/>
                  </a:ext>
                </a:extLst>
              </p:cNvPr>
              <p:cNvSpPr>
                <a:spLocks/>
              </p:cNvSpPr>
              <p:nvPr/>
            </p:nvSpPr>
            <p:spPr bwMode="auto">
              <a:xfrm>
                <a:off x="4807461" y="2276106"/>
                <a:ext cx="270088" cy="287387"/>
              </a:xfrm>
              <a:custGeom>
                <a:avLst/>
                <a:gdLst>
                  <a:gd name="T0" fmla="*/ 212725 w 195"/>
                  <a:gd name="T1" fmla="*/ 87313 h 195"/>
                  <a:gd name="T2" fmla="*/ 196850 w 195"/>
                  <a:gd name="T3" fmla="*/ 42863 h 195"/>
                  <a:gd name="T4" fmla="*/ 212725 w 195"/>
                  <a:gd name="T5" fmla="*/ 87313 h 195"/>
                  <a:gd name="T6" fmla="*/ 228600 w 195"/>
                  <a:gd name="T7" fmla="*/ 87313 h 195"/>
                  <a:gd name="T8" fmla="*/ 257175 w 195"/>
                  <a:gd name="T9" fmla="*/ 125413 h 195"/>
                  <a:gd name="T10" fmla="*/ 282575 w 195"/>
                  <a:gd name="T11" fmla="*/ 71438 h 195"/>
                  <a:gd name="T12" fmla="*/ 247650 w 195"/>
                  <a:gd name="T13" fmla="*/ 0 h 195"/>
                  <a:gd name="T14" fmla="*/ 200025 w 195"/>
                  <a:gd name="T15" fmla="*/ 19050 h 195"/>
                  <a:gd name="T16" fmla="*/ 153988 w 195"/>
                  <a:gd name="T17" fmla="*/ 12700 h 195"/>
                  <a:gd name="T18" fmla="*/ 79375 w 195"/>
                  <a:gd name="T19" fmla="*/ 30163 h 195"/>
                  <a:gd name="T20" fmla="*/ 44450 w 195"/>
                  <a:gd name="T21" fmla="*/ 6350 h 195"/>
                  <a:gd name="T22" fmla="*/ 3175 w 195"/>
                  <a:gd name="T23" fmla="*/ 3175 h 195"/>
                  <a:gd name="T24" fmla="*/ 9525 w 195"/>
                  <a:gd name="T25" fmla="*/ 42863 h 195"/>
                  <a:gd name="T26" fmla="*/ 0 w 195"/>
                  <a:gd name="T27" fmla="*/ 55563 h 195"/>
                  <a:gd name="T28" fmla="*/ 22225 w 195"/>
                  <a:gd name="T29" fmla="*/ 93663 h 195"/>
                  <a:gd name="T30" fmla="*/ 25400 w 195"/>
                  <a:gd name="T31" fmla="*/ 306388 h 195"/>
                  <a:gd name="T32" fmla="*/ 273050 w 195"/>
                  <a:gd name="T33" fmla="*/ 309563 h 195"/>
                  <a:gd name="T34" fmla="*/ 309563 w 195"/>
                  <a:gd name="T35" fmla="*/ 274638 h 195"/>
                  <a:gd name="T36" fmla="*/ 309563 w 195"/>
                  <a:gd name="T37" fmla="*/ 241300 h 195"/>
                  <a:gd name="T38" fmla="*/ 266700 w 195"/>
                  <a:gd name="T39" fmla="*/ 187325 h 195"/>
                  <a:gd name="T40" fmla="*/ 247650 w 195"/>
                  <a:gd name="T41" fmla="*/ 142875 h 195"/>
                  <a:gd name="T42" fmla="*/ 212725 w 195"/>
                  <a:gd name="T43" fmla="*/ 87313 h 195"/>
                  <a:gd name="T44" fmla="*/ 212725 w 195"/>
                  <a:gd name="T45" fmla="*/ 87313 h 1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5"/>
                  <a:gd name="T70" fmla="*/ 0 h 195"/>
                  <a:gd name="T71" fmla="*/ 195 w 195"/>
                  <a:gd name="T72" fmla="*/ 195 h 1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5" h="195">
                    <a:moveTo>
                      <a:pt x="134" y="55"/>
                    </a:moveTo>
                    <a:lnTo>
                      <a:pt x="124" y="27"/>
                    </a:lnTo>
                    <a:lnTo>
                      <a:pt x="134" y="55"/>
                    </a:lnTo>
                    <a:lnTo>
                      <a:pt x="144" y="55"/>
                    </a:lnTo>
                    <a:lnTo>
                      <a:pt x="162" y="79"/>
                    </a:lnTo>
                    <a:lnTo>
                      <a:pt x="178" y="45"/>
                    </a:lnTo>
                    <a:lnTo>
                      <a:pt x="156" y="0"/>
                    </a:lnTo>
                    <a:lnTo>
                      <a:pt x="126" y="12"/>
                    </a:lnTo>
                    <a:lnTo>
                      <a:pt x="97" y="8"/>
                    </a:lnTo>
                    <a:lnTo>
                      <a:pt x="50" y="19"/>
                    </a:lnTo>
                    <a:lnTo>
                      <a:pt x="28" y="4"/>
                    </a:lnTo>
                    <a:lnTo>
                      <a:pt x="2" y="2"/>
                    </a:lnTo>
                    <a:lnTo>
                      <a:pt x="6" y="27"/>
                    </a:lnTo>
                    <a:lnTo>
                      <a:pt x="0" y="35"/>
                    </a:lnTo>
                    <a:lnTo>
                      <a:pt x="14" y="59"/>
                    </a:lnTo>
                    <a:lnTo>
                      <a:pt x="16" y="193"/>
                    </a:lnTo>
                    <a:lnTo>
                      <a:pt x="172" y="195"/>
                    </a:lnTo>
                    <a:lnTo>
                      <a:pt x="195" y="173"/>
                    </a:lnTo>
                    <a:lnTo>
                      <a:pt x="195" y="152"/>
                    </a:lnTo>
                    <a:lnTo>
                      <a:pt x="168" y="118"/>
                    </a:lnTo>
                    <a:lnTo>
                      <a:pt x="156" y="90"/>
                    </a:lnTo>
                    <a:lnTo>
                      <a:pt x="134" y="5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1" name="Freeform 40">
                <a:extLst>
                  <a:ext uri="{FF2B5EF4-FFF2-40B4-BE49-F238E27FC236}">
                    <a16:creationId xmlns:a16="http://schemas.microsoft.com/office/drawing/2014/main" id="{B1031F1F-CB28-4615-A0B2-BEF3775E3507}"/>
                  </a:ext>
                </a:extLst>
              </p:cNvPr>
              <p:cNvSpPr>
                <a:spLocks/>
              </p:cNvSpPr>
              <p:nvPr/>
            </p:nvSpPr>
            <p:spPr bwMode="auto">
              <a:xfrm>
                <a:off x="4455655" y="2246630"/>
                <a:ext cx="376737" cy="386130"/>
              </a:xfrm>
              <a:custGeom>
                <a:avLst/>
                <a:gdLst>
                  <a:gd name="T0" fmla="*/ 128587 w 272"/>
                  <a:gd name="T1" fmla="*/ 15875 h 262"/>
                  <a:gd name="T2" fmla="*/ 47625 w 272"/>
                  <a:gd name="T3" fmla="*/ 0 h 262"/>
                  <a:gd name="T4" fmla="*/ 44450 w 272"/>
                  <a:gd name="T5" fmla="*/ 22225 h 262"/>
                  <a:gd name="T6" fmla="*/ 22225 w 272"/>
                  <a:gd name="T7" fmla="*/ 34925 h 262"/>
                  <a:gd name="T8" fmla="*/ 25400 w 272"/>
                  <a:gd name="T9" fmla="*/ 65087 h 262"/>
                  <a:gd name="T10" fmla="*/ 0 w 272"/>
                  <a:gd name="T11" fmla="*/ 96837 h 262"/>
                  <a:gd name="T12" fmla="*/ 15875 w 272"/>
                  <a:gd name="T13" fmla="*/ 250825 h 262"/>
                  <a:gd name="T14" fmla="*/ 60325 w 272"/>
                  <a:gd name="T15" fmla="*/ 269875 h 262"/>
                  <a:gd name="T16" fmla="*/ 60325 w 272"/>
                  <a:gd name="T17" fmla="*/ 290512 h 262"/>
                  <a:gd name="T18" fmla="*/ 87312 w 272"/>
                  <a:gd name="T19" fmla="*/ 287337 h 262"/>
                  <a:gd name="T20" fmla="*/ 109537 w 272"/>
                  <a:gd name="T21" fmla="*/ 296862 h 262"/>
                  <a:gd name="T22" fmla="*/ 134937 w 272"/>
                  <a:gd name="T23" fmla="*/ 315912 h 262"/>
                  <a:gd name="T24" fmla="*/ 157162 w 272"/>
                  <a:gd name="T25" fmla="*/ 309562 h 262"/>
                  <a:gd name="T26" fmla="*/ 184150 w 272"/>
                  <a:gd name="T27" fmla="*/ 296862 h 262"/>
                  <a:gd name="T28" fmla="*/ 406400 w 272"/>
                  <a:gd name="T29" fmla="*/ 415925 h 262"/>
                  <a:gd name="T30" fmla="*/ 406400 w 272"/>
                  <a:gd name="T31" fmla="*/ 393700 h 262"/>
                  <a:gd name="T32" fmla="*/ 431800 w 272"/>
                  <a:gd name="T33" fmla="*/ 384175 h 262"/>
                  <a:gd name="T34" fmla="*/ 425450 w 272"/>
                  <a:gd name="T35" fmla="*/ 125412 h 262"/>
                  <a:gd name="T36" fmla="*/ 403225 w 272"/>
                  <a:gd name="T37" fmla="*/ 87312 h 262"/>
                  <a:gd name="T38" fmla="*/ 412750 w 272"/>
                  <a:gd name="T39" fmla="*/ 74612 h 262"/>
                  <a:gd name="T40" fmla="*/ 406400 w 272"/>
                  <a:gd name="T41" fmla="*/ 34925 h 262"/>
                  <a:gd name="T42" fmla="*/ 347662 w 272"/>
                  <a:gd name="T43" fmla="*/ 28575 h 262"/>
                  <a:gd name="T44" fmla="*/ 334962 w 272"/>
                  <a:gd name="T45" fmla="*/ 3175 h 262"/>
                  <a:gd name="T46" fmla="*/ 312737 w 272"/>
                  <a:gd name="T47" fmla="*/ 0 h 262"/>
                  <a:gd name="T48" fmla="*/ 260350 w 272"/>
                  <a:gd name="T49" fmla="*/ 22225 h 262"/>
                  <a:gd name="T50" fmla="*/ 269875 w 272"/>
                  <a:gd name="T51" fmla="*/ 57150 h 262"/>
                  <a:gd name="T52" fmla="*/ 263525 w 272"/>
                  <a:gd name="T53" fmla="*/ 84137 h 262"/>
                  <a:gd name="T54" fmla="*/ 180975 w 272"/>
                  <a:gd name="T55" fmla="*/ 53975 h 262"/>
                  <a:gd name="T56" fmla="*/ 144462 w 272"/>
                  <a:gd name="T57" fmla="*/ 50800 h 262"/>
                  <a:gd name="T58" fmla="*/ 128587 w 272"/>
                  <a:gd name="T59" fmla="*/ 15875 h 262"/>
                  <a:gd name="T60" fmla="*/ 128587 w 272"/>
                  <a:gd name="T61" fmla="*/ 15875 h 2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72"/>
                  <a:gd name="T94" fmla="*/ 0 h 262"/>
                  <a:gd name="T95" fmla="*/ 272 w 272"/>
                  <a:gd name="T96" fmla="*/ 262 h 2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72" h="262">
                    <a:moveTo>
                      <a:pt x="81" y="10"/>
                    </a:moveTo>
                    <a:lnTo>
                      <a:pt x="30" y="0"/>
                    </a:lnTo>
                    <a:lnTo>
                      <a:pt x="28" y="14"/>
                    </a:lnTo>
                    <a:lnTo>
                      <a:pt x="14" y="22"/>
                    </a:lnTo>
                    <a:lnTo>
                      <a:pt x="16" y="41"/>
                    </a:lnTo>
                    <a:lnTo>
                      <a:pt x="0" y="61"/>
                    </a:lnTo>
                    <a:lnTo>
                      <a:pt x="10" y="158"/>
                    </a:lnTo>
                    <a:lnTo>
                      <a:pt x="38" y="170"/>
                    </a:lnTo>
                    <a:lnTo>
                      <a:pt x="38" y="183"/>
                    </a:lnTo>
                    <a:lnTo>
                      <a:pt x="55" y="181"/>
                    </a:lnTo>
                    <a:lnTo>
                      <a:pt x="69" y="187"/>
                    </a:lnTo>
                    <a:lnTo>
                      <a:pt x="85" y="199"/>
                    </a:lnTo>
                    <a:lnTo>
                      <a:pt x="99" y="195"/>
                    </a:lnTo>
                    <a:lnTo>
                      <a:pt x="116" y="187"/>
                    </a:lnTo>
                    <a:lnTo>
                      <a:pt x="256" y="262"/>
                    </a:lnTo>
                    <a:lnTo>
                      <a:pt x="256" y="248"/>
                    </a:lnTo>
                    <a:lnTo>
                      <a:pt x="272" y="242"/>
                    </a:lnTo>
                    <a:lnTo>
                      <a:pt x="268" y="79"/>
                    </a:lnTo>
                    <a:lnTo>
                      <a:pt x="254" y="55"/>
                    </a:lnTo>
                    <a:lnTo>
                      <a:pt x="260" y="47"/>
                    </a:lnTo>
                    <a:lnTo>
                      <a:pt x="256" y="22"/>
                    </a:lnTo>
                    <a:lnTo>
                      <a:pt x="219" y="18"/>
                    </a:lnTo>
                    <a:lnTo>
                      <a:pt x="211" y="2"/>
                    </a:lnTo>
                    <a:lnTo>
                      <a:pt x="197" y="0"/>
                    </a:lnTo>
                    <a:lnTo>
                      <a:pt x="164" y="14"/>
                    </a:lnTo>
                    <a:lnTo>
                      <a:pt x="170" y="36"/>
                    </a:lnTo>
                    <a:lnTo>
                      <a:pt x="166" y="53"/>
                    </a:lnTo>
                    <a:lnTo>
                      <a:pt x="114" y="34"/>
                    </a:lnTo>
                    <a:lnTo>
                      <a:pt x="91" y="32"/>
                    </a:lnTo>
                    <a:lnTo>
                      <a:pt x="81" y="1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2" name="Freeform 41">
                <a:extLst>
                  <a:ext uri="{FF2B5EF4-FFF2-40B4-BE49-F238E27FC236}">
                    <a16:creationId xmlns:a16="http://schemas.microsoft.com/office/drawing/2014/main" id="{D8ECD4C1-11EB-4BFF-B240-FEB00A068F51}"/>
                  </a:ext>
                </a:extLst>
              </p:cNvPr>
              <p:cNvSpPr>
                <a:spLocks/>
              </p:cNvSpPr>
              <p:nvPr/>
            </p:nvSpPr>
            <p:spPr bwMode="auto">
              <a:xfrm>
                <a:off x="4409949" y="2124307"/>
                <a:ext cx="87258" cy="212224"/>
              </a:xfrm>
              <a:custGeom>
                <a:avLst/>
                <a:gdLst>
                  <a:gd name="T0" fmla="*/ 61912 w 63"/>
                  <a:gd name="T1" fmla="*/ 31750 h 144"/>
                  <a:gd name="T2" fmla="*/ 61912 w 63"/>
                  <a:gd name="T3" fmla="*/ 15875 h 144"/>
                  <a:gd name="T4" fmla="*/ 26987 w 63"/>
                  <a:gd name="T5" fmla="*/ 0 h 144"/>
                  <a:gd name="T6" fmla="*/ 0 w 63"/>
                  <a:gd name="T7" fmla="*/ 115887 h 144"/>
                  <a:gd name="T8" fmla="*/ 52387 w 63"/>
                  <a:gd name="T9" fmla="*/ 228600 h 144"/>
                  <a:gd name="T10" fmla="*/ 77787 w 63"/>
                  <a:gd name="T11" fmla="*/ 196850 h 144"/>
                  <a:gd name="T12" fmla="*/ 74612 w 63"/>
                  <a:gd name="T13" fmla="*/ 166687 h 144"/>
                  <a:gd name="T14" fmla="*/ 96837 w 63"/>
                  <a:gd name="T15" fmla="*/ 153987 h 144"/>
                  <a:gd name="T16" fmla="*/ 100012 w 63"/>
                  <a:gd name="T17" fmla="*/ 131762 h 144"/>
                  <a:gd name="T18" fmla="*/ 46037 w 63"/>
                  <a:gd name="T19" fmla="*/ 100012 h 144"/>
                  <a:gd name="T20" fmla="*/ 68262 w 63"/>
                  <a:gd name="T21" fmla="*/ 66675 h 144"/>
                  <a:gd name="T22" fmla="*/ 52387 w 63"/>
                  <a:gd name="T23" fmla="*/ 41275 h 144"/>
                  <a:gd name="T24" fmla="*/ 61912 w 63"/>
                  <a:gd name="T25" fmla="*/ 31750 h 144"/>
                  <a:gd name="T26" fmla="*/ 61912 w 63"/>
                  <a:gd name="T27" fmla="*/ 31750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
                  <a:gd name="T43" fmla="*/ 0 h 144"/>
                  <a:gd name="T44" fmla="*/ 63 w 63"/>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 h="144">
                    <a:moveTo>
                      <a:pt x="39" y="20"/>
                    </a:moveTo>
                    <a:lnTo>
                      <a:pt x="39" y="10"/>
                    </a:lnTo>
                    <a:lnTo>
                      <a:pt x="17" y="0"/>
                    </a:lnTo>
                    <a:lnTo>
                      <a:pt x="0" y="73"/>
                    </a:lnTo>
                    <a:lnTo>
                      <a:pt x="33" y="144"/>
                    </a:lnTo>
                    <a:lnTo>
                      <a:pt x="49" y="124"/>
                    </a:lnTo>
                    <a:lnTo>
                      <a:pt x="47" y="105"/>
                    </a:lnTo>
                    <a:lnTo>
                      <a:pt x="61" y="97"/>
                    </a:lnTo>
                    <a:lnTo>
                      <a:pt x="63" y="83"/>
                    </a:lnTo>
                    <a:lnTo>
                      <a:pt x="29" y="63"/>
                    </a:lnTo>
                    <a:lnTo>
                      <a:pt x="43" y="42"/>
                    </a:lnTo>
                    <a:lnTo>
                      <a:pt x="33" y="26"/>
                    </a:lnTo>
                    <a:lnTo>
                      <a:pt x="39" y="2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3" name="Freeform 42">
                <a:extLst>
                  <a:ext uri="{FF2B5EF4-FFF2-40B4-BE49-F238E27FC236}">
                    <a16:creationId xmlns:a16="http://schemas.microsoft.com/office/drawing/2014/main" id="{908DF93E-0E51-489D-8B85-2023C1752B33}"/>
                  </a:ext>
                </a:extLst>
              </p:cNvPr>
              <p:cNvSpPr>
                <a:spLocks/>
              </p:cNvSpPr>
              <p:nvPr/>
            </p:nvSpPr>
            <p:spPr bwMode="auto">
              <a:xfrm>
                <a:off x="4024900" y="2124307"/>
                <a:ext cx="483386" cy="520244"/>
              </a:xfrm>
              <a:custGeom>
                <a:avLst/>
                <a:gdLst>
                  <a:gd name="T0" fmla="*/ 554037 w 349"/>
                  <a:gd name="T1" fmla="*/ 422275 h 353"/>
                  <a:gd name="T2" fmla="*/ 554037 w 349"/>
                  <a:gd name="T3" fmla="*/ 401637 h 353"/>
                  <a:gd name="T4" fmla="*/ 509587 w 349"/>
                  <a:gd name="T5" fmla="*/ 382587 h 353"/>
                  <a:gd name="T6" fmla="*/ 493712 w 349"/>
                  <a:gd name="T7" fmla="*/ 228600 h 353"/>
                  <a:gd name="T8" fmla="*/ 441325 w 349"/>
                  <a:gd name="T9" fmla="*/ 115887 h 353"/>
                  <a:gd name="T10" fmla="*/ 468312 w 349"/>
                  <a:gd name="T11" fmla="*/ 0 h 353"/>
                  <a:gd name="T12" fmla="*/ 280987 w 349"/>
                  <a:gd name="T13" fmla="*/ 22225 h 353"/>
                  <a:gd name="T14" fmla="*/ 168275 w 349"/>
                  <a:gd name="T15" fmla="*/ 57150 h 353"/>
                  <a:gd name="T16" fmla="*/ 168275 w 349"/>
                  <a:gd name="T17" fmla="*/ 82550 h 353"/>
                  <a:gd name="T18" fmla="*/ 193675 w 349"/>
                  <a:gd name="T19" fmla="*/ 82550 h 353"/>
                  <a:gd name="T20" fmla="*/ 193675 w 349"/>
                  <a:gd name="T21" fmla="*/ 134937 h 353"/>
                  <a:gd name="T22" fmla="*/ 209550 w 349"/>
                  <a:gd name="T23" fmla="*/ 144462 h 353"/>
                  <a:gd name="T24" fmla="*/ 209550 w 349"/>
                  <a:gd name="T25" fmla="*/ 163512 h 353"/>
                  <a:gd name="T26" fmla="*/ 174625 w 349"/>
                  <a:gd name="T27" fmla="*/ 153987 h 353"/>
                  <a:gd name="T28" fmla="*/ 87312 w 349"/>
                  <a:gd name="T29" fmla="*/ 241300 h 353"/>
                  <a:gd name="T30" fmla="*/ 42862 w 349"/>
                  <a:gd name="T31" fmla="*/ 241300 h 353"/>
                  <a:gd name="T32" fmla="*/ 0 w 349"/>
                  <a:gd name="T33" fmla="*/ 266700 h 353"/>
                  <a:gd name="T34" fmla="*/ 0 w 349"/>
                  <a:gd name="T35" fmla="*/ 303212 h 353"/>
                  <a:gd name="T36" fmla="*/ 106362 w 349"/>
                  <a:gd name="T37" fmla="*/ 385762 h 353"/>
                  <a:gd name="T38" fmla="*/ 265112 w 349"/>
                  <a:gd name="T39" fmla="*/ 488950 h 353"/>
                  <a:gd name="T40" fmla="*/ 274637 w 349"/>
                  <a:gd name="T41" fmla="*/ 515937 h 353"/>
                  <a:gd name="T42" fmla="*/ 354012 w 349"/>
                  <a:gd name="T43" fmla="*/ 560387 h 353"/>
                  <a:gd name="T44" fmla="*/ 368300 w 349"/>
                  <a:gd name="T45" fmla="*/ 544512 h 353"/>
                  <a:gd name="T46" fmla="*/ 384175 w 349"/>
                  <a:gd name="T47" fmla="*/ 557212 h 353"/>
                  <a:gd name="T48" fmla="*/ 554037 w 349"/>
                  <a:gd name="T49" fmla="*/ 422275 h 353"/>
                  <a:gd name="T50" fmla="*/ 554037 w 349"/>
                  <a:gd name="T51" fmla="*/ 422275 h 35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9"/>
                  <a:gd name="T79" fmla="*/ 0 h 353"/>
                  <a:gd name="T80" fmla="*/ 349 w 349"/>
                  <a:gd name="T81" fmla="*/ 353 h 35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9" h="353">
                    <a:moveTo>
                      <a:pt x="349" y="266"/>
                    </a:moveTo>
                    <a:lnTo>
                      <a:pt x="349" y="253"/>
                    </a:lnTo>
                    <a:lnTo>
                      <a:pt x="321" y="241"/>
                    </a:lnTo>
                    <a:lnTo>
                      <a:pt x="311" y="144"/>
                    </a:lnTo>
                    <a:lnTo>
                      <a:pt x="278" y="73"/>
                    </a:lnTo>
                    <a:lnTo>
                      <a:pt x="295" y="0"/>
                    </a:lnTo>
                    <a:lnTo>
                      <a:pt x="177" y="14"/>
                    </a:lnTo>
                    <a:lnTo>
                      <a:pt x="106" y="36"/>
                    </a:lnTo>
                    <a:lnTo>
                      <a:pt x="106" y="52"/>
                    </a:lnTo>
                    <a:lnTo>
                      <a:pt x="122" y="52"/>
                    </a:lnTo>
                    <a:lnTo>
                      <a:pt x="122" y="85"/>
                    </a:lnTo>
                    <a:lnTo>
                      <a:pt x="132" y="91"/>
                    </a:lnTo>
                    <a:lnTo>
                      <a:pt x="132" y="103"/>
                    </a:lnTo>
                    <a:lnTo>
                      <a:pt x="110" y="97"/>
                    </a:lnTo>
                    <a:lnTo>
                      <a:pt x="55" y="152"/>
                    </a:lnTo>
                    <a:lnTo>
                      <a:pt x="27" y="152"/>
                    </a:lnTo>
                    <a:lnTo>
                      <a:pt x="0" y="168"/>
                    </a:lnTo>
                    <a:lnTo>
                      <a:pt x="0" y="191"/>
                    </a:lnTo>
                    <a:lnTo>
                      <a:pt x="67" y="243"/>
                    </a:lnTo>
                    <a:lnTo>
                      <a:pt x="167" y="308"/>
                    </a:lnTo>
                    <a:lnTo>
                      <a:pt x="173" y="325"/>
                    </a:lnTo>
                    <a:lnTo>
                      <a:pt x="223" y="353"/>
                    </a:lnTo>
                    <a:lnTo>
                      <a:pt x="232" y="343"/>
                    </a:lnTo>
                    <a:lnTo>
                      <a:pt x="242" y="351"/>
                    </a:lnTo>
                    <a:lnTo>
                      <a:pt x="349" y="26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4" name="Freeform 43">
                <a:extLst>
                  <a:ext uri="{FF2B5EF4-FFF2-40B4-BE49-F238E27FC236}">
                    <a16:creationId xmlns:a16="http://schemas.microsoft.com/office/drawing/2014/main" id="{44C0FCEF-3399-4132-9340-0C89E832C0DA}"/>
                  </a:ext>
                </a:extLst>
              </p:cNvPr>
              <p:cNvSpPr>
                <a:spLocks/>
              </p:cNvSpPr>
              <p:nvPr/>
            </p:nvSpPr>
            <p:spPr bwMode="auto">
              <a:xfrm>
                <a:off x="3909940" y="2168520"/>
                <a:ext cx="297789" cy="237278"/>
              </a:xfrm>
              <a:custGeom>
                <a:avLst/>
                <a:gdLst>
                  <a:gd name="T0" fmla="*/ 300038 w 215"/>
                  <a:gd name="T1" fmla="*/ 34925 h 161"/>
                  <a:gd name="T2" fmla="*/ 300038 w 215"/>
                  <a:gd name="T3" fmla="*/ 9525 h 161"/>
                  <a:gd name="T4" fmla="*/ 219075 w 215"/>
                  <a:gd name="T5" fmla="*/ 9525 h 161"/>
                  <a:gd name="T6" fmla="*/ 209550 w 215"/>
                  <a:gd name="T7" fmla="*/ 0 h 161"/>
                  <a:gd name="T8" fmla="*/ 174625 w 215"/>
                  <a:gd name="T9" fmla="*/ 71437 h 161"/>
                  <a:gd name="T10" fmla="*/ 131763 w 215"/>
                  <a:gd name="T11" fmla="*/ 80962 h 161"/>
                  <a:gd name="T12" fmla="*/ 103188 w 215"/>
                  <a:gd name="T13" fmla="*/ 96837 h 161"/>
                  <a:gd name="T14" fmla="*/ 96838 w 215"/>
                  <a:gd name="T15" fmla="*/ 96837 h 161"/>
                  <a:gd name="T16" fmla="*/ 96838 w 215"/>
                  <a:gd name="T17" fmla="*/ 187325 h 161"/>
                  <a:gd name="T18" fmla="*/ 50800 w 215"/>
                  <a:gd name="T19" fmla="*/ 219075 h 161"/>
                  <a:gd name="T20" fmla="*/ 50800 w 215"/>
                  <a:gd name="T21" fmla="*/ 238125 h 161"/>
                  <a:gd name="T22" fmla="*/ 0 w 215"/>
                  <a:gd name="T23" fmla="*/ 255587 h 161"/>
                  <a:gd name="T24" fmla="*/ 131763 w 215"/>
                  <a:gd name="T25" fmla="*/ 255587 h 161"/>
                  <a:gd name="T26" fmla="*/ 131763 w 215"/>
                  <a:gd name="T27" fmla="*/ 219075 h 161"/>
                  <a:gd name="T28" fmla="*/ 174625 w 215"/>
                  <a:gd name="T29" fmla="*/ 193675 h 161"/>
                  <a:gd name="T30" fmla="*/ 219075 w 215"/>
                  <a:gd name="T31" fmla="*/ 193675 h 161"/>
                  <a:gd name="T32" fmla="*/ 306388 w 215"/>
                  <a:gd name="T33" fmla="*/ 106362 h 161"/>
                  <a:gd name="T34" fmla="*/ 341313 w 215"/>
                  <a:gd name="T35" fmla="*/ 115887 h 161"/>
                  <a:gd name="T36" fmla="*/ 341313 w 215"/>
                  <a:gd name="T37" fmla="*/ 96837 h 161"/>
                  <a:gd name="T38" fmla="*/ 325438 w 215"/>
                  <a:gd name="T39" fmla="*/ 87312 h 161"/>
                  <a:gd name="T40" fmla="*/ 325438 w 215"/>
                  <a:gd name="T41" fmla="*/ 34925 h 161"/>
                  <a:gd name="T42" fmla="*/ 300038 w 215"/>
                  <a:gd name="T43" fmla="*/ 34925 h 161"/>
                  <a:gd name="T44" fmla="*/ 300038 w 215"/>
                  <a:gd name="T45" fmla="*/ 34925 h 1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5"/>
                  <a:gd name="T70" fmla="*/ 0 h 161"/>
                  <a:gd name="T71" fmla="*/ 215 w 215"/>
                  <a:gd name="T72" fmla="*/ 161 h 1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5" h="161">
                    <a:moveTo>
                      <a:pt x="189" y="22"/>
                    </a:moveTo>
                    <a:lnTo>
                      <a:pt x="189" y="6"/>
                    </a:lnTo>
                    <a:lnTo>
                      <a:pt x="138" y="6"/>
                    </a:lnTo>
                    <a:lnTo>
                      <a:pt x="132" y="0"/>
                    </a:lnTo>
                    <a:lnTo>
                      <a:pt x="110" y="45"/>
                    </a:lnTo>
                    <a:lnTo>
                      <a:pt x="83" y="51"/>
                    </a:lnTo>
                    <a:lnTo>
                      <a:pt x="65" y="61"/>
                    </a:lnTo>
                    <a:lnTo>
                      <a:pt x="61" y="61"/>
                    </a:lnTo>
                    <a:lnTo>
                      <a:pt x="61" y="118"/>
                    </a:lnTo>
                    <a:lnTo>
                      <a:pt x="32" y="138"/>
                    </a:lnTo>
                    <a:lnTo>
                      <a:pt x="32" y="150"/>
                    </a:lnTo>
                    <a:lnTo>
                      <a:pt x="0" y="161"/>
                    </a:lnTo>
                    <a:lnTo>
                      <a:pt x="83" y="161"/>
                    </a:lnTo>
                    <a:lnTo>
                      <a:pt x="83" y="138"/>
                    </a:lnTo>
                    <a:lnTo>
                      <a:pt x="110" y="122"/>
                    </a:lnTo>
                    <a:lnTo>
                      <a:pt x="138" y="122"/>
                    </a:lnTo>
                    <a:lnTo>
                      <a:pt x="193" y="67"/>
                    </a:lnTo>
                    <a:lnTo>
                      <a:pt x="215" y="73"/>
                    </a:lnTo>
                    <a:lnTo>
                      <a:pt x="215" y="61"/>
                    </a:lnTo>
                    <a:lnTo>
                      <a:pt x="205" y="55"/>
                    </a:lnTo>
                    <a:lnTo>
                      <a:pt x="205" y="22"/>
                    </a:lnTo>
                    <a:lnTo>
                      <a:pt x="189"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5" name="Freeform 44">
                <a:extLst>
                  <a:ext uri="{FF2B5EF4-FFF2-40B4-BE49-F238E27FC236}">
                    <a16:creationId xmlns:a16="http://schemas.microsoft.com/office/drawing/2014/main" id="{24841F27-01CE-4DB2-BE13-BB70E0C98B6F}"/>
                  </a:ext>
                </a:extLst>
              </p:cNvPr>
              <p:cNvSpPr>
                <a:spLocks/>
              </p:cNvSpPr>
              <p:nvPr/>
            </p:nvSpPr>
            <p:spPr bwMode="auto">
              <a:xfrm>
                <a:off x="3808831" y="2405798"/>
                <a:ext cx="216070" cy="190118"/>
              </a:xfrm>
              <a:custGeom>
                <a:avLst/>
                <a:gdLst>
                  <a:gd name="T0" fmla="*/ 122238 w 156"/>
                  <a:gd name="T1" fmla="*/ 134938 h 129"/>
                  <a:gd name="T2" fmla="*/ 150812 w 156"/>
                  <a:gd name="T3" fmla="*/ 134938 h 129"/>
                  <a:gd name="T4" fmla="*/ 150812 w 156"/>
                  <a:gd name="T5" fmla="*/ 53975 h 129"/>
                  <a:gd name="T6" fmla="*/ 247650 w 156"/>
                  <a:gd name="T7" fmla="*/ 53975 h 129"/>
                  <a:gd name="T8" fmla="*/ 247650 w 156"/>
                  <a:gd name="T9" fmla="*/ 0 h 129"/>
                  <a:gd name="T10" fmla="*/ 115888 w 156"/>
                  <a:gd name="T11" fmla="*/ 0 h 129"/>
                  <a:gd name="T12" fmla="*/ 106363 w 156"/>
                  <a:gd name="T13" fmla="*/ 28575 h 129"/>
                  <a:gd name="T14" fmla="*/ 87312 w 156"/>
                  <a:gd name="T15" fmla="*/ 38100 h 129"/>
                  <a:gd name="T16" fmla="*/ 60325 w 156"/>
                  <a:gd name="T17" fmla="*/ 106363 h 129"/>
                  <a:gd name="T18" fmla="*/ 25400 w 156"/>
                  <a:gd name="T19" fmla="*/ 125413 h 129"/>
                  <a:gd name="T20" fmla="*/ 15875 w 156"/>
                  <a:gd name="T21" fmla="*/ 160338 h 129"/>
                  <a:gd name="T22" fmla="*/ 0 w 156"/>
                  <a:gd name="T23" fmla="*/ 176213 h 129"/>
                  <a:gd name="T24" fmla="*/ 9525 w 156"/>
                  <a:gd name="T25" fmla="*/ 204788 h 129"/>
                  <a:gd name="T26" fmla="*/ 15875 w 156"/>
                  <a:gd name="T27" fmla="*/ 204788 h 129"/>
                  <a:gd name="T28" fmla="*/ 34925 w 156"/>
                  <a:gd name="T29" fmla="*/ 185738 h 129"/>
                  <a:gd name="T30" fmla="*/ 131762 w 156"/>
                  <a:gd name="T31" fmla="*/ 185738 h 129"/>
                  <a:gd name="T32" fmla="*/ 122238 w 156"/>
                  <a:gd name="T33" fmla="*/ 134938 h 129"/>
                  <a:gd name="T34" fmla="*/ 122238 w 156"/>
                  <a:gd name="T35" fmla="*/ 134938 h 1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29"/>
                  <a:gd name="T56" fmla="*/ 156 w 156"/>
                  <a:gd name="T57" fmla="*/ 129 h 1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29">
                    <a:moveTo>
                      <a:pt x="77" y="85"/>
                    </a:moveTo>
                    <a:lnTo>
                      <a:pt x="95" y="85"/>
                    </a:lnTo>
                    <a:lnTo>
                      <a:pt x="95" y="34"/>
                    </a:lnTo>
                    <a:lnTo>
                      <a:pt x="156" y="34"/>
                    </a:lnTo>
                    <a:lnTo>
                      <a:pt x="156" y="0"/>
                    </a:lnTo>
                    <a:lnTo>
                      <a:pt x="73" y="0"/>
                    </a:lnTo>
                    <a:lnTo>
                      <a:pt x="67" y="18"/>
                    </a:lnTo>
                    <a:lnTo>
                      <a:pt x="55" y="24"/>
                    </a:lnTo>
                    <a:lnTo>
                      <a:pt x="38" y="67"/>
                    </a:lnTo>
                    <a:lnTo>
                      <a:pt x="16" y="79"/>
                    </a:lnTo>
                    <a:lnTo>
                      <a:pt x="10" y="101"/>
                    </a:lnTo>
                    <a:lnTo>
                      <a:pt x="0" y="111"/>
                    </a:lnTo>
                    <a:lnTo>
                      <a:pt x="6" y="129"/>
                    </a:lnTo>
                    <a:lnTo>
                      <a:pt x="10" y="129"/>
                    </a:lnTo>
                    <a:lnTo>
                      <a:pt x="22" y="117"/>
                    </a:lnTo>
                    <a:lnTo>
                      <a:pt x="83" y="117"/>
                    </a:lnTo>
                    <a:lnTo>
                      <a:pt x="77" y="8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6" name="Freeform 45">
                <a:extLst>
                  <a:ext uri="{FF2B5EF4-FFF2-40B4-BE49-F238E27FC236}">
                    <a16:creationId xmlns:a16="http://schemas.microsoft.com/office/drawing/2014/main" id="{5C040A52-2B9E-4CAA-B248-C31D28B675F9}"/>
                  </a:ext>
                </a:extLst>
              </p:cNvPr>
              <p:cNvSpPr>
                <a:spLocks/>
              </p:cNvSpPr>
              <p:nvPr/>
            </p:nvSpPr>
            <p:spPr bwMode="auto">
              <a:xfrm>
                <a:off x="3822681" y="2405798"/>
                <a:ext cx="295018" cy="361077"/>
              </a:xfrm>
              <a:custGeom>
                <a:avLst/>
                <a:gdLst>
                  <a:gd name="T0" fmla="*/ 134937 w 213"/>
                  <a:gd name="T1" fmla="*/ 134938 h 245"/>
                  <a:gd name="T2" fmla="*/ 106362 w 213"/>
                  <a:gd name="T3" fmla="*/ 134938 h 245"/>
                  <a:gd name="T4" fmla="*/ 115887 w 213"/>
                  <a:gd name="T5" fmla="*/ 185738 h 245"/>
                  <a:gd name="T6" fmla="*/ 19050 w 213"/>
                  <a:gd name="T7" fmla="*/ 185738 h 245"/>
                  <a:gd name="T8" fmla="*/ 0 w 213"/>
                  <a:gd name="T9" fmla="*/ 204788 h 245"/>
                  <a:gd name="T10" fmla="*/ 0 w 213"/>
                  <a:gd name="T11" fmla="*/ 341313 h 245"/>
                  <a:gd name="T12" fmla="*/ 53975 w 213"/>
                  <a:gd name="T13" fmla="*/ 325438 h 245"/>
                  <a:gd name="T14" fmla="*/ 90487 w 213"/>
                  <a:gd name="T15" fmla="*/ 338138 h 245"/>
                  <a:gd name="T16" fmla="*/ 100012 w 213"/>
                  <a:gd name="T17" fmla="*/ 373063 h 245"/>
                  <a:gd name="T18" fmla="*/ 125412 w 213"/>
                  <a:gd name="T19" fmla="*/ 388938 h 245"/>
                  <a:gd name="T20" fmla="*/ 147637 w 213"/>
                  <a:gd name="T21" fmla="*/ 360363 h 245"/>
                  <a:gd name="T22" fmla="*/ 157162 w 213"/>
                  <a:gd name="T23" fmla="*/ 379413 h 245"/>
                  <a:gd name="T24" fmla="*/ 171450 w 213"/>
                  <a:gd name="T25" fmla="*/ 369888 h 245"/>
                  <a:gd name="T26" fmla="*/ 315912 w 213"/>
                  <a:gd name="T27" fmla="*/ 366713 h 245"/>
                  <a:gd name="T28" fmla="*/ 290512 w 213"/>
                  <a:gd name="T29" fmla="*/ 79375 h 245"/>
                  <a:gd name="T30" fmla="*/ 338137 w 213"/>
                  <a:gd name="T31" fmla="*/ 82550 h 245"/>
                  <a:gd name="T32" fmla="*/ 231775 w 213"/>
                  <a:gd name="T33" fmla="*/ 0 h 245"/>
                  <a:gd name="T34" fmla="*/ 231775 w 213"/>
                  <a:gd name="T35" fmla="*/ 53975 h 245"/>
                  <a:gd name="T36" fmla="*/ 134937 w 213"/>
                  <a:gd name="T37" fmla="*/ 53975 h 245"/>
                  <a:gd name="T38" fmla="*/ 134937 w 213"/>
                  <a:gd name="T39" fmla="*/ 134938 h 245"/>
                  <a:gd name="T40" fmla="*/ 134937 w 213"/>
                  <a:gd name="T41" fmla="*/ 134938 h 24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3"/>
                  <a:gd name="T64" fmla="*/ 0 h 245"/>
                  <a:gd name="T65" fmla="*/ 213 w 213"/>
                  <a:gd name="T66" fmla="*/ 245 h 24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3" h="245">
                    <a:moveTo>
                      <a:pt x="85" y="85"/>
                    </a:moveTo>
                    <a:lnTo>
                      <a:pt x="67" y="85"/>
                    </a:lnTo>
                    <a:lnTo>
                      <a:pt x="73" y="117"/>
                    </a:lnTo>
                    <a:lnTo>
                      <a:pt x="12" y="117"/>
                    </a:lnTo>
                    <a:lnTo>
                      <a:pt x="0" y="129"/>
                    </a:lnTo>
                    <a:lnTo>
                      <a:pt x="0" y="215"/>
                    </a:lnTo>
                    <a:lnTo>
                      <a:pt x="34" y="205"/>
                    </a:lnTo>
                    <a:lnTo>
                      <a:pt x="57" y="213"/>
                    </a:lnTo>
                    <a:lnTo>
                      <a:pt x="63" y="235"/>
                    </a:lnTo>
                    <a:lnTo>
                      <a:pt x="79" y="245"/>
                    </a:lnTo>
                    <a:lnTo>
                      <a:pt x="93" y="227"/>
                    </a:lnTo>
                    <a:lnTo>
                      <a:pt x="99" y="239"/>
                    </a:lnTo>
                    <a:lnTo>
                      <a:pt x="108" y="233"/>
                    </a:lnTo>
                    <a:lnTo>
                      <a:pt x="199" y="231"/>
                    </a:lnTo>
                    <a:lnTo>
                      <a:pt x="183" y="50"/>
                    </a:lnTo>
                    <a:lnTo>
                      <a:pt x="213" y="52"/>
                    </a:lnTo>
                    <a:lnTo>
                      <a:pt x="146" y="0"/>
                    </a:lnTo>
                    <a:lnTo>
                      <a:pt x="146" y="34"/>
                    </a:lnTo>
                    <a:lnTo>
                      <a:pt x="85" y="34"/>
                    </a:lnTo>
                    <a:lnTo>
                      <a:pt x="85" y="8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7" name="Freeform 46">
                <a:extLst>
                  <a:ext uri="{FF2B5EF4-FFF2-40B4-BE49-F238E27FC236}">
                    <a16:creationId xmlns:a16="http://schemas.microsoft.com/office/drawing/2014/main" id="{63851A65-1343-4C4D-ABB3-718596BE3FFF}"/>
                  </a:ext>
                </a:extLst>
              </p:cNvPr>
              <p:cNvSpPr>
                <a:spLocks/>
              </p:cNvSpPr>
              <p:nvPr/>
            </p:nvSpPr>
            <p:spPr bwMode="auto">
              <a:xfrm>
                <a:off x="3932101" y="2479487"/>
                <a:ext cx="408595" cy="409710"/>
              </a:xfrm>
              <a:custGeom>
                <a:avLst/>
                <a:gdLst>
                  <a:gd name="T0" fmla="*/ 46038 w 295"/>
                  <a:gd name="T1" fmla="*/ 290512 h 278"/>
                  <a:gd name="T2" fmla="*/ 31750 w 295"/>
                  <a:gd name="T3" fmla="*/ 300037 h 278"/>
                  <a:gd name="T4" fmla="*/ 22225 w 295"/>
                  <a:gd name="T5" fmla="*/ 280987 h 278"/>
                  <a:gd name="T6" fmla="*/ 0 w 295"/>
                  <a:gd name="T7" fmla="*/ 309562 h 278"/>
                  <a:gd name="T8" fmla="*/ 0 w 295"/>
                  <a:gd name="T9" fmla="*/ 349250 h 278"/>
                  <a:gd name="T10" fmla="*/ 31750 w 295"/>
                  <a:gd name="T11" fmla="*/ 361950 h 278"/>
                  <a:gd name="T12" fmla="*/ 25400 w 295"/>
                  <a:gd name="T13" fmla="*/ 390525 h 278"/>
                  <a:gd name="T14" fmla="*/ 74613 w 295"/>
                  <a:gd name="T15" fmla="*/ 384175 h 278"/>
                  <a:gd name="T16" fmla="*/ 119063 w 295"/>
                  <a:gd name="T17" fmla="*/ 441325 h 278"/>
                  <a:gd name="T18" fmla="*/ 187325 w 295"/>
                  <a:gd name="T19" fmla="*/ 441325 h 278"/>
                  <a:gd name="T20" fmla="*/ 200025 w 295"/>
                  <a:gd name="T21" fmla="*/ 390525 h 278"/>
                  <a:gd name="T22" fmla="*/ 238125 w 295"/>
                  <a:gd name="T23" fmla="*/ 365125 h 278"/>
                  <a:gd name="T24" fmla="*/ 268288 w 295"/>
                  <a:gd name="T25" fmla="*/ 325437 h 278"/>
                  <a:gd name="T26" fmla="*/ 354013 w 295"/>
                  <a:gd name="T27" fmla="*/ 300037 h 278"/>
                  <a:gd name="T28" fmla="*/ 438150 w 295"/>
                  <a:gd name="T29" fmla="*/ 287337 h 278"/>
                  <a:gd name="T30" fmla="*/ 468313 w 295"/>
                  <a:gd name="T31" fmla="*/ 238125 h 278"/>
                  <a:gd name="T32" fmla="*/ 460375 w 295"/>
                  <a:gd name="T33" fmla="*/ 177800 h 278"/>
                  <a:gd name="T34" fmla="*/ 381000 w 295"/>
                  <a:gd name="T35" fmla="*/ 133350 h 278"/>
                  <a:gd name="T36" fmla="*/ 371475 w 295"/>
                  <a:gd name="T37" fmla="*/ 106363 h 278"/>
                  <a:gd name="T38" fmla="*/ 212725 w 295"/>
                  <a:gd name="T39" fmla="*/ 3175 h 278"/>
                  <a:gd name="T40" fmla="*/ 165100 w 295"/>
                  <a:gd name="T41" fmla="*/ 0 h 278"/>
                  <a:gd name="T42" fmla="*/ 190500 w 295"/>
                  <a:gd name="T43" fmla="*/ 287337 h 278"/>
                  <a:gd name="T44" fmla="*/ 46038 w 295"/>
                  <a:gd name="T45" fmla="*/ 290512 h 278"/>
                  <a:gd name="T46" fmla="*/ 46038 w 295"/>
                  <a:gd name="T47" fmla="*/ 290512 h 27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95"/>
                  <a:gd name="T73" fmla="*/ 0 h 278"/>
                  <a:gd name="T74" fmla="*/ 295 w 295"/>
                  <a:gd name="T75" fmla="*/ 278 h 27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95" h="278">
                    <a:moveTo>
                      <a:pt x="29" y="183"/>
                    </a:moveTo>
                    <a:lnTo>
                      <a:pt x="20" y="189"/>
                    </a:lnTo>
                    <a:lnTo>
                      <a:pt x="14" y="177"/>
                    </a:lnTo>
                    <a:lnTo>
                      <a:pt x="0" y="195"/>
                    </a:lnTo>
                    <a:lnTo>
                      <a:pt x="0" y="220"/>
                    </a:lnTo>
                    <a:lnTo>
                      <a:pt x="20" y="228"/>
                    </a:lnTo>
                    <a:lnTo>
                      <a:pt x="16" y="246"/>
                    </a:lnTo>
                    <a:lnTo>
                      <a:pt x="47" y="242"/>
                    </a:lnTo>
                    <a:lnTo>
                      <a:pt x="75" y="278"/>
                    </a:lnTo>
                    <a:lnTo>
                      <a:pt x="118" y="278"/>
                    </a:lnTo>
                    <a:lnTo>
                      <a:pt x="126" y="246"/>
                    </a:lnTo>
                    <a:lnTo>
                      <a:pt x="150" y="230"/>
                    </a:lnTo>
                    <a:lnTo>
                      <a:pt x="169" y="205"/>
                    </a:lnTo>
                    <a:lnTo>
                      <a:pt x="223" y="189"/>
                    </a:lnTo>
                    <a:lnTo>
                      <a:pt x="276" y="181"/>
                    </a:lnTo>
                    <a:lnTo>
                      <a:pt x="295" y="150"/>
                    </a:lnTo>
                    <a:lnTo>
                      <a:pt x="290" y="112"/>
                    </a:lnTo>
                    <a:lnTo>
                      <a:pt x="240" y="84"/>
                    </a:lnTo>
                    <a:lnTo>
                      <a:pt x="234" y="67"/>
                    </a:lnTo>
                    <a:lnTo>
                      <a:pt x="134" y="2"/>
                    </a:lnTo>
                    <a:lnTo>
                      <a:pt x="104" y="0"/>
                    </a:lnTo>
                    <a:lnTo>
                      <a:pt x="120" y="181"/>
                    </a:lnTo>
                    <a:lnTo>
                      <a:pt x="29" y="18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8" name="Freeform 47">
                <a:extLst>
                  <a:ext uri="{FF2B5EF4-FFF2-40B4-BE49-F238E27FC236}">
                    <a16:creationId xmlns:a16="http://schemas.microsoft.com/office/drawing/2014/main" id="{E1A048BC-5FB3-4D81-B970-DC82031D5FF3}"/>
                  </a:ext>
                </a:extLst>
              </p:cNvPr>
              <p:cNvSpPr>
                <a:spLocks/>
              </p:cNvSpPr>
              <p:nvPr/>
            </p:nvSpPr>
            <p:spPr bwMode="auto">
              <a:xfrm>
                <a:off x="4240970" y="2513384"/>
                <a:ext cx="375352" cy="343390"/>
              </a:xfrm>
              <a:custGeom>
                <a:avLst/>
                <a:gdLst>
                  <a:gd name="T0" fmla="*/ 403224 w 271"/>
                  <a:gd name="T1" fmla="*/ 60325 h 233"/>
                  <a:gd name="T2" fmla="*/ 403224 w 271"/>
                  <a:gd name="T3" fmla="*/ 22225 h 233"/>
                  <a:gd name="T4" fmla="*/ 380999 w 271"/>
                  <a:gd name="T5" fmla="*/ 28575 h 233"/>
                  <a:gd name="T6" fmla="*/ 355600 w 271"/>
                  <a:gd name="T7" fmla="*/ 9525 h 233"/>
                  <a:gd name="T8" fmla="*/ 333375 w 271"/>
                  <a:gd name="T9" fmla="*/ 0 h 233"/>
                  <a:gd name="T10" fmla="*/ 306387 w 271"/>
                  <a:gd name="T11" fmla="*/ 3175 h 233"/>
                  <a:gd name="T12" fmla="*/ 136525 w 271"/>
                  <a:gd name="T13" fmla="*/ 138112 h 233"/>
                  <a:gd name="T14" fmla="*/ 120650 w 271"/>
                  <a:gd name="T15" fmla="*/ 125412 h 233"/>
                  <a:gd name="T16" fmla="*/ 106362 w 271"/>
                  <a:gd name="T17" fmla="*/ 141287 h 233"/>
                  <a:gd name="T18" fmla="*/ 114300 w 271"/>
                  <a:gd name="T19" fmla="*/ 201612 h 233"/>
                  <a:gd name="T20" fmla="*/ 84137 w 271"/>
                  <a:gd name="T21" fmla="*/ 250825 h 233"/>
                  <a:gd name="T22" fmla="*/ 0 w 271"/>
                  <a:gd name="T23" fmla="*/ 263525 h 233"/>
                  <a:gd name="T24" fmla="*/ 7937 w 271"/>
                  <a:gd name="T25" fmla="*/ 292100 h 233"/>
                  <a:gd name="T26" fmla="*/ 30162 w 271"/>
                  <a:gd name="T27" fmla="*/ 312737 h 233"/>
                  <a:gd name="T28" fmla="*/ 36512 w 271"/>
                  <a:gd name="T29" fmla="*/ 369887 h 233"/>
                  <a:gd name="T30" fmla="*/ 49212 w 271"/>
                  <a:gd name="T31" fmla="*/ 369887 h 233"/>
                  <a:gd name="T32" fmla="*/ 61912 w 271"/>
                  <a:gd name="T33" fmla="*/ 344487 h 233"/>
                  <a:gd name="T34" fmla="*/ 90487 w 271"/>
                  <a:gd name="T35" fmla="*/ 360362 h 233"/>
                  <a:gd name="T36" fmla="*/ 103187 w 271"/>
                  <a:gd name="T37" fmla="*/ 319087 h 233"/>
                  <a:gd name="T38" fmla="*/ 136525 w 271"/>
                  <a:gd name="T39" fmla="*/ 301625 h 233"/>
                  <a:gd name="T40" fmla="*/ 190500 w 271"/>
                  <a:gd name="T41" fmla="*/ 325437 h 233"/>
                  <a:gd name="T42" fmla="*/ 206375 w 271"/>
                  <a:gd name="T43" fmla="*/ 315912 h 233"/>
                  <a:gd name="T44" fmla="*/ 242887 w 271"/>
                  <a:gd name="T45" fmla="*/ 341312 h 233"/>
                  <a:gd name="T46" fmla="*/ 268287 w 271"/>
                  <a:gd name="T47" fmla="*/ 319087 h 233"/>
                  <a:gd name="T48" fmla="*/ 296862 w 271"/>
                  <a:gd name="T49" fmla="*/ 307975 h 233"/>
                  <a:gd name="T50" fmla="*/ 333375 w 271"/>
                  <a:gd name="T51" fmla="*/ 328612 h 233"/>
                  <a:gd name="T52" fmla="*/ 352425 w 271"/>
                  <a:gd name="T53" fmla="*/ 319087 h 233"/>
                  <a:gd name="T54" fmla="*/ 342900 w 271"/>
                  <a:gd name="T55" fmla="*/ 295275 h 233"/>
                  <a:gd name="T56" fmla="*/ 368300 w 271"/>
                  <a:gd name="T57" fmla="*/ 295275 h 233"/>
                  <a:gd name="T58" fmla="*/ 387349 w 271"/>
                  <a:gd name="T59" fmla="*/ 238125 h 233"/>
                  <a:gd name="T60" fmla="*/ 412750 w 271"/>
                  <a:gd name="T61" fmla="*/ 201612 h 233"/>
                  <a:gd name="T62" fmla="*/ 412750 w 271"/>
                  <a:gd name="T63" fmla="*/ 198437 h 233"/>
                  <a:gd name="T64" fmla="*/ 412750 w 271"/>
                  <a:gd name="T65" fmla="*/ 195262 h 233"/>
                  <a:gd name="T66" fmla="*/ 412750 w 271"/>
                  <a:gd name="T67" fmla="*/ 188912 h 233"/>
                  <a:gd name="T68" fmla="*/ 412750 w 271"/>
                  <a:gd name="T69" fmla="*/ 179387 h 233"/>
                  <a:gd name="T70" fmla="*/ 412750 w 271"/>
                  <a:gd name="T71" fmla="*/ 169862 h 233"/>
                  <a:gd name="T72" fmla="*/ 412750 w 271"/>
                  <a:gd name="T73" fmla="*/ 157162 h 233"/>
                  <a:gd name="T74" fmla="*/ 412750 w 271"/>
                  <a:gd name="T75" fmla="*/ 141287 h 233"/>
                  <a:gd name="T76" fmla="*/ 412750 w 271"/>
                  <a:gd name="T77" fmla="*/ 128587 h 233"/>
                  <a:gd name="T78" fmla="*/ 430212 w 271"/>
                  <a:gd name="T79" fmla="*/ 106362 h 233"/>
                  <a:gd name="T80" fmla="*/ 403224 w 271"/>
                  <a:gd name="T81" fmla="*/ 60325 h 233"/>
                  <a:gd name="T82" fmla="*/ 403224 w 271"/>
                  <a:gd name="T83" fmla="*/ 60325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233"/>
                  <a:gd name="T128" fmla="*/ 271 w 271"/>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233">
                    <a:moveTo>
                      <a:pt x="254" y="38"/>
                    </a:moveTo>
                    <a:lnTo>
                      <a:pt x="254" y="14"/>
                    </a:lnTo>
                    <a:lnTo>
                      <a:pt x="240" y="18"/>
                    </a:lnTo>
                    <a:lnTo>
                      <a:pt x="224" y="6"/>
                    </a:lnTo>
                    <a:lnTo>
                      <a:pt x="210" y="0"/>
                    </a:lnTo>
                    <a:lnTo>
                      <a:pt x="193" y="2"/>
                    </a:lnTo>
                    <a:lnTo>
                      <a:pt x="86" y="87"/>
                    </a:lnTo>
                    <a:lnTo>
                      <a:pt x="76" y="79"/>
                    </a:lnTo>
                    <a:lnTo>
                      <a:pt x="67" y="89"/>
                    </a:lnTo>
                    <a:lnTo>
                      <a:pt x="72" y="127"/>
                    </a:lnTo>
                    <a:lnTo>
                      <a:pt x="53" y="158"/>
                    </a:lnTo>
                    <a:lnTo>
                      <a:pt x="0" y="166"/>
                    </a:lnTo>
                    <a:lnTo>
                      <a:pt x="5" y="184"/>
                    </a:lnTo>
                    <a:lnTo>
                      <a:pt x="19" y="197"/>
                    </a:lnTo>
                    <a:lnTo>
                      <a:pt x="23" y="233"/>
                    </a:lnTo>
                    <a:lnTo>
                      <a:pt x="31" y="233"/>
                    </a:lnTo>
                    <a:lnTo>
                      <a:pt x="39" y="217"/>
                    </a:lnTo>
                    <a:lnTo>
                      <a:pt x="57" y="227"/>
                    </a:lnTo>
                    <a:lnTo>
                      <a:pt x="65" y="201"/>
                    </a:lnTo>
                    <a:lnTo>
                      <a:pt x="86" y="190"/>
                    </a:lnTo>
                    <a:lnTo>
                      <a:pt x="120" y="205"/>
                    </a:lnTo>
                    <a:lnTo>
                      <a:pt x="130" y="199"/>
                    </a:lnTo>
                    <a:lnTo>
                      <a:pt x="153" y="215"/>
                    </a:lnTo>
                    <a:lnTo>
                      <a:pt x="169" y="201"/>
                    </a:lnTo>
                    <a:lnTo>
                      <a:pt x="187" y="194"/>
                    </a:lnTo>
                    <a:lnTo>
                      <a:pt x="210" y="207"/>
                    </a:lnTo>
                    <a:lnTo>
                      <a:pt x="222" y="201"/>
                    </a:lnTo>
                    <a:lnTo>
                      <a:pt x="216" y="186"/>
                    </a:lnTo>
                    <a:lnTo>
                      <a:pt x="232" y="186"/>
                    </a:lnTo>
                    <a:lnTo>
                      <a:pt x="244" y="150"/>
                    </a:lnTo>
                    <a:lnTo>
                      <a:pt x="260" y="127"/>
                    </a:lnTo>
                    <a:lnTo>
                      <a:pt x="260" y="125"/>
                    </a:lnTo>
                    <a:lnTo>
                      <a:pt x="260" y="123"/>
                    </a:lnTo>
                    <a:lnTo>
                      <a:pt x="260" y="119"/>
                    </a:lnTo>
                    <a:lnTo>
                      <a:pt x="260" y="113"/>
                    </a:lnTo>
                    <a:lnTo>
                      <a:pt x="260" y="107"/>
                    </a:lnTo>
                    <a:lnTo>
                      <a:pt x="260" y="99"/>
                    </a:lnTo>
                    <a:lnTo>
                      <a:pt x="260" y="89"/>
                    </a:lnTo>
                    <a:lnTo>
                      <a:pt x="260" y="81"/>
                    </a:lnTo>
                    <a:lnTo>
                      <a:pt x="271" y="67"/>
                    </a:lnTo>
                    <a:lnTo>
                      <a:pt x="254"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29" name="Freeform 48">
                <a:extLst>
                  <a:ext uri="{FF2B5EF4-FFF2-40B4-BE49-F238E27FC236}">
                    <a16:creationId xmlns:a16="http://schemas.microsoft.com/office/drawing/2014/main" id="{ACF3B462-1ACD-4FF9-A632-26E82B49C03B}"/>
                  </a:ext>
                </a:extLst>
              </p:cNvPr>
              <p:cNvSpPr>
                <a:spLocks/>
              </p:cNvSpPr>
              <p:nvPr/>
            </p:nvSpPr>
            <p:spPr bwMode="auto">
              <a:xfrm>
                <a:off x="4095539" y="2758032"/>
                <a:ext cx="177289" cy="147378"/>
              </a:xfrm>
              <a:custGeom>
                <a:avLst/>
                <a:gdLst>
                  <a:gd name="T0" fmla="*/ 80962 w 128"/>
                  <a:gd name="T1" fmla="*/ 25400 h 100"/>
                  <a:gd name="T2" fmla="*/ 50800 w 128"/>
                  <a:gd name="T3" fmla="*/ 65088 h 100"/>
                  <a:gd name="T4" fmla="*/ 12700 w 128"/>
                  <a:gd name="T5" fmla="*/ 90487 h 100"/>
                  <a:gd name="T6" fmla="*/ 0 w 128"/>
                  <a:gd name="T7" fmla="*/ 141288 h 100"/>
                  <a:gd name="T8" fmla="*/ 77787 w 128"/>
                  <a:gd name="T9" fmla="*/ 158750 h 100"/>
                  <a:gd name="T10" fmla="*/ 77787 w 128"/>
                  <a:gd name="T11" fmla="*/ 119063 h 100"/>
                  <a:gd name="T12" fmla="*/ 184150 w 128"/>
                  <a:gd name="T13" fmla="*/ 119063 h 100"/>
                  <a:gd name="T14" fmla="*/ 203200 w 128"/>
                  <a:gd name="T15" fmla="*/ 106363 h 100"/>
                  <a:gd name="T16" fmla="*/ 196850 w 128"/>
                  <a:gd name="T17" fmla="*/ 49212 h 100"/>
                  <a:gd name="T18" fmla="*/ 174625 w 128"/>
                  <a:gd name="T19" fmla="*/ 28575 h 100"/>
                  <a:gd name="T20" fmla="*/ 166687 w 128"/>
                  <a:gd name="T21" fmla="*/ 0 h 100"/>
                  <a:gd name="T22" fmla="*/ 80962 w 128"/>
                  <a:gd name="T23" fmla="*/ 25400 h 100"/>
                  <a:gd name="T24" fmla="*/ 80962 w 128"/>
                  <a:gd name="T25" fmla="*/ 2540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8"/>
                  <a:gd name="T40" fmla="*/ 0 h 100"/>
                  <a:gd name="T41" fmla="*/ 128 w 128"/>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8" h="100">
                    <a:moveTo>
                      <a:pt x="51" y="16"/>
                    </a:moveTo>
                    <a:lnTo>
                      <a:pt x="32" y="41"/>
                    </a:lnTo>
                    <a:lnTo>
                      <a:pt x="8" y="57"/>
                    </a:lnTo>
                    <a:lnTo>
                      <a:pt x="0" y="89"/>
                    </a:lnTo>
                    <a:lnTo>
                      <a:pt x="49" y="100"/>
                    </a:lnTo>
                    <a:lnTo>
                      <a:pt x="49" y="75"/>
                    </a:lnTo>
                    <a:lnTo>
                      <a:pt x="116" y="75"/>
                    </a:lnTo>
                    <a:lnTo>
                      <a:pt x="128" y="67"/>
                    </a:lnTo>
                    <a:lnTo>
                      <a:pt x="124" y="31"/>
                    </a:lnTo>
                    <a:lnTo>
                      <a:pt x="110" y="18"/>
                    </a:lnTo>
                    <a:lnTo>
                      <a:pt x="105" y="0"/>
                    </a:lnTo>
                    <a:lnTo>
                      <a:pt x="51"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0" name="Freeform 49">
                <a:extLst>
                  <a:ext uri="{FF2B5EF4-FFF2-40B4-BE49-F238E27FC236}">
                    <a16:creationId xmlns:a16="http://schemas.microsoft.com/office/drawing/2014/main" id="{C3D817B2-F4E2-4571-9F75-0D8921D1CE6E}"/>
                  </a:ext>
                </a:extLst>
              </p:cNvPr>
              <p:cNvSpPr>
                <a:spLocks/>
              </p:cNvSpPr>
              <p:nvPr/>
            </p:nvSpPr>
            <p:spPr bwMode="auto">
              <a:xfrm>
                <a:off x="3800521" y="2707924"/>
                <a:ext cx="159282" cy="134113"/>
              </a:xfrm>
              <a:custGeom>
                <a:avLst/>
                <a:gdLst>
                  <a:gd name="T0" fmla="*/ 115887 w 115"/>
                  <a:gd name="T1" fmla="*/ 12700 h 91"/>
                  <a:gd name="T2" fmla="*/ 79375 w 115"/>
                  <a:gd name="T3" fmla="*/ 0 h 91"/>
                  <a:gd name="T4" fmla="*/ 25400 w 115"/>
                  <a:gd name="T5" fmla="*/ 15875 h 91"/>
                  <a:gd name="T6" fmla="*/ 0 w 115"/>
                  <a:gd name="T7" fmla="*/ 66675 h 91"/>
                  <a:gd name="T8" fmla="*/ 19050 w 115"/>
                  <a:gd name="T9" fmla="*/ 85725 h 91"/>
                  <a:gd name="T10" fmla="*/ 96837 w 115"/>
                  <a:gd name="T11" fmla="*/ 82550 h 91"/>
                  <a:gd name="T12" fmla="*/ 109537 w 115"/>
                  <a:gd name="T13" fmla="*/ 106362 h 91"/>
                  <a:gd name="T14" fmla="*/ 12700 w 115"/>
                  <a:gd name="T15" fmla="*/ 112712 h 91"/>
                  <a:gd name="T16" fmla="*/ 12700 w 115"/>
                  <a:gd name="T17" fmla="*/ 134937 h 91"/>
                  <a:gd name="T18" fmla="*/ 109537 w 115"/>
                  <a:gd name="T19" fmla="*/ 128587 h 91"/>
                  <a:gd name="T20" fmla="*/ 176212 w 115"/>
                  <a:gd name="T21" fmla="*/ 144462 h 91"/>
                  <a:gd name="T22" fmla="*/ 182562 w 115"/>
                  <a:gd name="T23" fmla="*/ 115887 h 91"/>
                  <a:gd name="T24" fmla="*/ 150812 w 115"/>
                  <a:gd name="T25" fmla="*/ 103187 h 91"/>
                  <a:gd name="T26" fmla="*/ 150812 w 115"/>
                  <a:gd name="T27" fmla="*/ 63500 h 91"/>
                  <a:gd name="T28" fmla="*/ 125412 w 115"/>
                  <a:gd name="T29" fmla="*/ 47625 h 91"/>
                  <a:gd name="T30" fmla="*/ 115887 w 115"/>
                  <a:gd name="T31" fmla="*/ 12700 h 91"/>
                  <a:gd name="T32" fmla="*/ 115887 w 115"/>
                  <a:gd name="T33" fmla="*/ 12700 h 9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5"/>
                  <a:gd name="T52" fmla="*/ 0 h 91"/>
                  <a:gd name="T53" fmla="*/ 115 w 115"/>
                  <a:gd name="T54" fmla="*/ 91 h 9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5" h="91">
                    <a:moveTo>
                      <a:pt x="73" y="8"/>
                    </a:moveTo>
                    <a:lnTo>
                      <a:pt x="50" y="0"/>
                    </a:lnTo>
                    <a:lnTo>
                      <a:pt x="16" y="10"/>
                    </a:lnTo>
                    <a:lnTo>
                      <a:pt x="0" y="42"/>
                    </a:lnTo>
                    <a:lnTo>
                      <a:pt x="12" y="54"/>
                    </a:lnTo>
                    <a:lnTo>
                      <a:pt x="61" y="52"/>
                    </a:lnTo>
                    <a:lnTo>
                      <a:pt x="69" y="67"/>
                    </a:lnTo>
                    <a:lnTo>
                      <a:pt x="8" y="71"/>
                    </a:lnTo>
                    <a:lnTo>
                      <a:pt x="8" y="85"/>
                    </a:lnTo>
                    <a:lnTo>
                      <a:pt x="69" y="81"/>
                    </a:lnTo>
                    <a:lnTo>
                      <a:pt x="111" y="91"/>
                    </a:lnTo>
                    <a:lnTo>
                      <a:pt x="115" y="73"/>
                    </a:lnTo>
                    <a:lnTo>
                      <a:pt x="95" y="65"/>
                    </a:lnTo>
                    <a:lnTo>
                      <a:pt x="95" y="40"/>
                    </a:lnTo>
                    <a:lnTo>
                      <a:pt x="79" y="30"/>
                    </a:lnTo>
                    <a:lnTo>
                      <a:pt x="73"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1" name="Freeform 50">
                <a:extLst>
                  <a:ext uri="{FF2B5EF4-FFF2-40B4-BE49-F238E27FC236}">
                    <a16:creationId xmlns:a16="http://schemas.microsoft.com/office/drawing/2014/main" id="{09CCE9EC-0D5C-4737-A280-BCB3A0F5B622}"/>
                  </a:ext>
                </a:extLst>
              </p:cNvPr>
              <p:cNvSpPr>
                <a:spLocks/>
              </p:cNvSpPr>
              <p:nvPr/>
            </p:nvSpPr>
            <p:spPr bwMode="auto">
              <a:xfrm>
                <a:off x="3811601" y="2784560"/>
                <a:ext cx="84488" cy="28001"/>
              </a:xfrm>
              <a:custGeom>
                <a:avLst/>
                <a:gdLst>
                  <a:gd name="T0" fmla="*/ 84137 w 61"/>
                  <a:gd name="T1" fmla="*/ 0 h 19"/>
                  <a:gd name="T2" fmla="*/ 6350 w 61"/>
                  <a:gd name="T3" fmla="*/ 3175 h 19"/>
                  <a:gd name="T4" fmla="*/ 0 w 61"/>
                  <a:gd name="T5" fmla="*/ 30162 h 19"/>
                  <a:gd name="T6" fmla="*/ 96837 w 61"/>
                  <a:gd name="T7" fmla="*/ 23812 h 19"/>
                  <a:gd name="T8" fmla="*/ 84137 w 61"/>
                  <a:gd name="T9" fmla="*/ 0 h 19"/>
                  <a:gd name="T10" fmla="*/ 84137 w 61"/>
                  <a:gd name="T11" fmla="*/ 0 h 19"/>
                  <a:gd name="T12" fmla="*/ 0 60000 65536"/>
                  <a:gd name="T13" fmla="*/ 0 60000 65536"/>
                  <a:gd name="T14" fmla="*/ 0 60000 65536"/>
                  <a:gd name="T15" fmla="*/ 0 60000 65536"/>
                  <a:gd name="T16" fmla="*/ 0 60000 65536"/>
                  <a:gd name="T17" fmla="*/ 0 60000 65536"/>
                  <a:gd name="T18" fmla="*/ 0 w 61"/>
                  <a:gd name="T19" fmla="*/ 0 h 19"/>
                  <a:gd name="T20" fmla="*/ 61 w 6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61" h="19">
                    <a:moveTo>
                      <a:pt x="53" y="0"/>
                    </a:moveTo>
                    <a:lnTo>
                      <a:pt x="4" y="2"/>
                    </a:lnTo>
                    <a:lnTo>
                      <a:pt x="0" y="19"/>
                    </a:lnTo>
                    <a:lnTo>
                      <a:pt x="61" y="15"/>
                    </a:lnTo>
                    <a:lnTo>
                      <a:pt x="5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2" name="Freeform 51">
                <a:extLst>
                  <a:ext uri="{FF2B5EF4-FFF2-40B4-BE49-F238E27FC236}">
                    <a16:creationId xmlns:a16="http://schemas.microsoft.com/office/drawing/2014/main" id="{8C8F91F7-2EF2-44D6-8C89-B35448FE9C34}"/>
                  </a:ext>
                </a:extLst>
              </p:cNvPr>
              <p:cNvSpPr>
                <a:spLocks/>
              </p:cNvSpPr>
              <p:nvPr/>
            </p:nvSpPr>
            <p:spPr bwMode="auto">
              <a:xfrm>
                <a:off x="3943181" y="2940781"/>
                <a:ext cx="98340" cy="116428"/>
              </a:xfrm>
              <a:custGeom>
                <a:avLst/>
                <a:gdLst>
                  <a:gd name="T0" fmla="*/ 36513 w 71"/>
                  <a:gd name="T1" fmla="*/ 0 h 79"/>
                  <a:gd name="T2" fmla="*/ 0 w 71"/>
                  <a:gd name="T3" fmla="*/ 47625 h 79"/>
                  <a:gd name="T4" fmla="*/ 109538 w 71"/>
                  <a:gd name="T5" fmla="*/ 125412 h 79"/>
                  <a:gd name="T6" fmla="*/ 112713 w 71"/>
                  <a:gd name="T7" fmla="*/ 103187 h 79"/>
                  <a:gd name="T8" fmla="*/ 87313 w 71"/>
                  <a:gd name="T9" fmla="*/ 28575 h 79"/>
                  <a:gd name="T10" fmla="*/ 55563 w 71"/>
                  <a:gd name="T11" fmla="*/ 0 h 79"/>
                  <a:gd name="T12" fmla="*/ 36513 w 71"/>
                  <a:gd name="T13" fmla="*/ 0 h 79"/>
                  <a:gd name="T14" fmla="*/ 36513 w 71"/>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9"/>
                  <a:gd name="T26" fmla="*/ 71 w 71"/>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9">
                    <a:moveTo>
                      <a:pt x="23" y="0"/>
                    </a:moveTo>
                    <a:lnTo>
                      <a:pt x="0" y="30"/>
                    </a:lnTo>
                    <a:lnTo>
                      <a:pt x="69" y="79"/>
                    </a:lnTo>
                    <a:lnTo>
                      <a:pt x="71" y="65"/>
                    </a:lnTo>
                    <a:lnTo>
                      <a:pt x="55" y="18"/>
                    </a:lnTo>
                    <a:lnTo>
                      <a:pt x="35" y="0"/>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3" name="Freeform 52">
                <a:extLst>
                  <a:ext uri="{FF2B5EF4-FFF2-40B4-BE49-F238E27FC236}">
                    <a16:creationId xmlns:a16="http://schemas.microsoft.com/office/drawing/2014/main" id="{537783D7-01D7-4407-8903-F4FAAA9CB2EE}"/>
                  </a:ext>
                </a:extLst>
              </p:cNvPr>
              <p:cNvSpPr>
                <a:spLocks/>
              </p:cNvSpPr>
              <p:nvPr/>
            </p:nvSpPr>
            <p:spPr bwMode="auto">
              <a:xfrm>
                <a:off x="3901629" y="2898040"/>
                <a:ext cx="73409" cy="86954"/>
              </a:xfrm>
              <a:custGeom>
                <a:avLst/>
                <a:gdLst>
                  <a:gd name="T0" fmla="*/ 0 w 53"/>
                  <a:gd name="T1" fmla="*/ 33338 h 59"/>
                  <a:gd name="T2" fmla="*/ 15875 w 53"/>
                  <a:gd name="T3" fmla="*/ 80963 h 59"/>
                  <a:gd name="T4" fmla="*/ 47625 w 53"/>
                  <a:gd name="T5" fmla="*/ 93663 h 59"/>
                  <a:gd name="T6" fmla="*/ 84138 w 53"/>
                  <a:gd name="T7" fmla="*/ 46038 h 59"/>
                  <a:gd name="T8" fmla="*/ 69850 w 53"/>
                  <a:gd name="T9" fmla="*/ 0 h 59"/>
                  <a:gd name="T10" fmla="*/ 34925 w 53"/>
                  <a:gd name="T11" fmla="*/ 0 h 59"/>
                  <a:gd name="T12" fmla="*/ 0 w 53"/>
                  <a:gd name="T13" fmla="*/ 33338 h 59"/>
                  <a:gd name="T14" fmla="*/ 0 w 53"/>
                  <a:gd name="T15" fmla="*/ 33338 h 59"/>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59"/>
                  <a:gd name="T26" fmla="*/ 53 w 53"/>
                  <a:gd name="T27" fmla="*/ 59 h 5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59">
                    <a:moveTo>
                      <a:pt x="0" y="21"/>
                    </a:moveTo>
                    <a:lnTo>
                      <a:pt x="10" y="51"/>
                    </a:lnTo>
                    <a:lnTo>
                      <a:pt x="30" y="59"/>
                    </a:lnTo>
                    <a:lnTo>
                      <a:pt x="53" y="29"/>
                    </a:lnTo>
                    <a:lnTo>
                      <a:pt x="44" y="0"/>
                    </a:lnTo>
                    <a:lnTo>
                      <a:pt x="22" y="0"/>
                    </a:lnTo>
                    <a:lnTo>
                      <a:pt x="0" y="2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4" name="Freeform 53">
                <a:extLst>
                  <a:ext uri="{FF2B5EF4-FFF2-40B4-BE49-F238E27FC236}">
                    <a16:creationId xmlns:a16="http://schemas.microsoft.com/office/drawing/2014/main" id="{85595972-EBA3-49B6-AD5B-CA878E680080}"/>
                  </a:ext>
                </a:extLst>
              </p:cNvPr>
              <p:cNvSpPr>
                <a:spLocks/>
              </p:cNvSpPr>
              <p:nvPr/>
            </p:nvSpPr>
            <p:spPr bwMode="auto">
              <a:xfrm>
                <a:off x="3853153" y="2827299"/>
                <a:ext cx="182829" cy="140010"/>
              </a:xfrm>
              <a:custGeom>
                <a:avLst/>
                <a:gdLst>
                  <a:gd name="T0" fmla="*/ 165100 w 132"/>
                  <a:gd name="T1" fmla="*/ 9525 h 95"/>
                  <a:gd name="T2" fmla="*/ 115887 w 132"/>
                  <a:gd name="T3" fmla="*/ 15875 h 95"/>
                  <a:gd name="T4" fmla="*/ 49212 w 132"/>
                  <a:gd name="T5" fmla="*/ 0 h 95"/>
                  <a:gd name="T6" fmla="*/ 55562 w 132"/>
                  <a:gd name="T7" fmla="*/ 15875 h 95"/>
                  <a:gd name="T8" fmla="*/ 0 w 132"/>
                  <a:gd name="T9" fmla="*/ 50800 h 95"/>
                  <a:gd name="T10" fmla="*/ 55562 w 132"/>
                  <a:gd name="T11" fmla="*/ 109538 h 95"/>
                  <a:gd name="T12" fmla="*/ 90487 w 132"/>
                  <a:gd name="T13" fmla="*/ 76200 h 95"/>
                  <a:gd name="T14" fmla="*/ 125412 w 132"/>
                  <a:gd name="T15" fmla="*/ 76200 h 95"/>
                  <a:gd name="T16" fmla="*/ 139700 w 132"/>
                  <a:gd name="T17" fmla="*/ 122238 h 95"/>
                  <a:gd name="T18" fmla="*/ 158750 w 132"/>
                  <a:gd name="T19" fmla="*/ 122238 h 95"/>
                  <a:gd name="T20" fmla="*/ 190500 w 132"/>
                  <a:gd name="T21" fmla="*/ 150813 h 95"/>
                  <a:gd name="T22" fmla="*/ 203200 w 132"/>
                  <a:gd name="T23" fmla="*/ 144463 h 95"/>
                  <a:gd name="T24" fmla="*/ 209550 w 132"/>
                  <a:gd name="T25" fmla="*/ 66675 h 95"/>
                  <a:gd name="T26" fmla="*/ 165100 w 132"/>
                  <a:gd name="T27" fmla="*/ 9525 h 95"/>
                  <a:gd name="T28" fmla="*/ 165100 w 132"/>
                  <a:gd name="T29" fmla="*/ 9525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95"/>
                  <a:gd name="T47" fmla="*/ 132 w 132"/>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95">
                    <a:moveTo>
                      <a:pt x="104" y="6"/>
                    </a:moveTo>
                    <a:lnTo>
                      <a:pt x="73" y="10"/>
                    </a:lnTo>
                    <a:lnTo>
                      <a:pt x="31" y="0"/>
                    </a:lnTo>
                    <a:lnTo>
                      <a:pt x="35" y="10"/>
                    </a:lnTo>
                    <a:lnTo>
                      <a:pt x="0" y="32"/>
                    </a:lnTo>
                    <a:lnTo>
                      <a:pt x="35" y="69"/>
                    </a:lnTo>
                    <a:lnTo>
                      <a:pt x="57" y="48"/>
                    </a:lnTo>
                    <a:lnTo>
                      <a:pt x="79" y="48"/>
                    </a:lnTo>
                    <a:lnTo>
                      <a:pt x="88" y="77"/>
                    </a:lnTo>
                    <a:lnTo>
                      <a:pt x="100" y="77"/>
                    </a:lnTo>
                    <a:lnTo>
                      <a:pt x="120" y="95"/>
                    </a:lnTo>
                    <a:lnTo>
                      <a:pt x="128" y="91"/>
                    </a:lnTo>
                    <a:lnTo>
                      <a:pt x="132" y="42"/>
                    </a:lnTo>
                    <a:lnTo>
                      <a:pt x="10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5" name="Freeform 54">
                <a:extLst>
                  <a:ext uri="{FF2B5EF4-FFF2-40B4-BE49-F238E27FC236}">
                    <a16:creationId xmlns:a16="http://schemas.microsoft.com/office/drawing/2014/main" id="{4A29BC5E-8010-4DFE-849D-175DEE1585D8}"/>
                  </a:ext>
                </a:extLst>
              </p:cNvPr>
              <p:cNvSpPr>
                <a:spLocks/>
              </p:cNvSpPr>
              <p:nvPr/>
            </p:nvSpPr>
            <p:spPr bwMode="auto">
              <a:xfrm>
                <a:off x="3811601" y="2827299"/>
                <a:ext cx="90029" cy="47161"/>
              </a:xfrm>
              <a:custGeom>
                <a:avLst/>
                <a:gdLst>
                  <a:gd name="T0" fmla="*/ 0 w 65"/>
                  <a:gd name="T1" fmla="*/ 6350 h 32"/>
                  <a:gd name="T2" fmla="*/ 34925 w 65"/>
                  <a:gd name="T3" fmla="*/ 28575 h 32"/>
                  <a:gd name="T4" fmla="*/ 47625 w 65"/>
                  <a:gd name="T5" fmla="*/ 50800 h 32"/>
                  <a:gd name="T6" fmla="*/ 103187 w 65"/>
                  <a:gd name="T7" fmla="*/ 15875 h 32"/>
                  <a:gd name="T8" fmla="*/ 96837 w 65"/>
                  <a:gd name="T9" fmla="*/ 0 h 32"/>
                  <a:gd name="T10" fmla="*/ 0 w 65"/>
                  <a:gd name="T11" fmla="*/ 6350 h 32"/>
                  <a:gd name="T12" fmla="*/ 0 w 65"/>
                  <a:gd name="T13" fmla="*/ 6350 h 32"/>
                  <a:gd name="T14" fmla="*/ 0 60000 65536"/>
                  <a:gd name="T15" fmla="*/ 0 60000 65536"/>
                  <a:gd name="T16" fmla="*/ 0 60000 65536"/>
                  <a:gd name="T17" fmla="*/ 0 60000 65536"/>
                  <a:gd name="T18" fmla="*/ 0 60000 65536"/>
                  <a:gd name="T19" fmla="*/ 0 60000 65536"/>
                  <a:gd name="T20" fmla="*/ 0 60000 65536"/>
                  <a:gd name="T21" fmla="*/ 0 w 65"/>
                  <a:gd name="T22" fmla="*/ 0 h 32"/>
                  <a:gd name="T23" fmla="*/ 65 w 65"/>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32">
                    <a:moveTo>
                      <a:pt x="0" y="4"/>
                    </a:moveTo>
                    <a:lnTo>
                      <a:pt x="22" y="18"/>
                    </a:lnTo>
                    <a:lnTo>
                      <a:pt x="30" y="32"/>
                    </a:lnTo>
                    <a:lnTo>
                      <a:pt x="65" y="10"/>
                    </a:lnTo>
                    <a:lnTo>
                      <a:pt x="61" y="0"/>
                    </a:lnTo>
                    <a:lnTo>
                      <a:pt x="0"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6" name="Freeform 55">
                <a:extLst>
                  <a:ext uri="{FF2B5EF4-FFF2-40B4-BE49-F238E27FC236}">
                    <a16:creationId xmlns:a16="http://schemas.microsoft.com/office/drawing/2014/main" id="{F0E8C999-A86B-48BD-A4DF-06771ED81112}"/>
                  </a:ext>
                </a:extLst>
              </p:cNvPr>
              <p:cNvSpPr>
                <a:spLocks/>
              </p:cNvSpPr>
              <p:nvPr/>
            </p:nvSpPr>
            <p:spPr bwMode="auto">
              <a:xfrm>
                <a:off x="4019361" y="2889198"/>
                <a:ext cx="152357" cy="168011"/>
              </a:xfrm>
              <a:custGeom>
                <a:avLst/>
                <a:gdLst>
                  <a:gd name="T0" fmla="*/ 165100 w 110"/>
                  <a:gd name="T1" fmla="*/ 142875 h 114"/>
                  <a:gd name="T2" fmla="*/ 150813 w 110"/>
                  <a:gd name="T3" fmla="*/ 109538 h 114"/>
                  <a:gd name="T4" fmla="*/ 174625 w 110"/>
                  <a:gd name="T5" fmla="*/ 58738 h 114"/>
                  <a:gd name="T6" fmla="*/ 165100 w 110"/>
                  <a:gd name="T7" fmla="*/ 17463 h 114"/>
                  <a:gd name="T8" fmla="*/ 87313 w 110"/>
                  <a:gd name="T9" fmla="*/ 0 h 114"/>
                  <a:gd name="T10" fmla="*/ 19050 w 110"/>
                  <a:gd name="T11" fmla="*/ 0 h 114"/>
                  <a:gd name="T12" fmla="*/ 12700 w 110"/>
                  <a:gd name="T13" fmla="*/ 77788 h 114"/>
                  <a:gd name="T14" fmla="*/ 0 w 110"/>
                  <a:gd name="T15" fmla="*/ 84138 h 114"/>
                  <a:gd name="T16" fmla="*/ 25400 w 110"/>
                  <a:gd name="T17" fmla="*/ 158750 h 114"/>
                  <a:gd name="T18" fmla="*/ 22225 w 110"/>
                  <a:gd name="T19" fmla="*/ 180975 h 114"/>
                  <a:gd name="T20" fmla="*/ 125413 w 110"/>
                  <a:gd name="T21" fmla="*/ 152400 h 114"/>
                  <a:gd name="T22" fmla="*/ 158750 w 110"/>
                  <a:gd name="T23" fmla="*/ 168275 h 114"/>
                  <a:gd name="T24" fmla="*/ 165100 w 110"/>
                  <a:gd name="T25" fmla="*/ 142875 h 114"/>
                  <a:gd name="T26" fmla="*/ 165100 w 110"/>
                  <a:gd name="T27" fmla="*/ 142875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0"/>
                  <a:gd name="T43" fmla="*/ 0 h 114"/>
                  <a:gd name="T44" fmla="*/ 110 w 110"/>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0" h="114">
                    <a:moveTo>
                      <a:pt x="104" y="90"/>
                    </a:moveTo>
                    <a:lnTo>
                      <a:pt x="95" y="69"/>
                    </a:lnTo>
                    <a:lnTo>
                      <a:pt x="110" y="37"/>
                    </a:lnTo>
                    <a:lnTo>
                      <a:pt x="104" y="11"/>
                    </a:lnTo>
                    <a:lnTo>
                      <a:pt x="55" y="0"/>
                    </a:lnTo>
                    <a:lnTo>
                      <a:pt x="12" y="0"/>
                    </a:lnTo>
                    <a:lnTo>
                      <a:pt x="8" y="49"/>
                    </a:lnTo>
                    <a:lnTo>
                      <a:pt x="0" y="53"/>
                    </a:lnTo>
                    <a:lnTo>
                      <a:pt x="16" y="100"/>
                    </a:lnTo>
                    <a:lnTo>
                      <a:pt x="14" y="114"/>
                    </a:lnTo>
                    <a:lnTo>
                      <a:pt x="79" y="96"/>
                    </a:lnTo>
                    <a:lnTo>
                      <a:pt x="100" y="106"/>
                    </a:lnTo>
                    <a:lnTo>
                      <a:pt x="104" y="9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7" name="Freeform 56">
                <a:extLst>
                  <a:ext uri="{FF2B5EF4-FFF2-40B4-BE49-F238E27FC236}">
                    <a16:creationId xmlns:a16="http://schemas.microsoft.com/office/drawing/2014/main" id="{874C5AF5-50F0-4792-922B-B6DDE6044D95}"/>
                  </a:ext>
                </a:extLst>
              </p:cNvPr>
              <p:cNvSpPr>
                <a:spLocks/>
              </p:cNvSpPr>
              <p:nvPr/>
            </p:nvSpPr>
            <p:spPr bwMode="auto">
              <a:xfrm>
                <a:off x="5263147" y="2638655"/>
                <a:ext cx="238231" cy="188644"/>
              </a:xfrm>
              <a:custGeom>
                <a:avLst/>
                <a:gdLst>
                  <a:gd name="T0" fmla="*/ 96837 w 172"/>
                  <a:gd name="T1" fmla="*/ 77787 h 128"/>
                  <a:gd name="T2" fmla="*/ 44450 w 172"/>
                  <a:gd name="T3" fmla="*/ 41275 h 128"/>
                  <a:gd name="T4" fmla="*/ 19050 w 172"/>
                  <a:gd name="T5" fmla="*/ 50800 h 128"/>
                  <a:gd name="T6" fmla="*/ 19050 w 172"/>
                  <a:gd name="T7" fmla="*/ 77787 h 128"/>
                  <a:gd name="T8" fmla="*/ 0 w 172"/>
                  <a:gd name="T9" fmla="*/ 87312 h 128"/>
                  <a:gd name="T10" fmla="*/ 25400 w 172"/>
                  <a:gd name="T11" fmla="*/ 193675 h 128"/>
                  <a:gd name="T12" fmla="*/ 34925 w 172"/>
                  <a:gd name="T13" fmla="*/ 203200 h 128"/>
                  <a:gd name="T14" fmla="*/ 193675 w 172"/>
                  <a:gd name="T15" fmla="*/ 131762 h 128"/>
                  <a:gd name="T16" fmla="*/ 257175 w 172"/>
                  <a:gd name="T17" fmla="*/ 112712 h 128"/>
                  <a:gd name="T18" fmla="*/ 273050 w 172"/>
                  <a:gd name="T19" fmla="*/ 77787 h 128"/>
                  <a:gd name="T20" fmla="*/ 257175 w 172"/>
                  <a:gd name="T21" fmla="*/ 0 h 128"/>
                  <a:gd name="T22" fmla="*/ 141287 w 172"/>
                  <a:gd name="T23" fmla="*/ 15875 h 128"/>
                  <a:gd name="T24" fmla="*/ 96837 w 172"/>
                  <a:gd name="T25" fmla="*/ 77787 h 128"/>
                  <a:gd name="T26" fmla="*/ 96837 w 172"/>
                  <a:gd name="T27" fmla="*/ 77787 h 1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28"/>
                  <a:gd name="T44" fmla="*/ 172 w 172"/>
                  <a:gd name="T45" fmla="*/ 128 h 12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28">
                    <a:moveTo>
                      <a:pt x="61" y="49"/>
                    </a:moveTo>
                    <a:lnTo>
                      <a:pt x="28" y="26"/>
                    </a:lnTo>
                    <a:lnTo>
                      <a:pt x="12" y="32"/>
                    </a:lnTo>
                    <a:lnTo>
                      <a:pt x="12" y="49"/>
                    </a:lnTo>
                    <a:lnTo>
                      <a:pt x="0" y="55"/>
                    </a:lnTo>
                    <a:lnTo>
                      <a:pt x="16" y="122"/>
                    </a:lnTo>
                    <a:lnTo>
                      <a:pt x="22" y="128"/>
                    </a:lnTo>
                    <a:lnTo>
                      <a:pt x="122" y="83"/>
                    </a:lnTo>
                    <a:lnTo>
                      <a:pt x="162" y="71"/>
                    </a:lnTo>
                    <a:lnTo>
                      <a:pt x="172" y="49"/>
                    </a:lnTo>
                    <a:lnTo>
                      <a:pt x="162" y="0"/>
                    </a:lnTo>
                    <a:lnTo>
                      <a:pt x="89" y="10"/>
                    </a:lnTo>
                    <a:lnTo>
                      <a:pt x="61" y="4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8" name="Freeform 57">
                <a:extLst>
                  <a:ext uri="{FF2B5EF4-FFF2-40B4-BE49-F238E27FC236}">
                    <a16:creationId xmlns:a16="http://schemas.microsoft.com/office/drawing/2014/main" id="{1174C407-9978-48C4-8322-610681A7E879}"/>
                  </a:ext>
                </a:extLst>
              </p:cNvPr>
              <p:cNvSpPr>
                <a:spLocks/>
              </p:cNvSpPr>
              <p:nvPr/>
            </p:nvSpPr>
            <p:spPr bwMode="auto">
              <a:xfrm>
                <a:off x="5487527" y="2470646"/>
                <a:ext cx="177289" cy="240227"/>
              </a:xfrm>
              <a:custGeom>
                <a:avLst/>
                <a:gdLst>
                  <a:gd name="T0" fmla="*/ 203200 w 128"/>
                  <a:gd name="T1" fmla="*/ 74613 h 163"/>
                  <a:gd name="T2" fmla="*/ 138112 w 128"/>
                  <a:gd name="T3" fmla="*/ 46038 h 163"/>
                  <a:gd name="T4" fmla="*/ 106362 w 128"/>
                  <a:gd name="T5" fmla="*/ 0 h 163"/>
                  <a:gd name="T6" fmla="*/ 77787 w 128"/>
                  <a:gd name="T7" fmla="*/ 65088 h 163"/>
                  <a:gd name="T8" fmla="*/ 96837 w 128"/>
                  <a:gd name="T9" fmla="*/ 90488 h 163"/>
                  <a:gd name="T10" fmla="*/ 52387 w 128"/>
                  <a:gd name="T11" fmla="*/ 161925 h 163"/>
                  <a:gd name="T12" fmla="*/ 0 w 128"/>
                  <a:gd name="T13" fmla="*/ 180975 h 163"/>
                  <a:gd name="T14" fmla="*/ 15875 w 128"/>
                  <a:gd name="T15" fmla="*/ 258763 h 163"/>
                  <a:gd name="T16" fmla="*/ 71437 w 128"/>
                  <a:gd name="T17" fmla="*/ 241300 h 163"/>
                  <a:gd name="T18" fmla="*/ 77787 w 128"/>
                  <a:gd name="T19" fmla="*/ 222250 h 163"/>
                  <a:gd name="T20" fmla="*/ 112712 w 128"/>
                  <a:gd name="T21" fmla="*/ 212725 h 163"/>
                  <a:gd name="T22" fmla="*/ 122237 w 128"/>
                  <a:gd name="T23" fmla="*/ 196850 h 163"/>
                  <a:gd name="T24" fmla="*/ 149225 w 128"/>
                  <a:gd name="T25" fmla="*/ 180975 h 163"/>
                  <a:gd name="T26" fmla="*/ 203200 w 128"/>
                  <a:gd name="T27" fmla="*/ 74613 h 163"/>
                  <a:gd name="T28" fmla="*/ 203200 w 128"/>
                  <a:gd name="T29" fmla="*/ 74613 h 1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8"/>
                  <a:gd name="T46" fmla="*/ 0 h 163"/>
                  <a:gd name="T47" fmla="*/ 128 w 128"/>
                  <a:gd name="T48" fmla="*/ 163 h 1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8" h="163">
                    <a:moveTo>
                      <a:pt x="128" y="47"/>
                    </a:moveTo>
                    <a:lnTo>
                      <a:pt x="87" y="29"/>
                    </a:lnTo>
                    <a:lnTo>
                      <a:pt x="67" y="0"/>
                    </a:lnTo>
                    <a:lnTo>
                      <a:pt x="49" y="41"/>
                    </a:lnTo>
                    <a:lnTo>
                      <a:pt x="61" y="57"/>
                    </a:lnTo>
                    <a:lnTo>
                      <a:pt x="33" y="102"/>
                    </a:lnTo>
                    <a:lnTo>
                      <a:pt x="0" y="114"/>
                    </a:lnTo>
                    <a:lnTo>
                      <a:pt x="10" y="163"/>
                    </a:lnTo>
                    <a:lnTo>
                      <a:pt x="45" y="152"/>
                    </a:lnTo>
                    <a:lnTo>
                      <a:pt x="49" y="140"/>
                    </a:lnTo>
                    <a:lnTo>
                      <a:pt x="71" y="134"/>
                    </a:lnTo>
                    <a:lnTo>
                      <a:pt x="77" y="124"/>
                    </a:lnTo>
                    <a:lnTo>
                      <a:pt x="94" y="114"/>
                    </a:lnTo>
                    <a:lnTo>
                      <a:pt x="128" y="4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39" name="Freeform 58">
                <a:extLst>
                  <a:ext uri="{FF2B5EF4-FFF2-40B4-BE49-F238E27FC236}">
                    <a16:creationId xmlns:a16="http://schemas.microsoft.com/office/drawing/2014/main" id="{B2AA12DB-4EFF-4AFA-A1A4-10A0741CA9CC}"/>
                  </a:ext>
                </a:extLst>
              </p:cNvPr>
              <p:cNvSpPr>
                <a:spLocks/>
              </p:cNvSpPr>
              <p:nvPr/>
            </p:nvSpPr>
            <p:spPr bwMode="auto">
              <a:xfrm>
                <a:off x="5054002" y="2267263"/>
                <a:ext cx="518013" cy="452451"/>
              </a:xfrm>
              <a:custGeom>
                <a:avLst/>
                <a:gdLst>
                  <a:gd name="T0" fmla="*/ 71438 w 374"/>
                  <a:gd name="T1" fmla="*/ 61913 h 307"/>
                  <a:gd name="T2" fmla="*/ 36513 w 374"/>
                  <a:gd name="T3" fmla="*/ 96838 h 307"/>
                  <a:gd name="T4" fmla="*/ 0 w 374"/>
                  <a:gd name="T5" fmla="*/ 80963 h 307"/>
                  <a:gd name="T6" fmla="*/ 0 w 374"/>
                  <a:gd name="T7" fmla="*/ 131763 h 307"/>
                  <a:gd name="T8" fmla="*/ 46037 w 374"/>
                  <a:gd name="T9" fmla="*/ 212725 h 307"/>
                  <a:gd name="T10" fmla="*/ 115888 w 374"/>
                  <a:gd name="T11" fmla="*/ 284163 h 307"/>
                  <a:gd name="T12" fmla="*/ 115888 w 374"/>
                  <a:gd name="T13" fmla="*/ 325438 h 307"/>
                  <a:gd name="T14" fmla="*/ 168275 w 374"/>
                  <a:gd name="T15" fmla="*/ 390525 h 307"/>
                  <a:gd name="T16" fmla="*/ 239713 w 374"/>
                  <a:gd name="T17" fmla="*/ 487363 h 307"/>
                  <a:gd name="T18" fmla="*/ 258763 w 374"/>
                  <a:gd name="T19" fmla="*/ 477838 h 307"/>
                  <a:gd name="T20" fmla="*/ 258763 w 374"/>
                  <a:gd name="T21" fmla="*/ 450850 h 307"/>
                  <a:gd name="T22" fmla="*/ 284163 w 374"/>
                  <a:gd name="T23" fmla="*/ 441325 h 307"/>
                  <a:gd name="T24" fmla="*/ 336550 w 374"/>
                  <a:gd name="T25" fmla="*/ 477838 h 307"/>
                  <a:gd name="T26" fmla="*/ 381000 w 374"/>
                  <a:gd name="T27" fmla="*/ 415925 h 307"/>
                  <a:gd name="T28" fmla="*/ 496888 w 374"/>
                  <a:gd name="T29" fmla="*/ 400050 h 307"/>
                  <a:gd name="T30" fmla="*/ 549275 w 374"/>
                  <a:gd name="T31" fmla="*/ 381000 h 307"/>
                  <a:gd name="T32" fmla="*/ 593725 w 374"/>
                  <a:gd name="T33" fmla="*/ 309563 h 307"/>
                  <a:gd name="T34" fmla="*/ 574675 w 374"/>
                  <a:gd name="T35" fmla="*/ 284163 h 307"/>
                  <a:gd name="T36" fmla="*/ 558800 w 374"/>
                  <a:gd name="T37" fmla="*/ 293688 h 307"/>
                  <a:gd name="T38" fmla="*/ 477838 w 374"/>
                  <a:gd name="T39" fmla="*/ 284163 h 307"/>
                  <a:gd name="T40" fmla="*/ 461963 w 374"/>
                  <a:gd name="T41" fmla="*/ 247650 h 307"/>
                  <a:gd name="T42" fmla="*/ 442913 w 374"/>
                  <a:gd name="T43" fmla="*/ 228600 h 307"/>
                  <a:gd name="T44" fmla="*/ 433388 w 374"/>
                  <a:gd name="T45" fmla="*/ 212725 h 307"/>
                  <a:gd name="T46" fmla="*/ 425450 w 374"/>
                  <a:gd name="T47" fmla="*/ 177800 h 307"/>
                  <a:gd name="T48" fmla="*/ 361950 w 374"/>
                  <a:gd name="T49" fmla="*/ 131763 h 307"/>
                  <a:gd name="T50" fmla="*/ 361950 w 374"/>
                  <a:gd name="T51" fmla="*/ 112713 h 307"/>
                  <a:gd name="T52" fmla="*/ 330200 w 374"/>
                  <a:gd name="T53" fmla="*/ 96838 h 307"/>
                  <a:gd name="T54" fmla="*/ 265113 w 374"/>
                  <a:gd name="T55" fmla="*/ 96838 h 307"/>
                  <a:gd name="T56" fmla="*/ 239713 w 374"/>
                  <a:gd name="T57" fmla="*/ 87313 h 307"/>
                  <a:gd name="T58" fmla="*/ 223838 w 374"/>
                  <a:gd name="T59" fmla="*/ 52388 h 307"/>
                  <a:gd name="T60" fmla="*/ 106363 w 374"/>
                  <a:gd name="T61" fmla="*/ 0 h 307"/>
                  <a:gd name="T62" fmla="*/ 71438 w 374"/>
                  <a:gd name="T63" fmla="*/ 15875 h 307"/>
                  <a:gd name="T64" fmla="*/ 61913 w 374"/>
                  <a:gd name="T65" fmla="*/ 42863 h 307"/>
                  <a:gd name="T66" fmla="*/ 71438 w 374"/>
                  <a:gd name="T67" fmla="*/ 61913 h 307"/>
                  <a:gd name="T68" fmla="*/ 71438 w 374"/>
                  <a:gd name="T69" fmla="*/ 61913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74"/>
                  <a:gd name="T106" fmla="*/ 0 h 307"/>
                  <a:gd name="T107" fmla="*/ 374 w 374"/>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74" h="307">
                    <a:moveTo>
                      <a:pt x="45" y="39"/>
                    </a:moveTo>
                    <a:lnTo>
                      <a:pt x="23" y="61"/>
                    </a:lnTo>
                    <a:lnTo>
                      <a:pt x="0" y="51"/>
                    </a:lnTo>
                    <a:lnTo>
                      <a:pt x="0" y="83"/>
                    </a:lnTo>
                    <a:lnTo>
                      <a:pt x="29" y="134"/>
                    </a:lnTo>
                    <a:lnTo>
                      <a:pt x="73" y="179"/>
                    </a:lnTo>
                    <a:lnTo>
                      <a:pt x="73" y="205"/>
                    </a:lnTo>
                    <a:lnTo>
                      <a:pt x="106" y="246"/>
                    </a:lnTo>
                    <a:lnTo>
                      <a:pt x="151" y="307"/>
                    </a:lnTo>
                    <a:lnTo>
                      <a:pt x="163" y="301"/>
                    </a:lnTo>
                    <a:lnTo>
                      <a:pt x="163" y="284"/>
                    </a:lnTo>
                    <a:lnTo>
                      <a:pt x="179" y="278"/>
                    </a:lnTo>
                    <a:lnTo>
                      <a:pt x="212" y="301"/>
                    </a:lnTo>
                    <a:lnTo>
                      <a:pt x="240" y="262"/>
                    </a:lnTo>
                    <a:lnTo>
                      <a:pt x="313" y="252"/>
                    </a:lnTo>
                    <a:lnTo>
                      <a:pt x="346" y="240"/>
                    </a:lnTo>
                    <a:lnTo>
                      <a:pt x="374" y="195"/>
                    </a:lnTo>
                    <a:lnTo>
                      <a:pt x="362" y="179"/>
                    </a:lnTo>
                    <a:lnTo>
                      <a:pt x="352" y="185"/>
                    </a:lnTo>
                    <a:lnTo>
                      <a:pt x="301" y="179"/>
                    </a:lnTo>
                    <a:lnTo>
                      <a:pt x="291" y="156"/>
                    </a:lnTo>
                    <a:lnTo>
                      <a:pt x="279" y="144"/>
                    </a:lnTo>
                    <a:lnTo>
                      <a:pt x="273" y="134"/>
                    </a:lnTo>
                    <a:lnTo>
                      <a:pt x="268" y="112"/>
                    </a:lnTo>
                    <a:lnTo>
                      <a:pt x="228" y="83"/>
                    </a:lnTo>
                    <a:lnTo>
                      <a:pt x="228" y="71"/>
                    </a:lnTo>
                    <a:lnTo>
                      <a:pt x="208" y="61"/>
                    </a:lnTo>
                    <a:lnTo>
                      <a:pt x="167" y="61"/>
                    </a:lnTo>
                    <a:lnTo>
                      <a:pt x="151" y="55"/>
                    </a:lnTo>
                    <a:lnTo>
                      <a:pt x="141" y="33"/>
                    </a:lnTo>
                    <a:lnTo>
                      <a:pt x="67" y="0"/>
                    </a:lnTo>
                    <a:lnTo>
                      <a:pt x="45" y="10"/>
                    </a:lnTo>
                    <a:lnTo>
                      <a:pt x="39" y="27"/>
                    </a:lnTo>
                    <a:lnTo>
                      <a:pt x="45"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0" name="Freeform 59">
                <a:extLst>
                  <a:ext uri="{FF2B5EF4-FFF2-40B4-BE49-F238E27FC236}">
                    <a16:creationId xmlns:a16="http://schemas.microsoft.com/office/drawing/2014/main" id="{1624DAF8-69A2-4661-8F27-E0949D91A19F}"/>
                  </a:ext>
                </a:extLst>
              </p:cNvPr>
              <p:cNvSpPr>
                <a:spLocks/>
              </p:cNvSpPr>
              <p:nvPr/>
            </p:nvSpPr>
            <p:spPr bwMode="auto">
              <a:xfrm>
                <a:off x="5457056" y="2441169"/>
                <a:ext cx="123270" cy="98745"/>
              </a:xfrm>
              <a:custGeom>
                <a:avLst/>
                <a:gdLst>
                  <a:gd name="T0" fmla="*/ 141287 w 89"/>
                  <a:gd name="T1" fmla="*/ 31750 h 67"/>
                  <a:gd name="T2" fmla="*/ 122237 w 89"/>
                  <a:gd name="T3" fmla="*/ 0 h 67"/>
                  <a:gd name="T4" fmla="*/ 87312 w 89"/>
                  <a:gd name="T5" fmla="*/ 31750 h 67"/>
                  <a:gd name="T6" fmla="*/ 15875 w 89"/>
                  <a:gd name="T7" fmla="*/ 50800 h 67"/>
                  <a:gd name="T8" fmla="*/ 0 w 89"/>
                  <a:gd name="T9" fmla="*/ 60325 h 67"/>
                  <a:gd name="T10" fmla="*/ 15875 w 89"/>
                  <a:gd name="T11" fmla="*/ 96838 h 67"/>
                  <a:gd name="T12" fmla="*/ 96837 w 89"/>
                  <a:gd name="T13" fmla="*/ 106363 h 67"/>
                  <a:gd name="T14" fmla="*/ 112712 w 89"/>
                  <a:gd name="T15" fmla="*/ 96838 h 67"/>
                  <a:gd name="T16" fmla="*/ 141287 w 89"/>
                  <a:gd name="T17" fmla="*/ 31750 h 67"/>
                  <a:gd name="T18" fmla="*/ 141287 w 89"/>
                  <a:gd name="T19" fmla="*/ 31750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9"/>
                  <a:gd name="T31" fmla="*/ 0 h 67"/>
                  <a:gd name="T32" fmla="*/ 89 w 89"/>
                  <a:gd name="T33" fmla="*/ 67 h 6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9" h="67">
                    <a:moveTo>
                      <a:pt x="89" y="20"/>
                    </a:moveTo>
                    <a:lnTo>
                      <a:pt x="77" y="0"/>
                    </a:lnTo>
                    <a:lnTo>
                      <a:pt x="55" y="20"/>
                    </a:lnTo>
                    <a:lnTo>
                      <a:pt x="10" y="32"/>
                    </a:lnTo>
                    <a:lnTo>
                      <a:pt x="0" y="38"/>
                    </a:lnTo>
                    <a:lnTo>
                      <a:pt x="10" y="61"/>
                    </a:lnTo>
                    <a:lnTo>
                      <a:pt x="61" y="67"/>
                    </a:lnTo>
                    <a:lnTo>
                      <a:pt x="71" y="61"/>
                    </a:lnTo>
                    <a:lnTo>
                      <a:pt x="89" y="2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1" name="Freeform 60">
                <a:extLst>
                  <a:ext uri="{FF2B5EF4-FFF2-40B4-BE49-F238E27FC236}">
                    <a16:creationId xmlns:a16="http://schemas.microsoft.com/office/drawing/2014/main" id="{3A82BD50-84EB-43E7-8717-07ADBBB741C7}"/>
                  </a:ext>
                </a:extLst>
              </p:cNvPr>
              <p:cNvSpPr>
                <a:spLocks/>
              </p:cNvSpPr>
              <p:nvPr/>
            </p:nvSpPr>
            <p:spPr bwMode="auto">
              <a:xfrm>
                <a:off x="5448745" y="2423483"/>
                <a:ext cx="22161" cy="73688"/>
              </a:xfrm>
              <a:custGeom>
                <a:avLst/>
                <a:gdLst>
                  <a:gd name="T0" fmla="*/ 9525 w 16"/>
                  <a:gd name="T1" fmla="*/ 79375 h 50"/>
                  <a:gd name="T2" fmla="*/ 25400 w 16"/>
                  <a:gd name="T3" fmla="*/ 69850 h 50"/>
                  <a:gd name="T4" fmla="*/ 25400 w 16"/>
                  <a:gd name="T5" fmla="*/ 34925 h 50"/>
                  <a:gd name="T6" fmla="*/ 15875 w 16"/>
                  <a:gd name="T7" fmla="*/ 9525 h 50"/>
                  <a:gd name="T8" fmla="*/ 0 w 16"/>
                  <a:gd name="T9" fmla="*/ 0 h 50"/>
                  <a:gd name="T10" fmla="*/ 0 w 16"/>
                  <a:gd name="T11" fmla="*/ 50800 h 50"/>
                  <a:gd name="T12" fmla="*/ 9525 w 16"/>
                  <a:gd name="T13" fmla="*/ 79375 h 50"/>
                  <a:gd name="T14" fmla="*/ 9525 w 16"/>
                  <a:gd name="T15" fmla="*/ 79375 h 50"/>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50"/>
                  <a:gd name="T26" fmla="*/ 16 w 16"/>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50">
                    <a:moveTo>
                      <a:pt x="6" y="50"/>
                    </a:moveTo>
                    <a:lnTo>
                      <a:pt x="16" y="44"/>
                    </a:lnTo>
                    <a:lnTo>
                      <a:pt x="16" y="22"/>
                    </a:lnTo>
                    <a:lnTo>
                      <a:pt x="10" y="6"/>
                    </a:lnTo>
                    <a:lnTo>
                      <a:pt x="0" y="0"/>
                    </a:lnTo>
                    <a:lnTo>
                      <a:pt x="0" y="32"/>
                    </a:lnTo>
                    <a:lnTo>
                      <a:pt x="6" y="5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2" name="Freeform 61">
                <a:extLst>
                  <a:ext uri="{FF2B5EF4-FFF2-40B4-BE49-F238E27FC236}">
                    <a16:creationId xmlns:a16="http://schemas.microsoft.com/office/drawing/2014/main" id="{FD713043-49D3-4590-87B8-EB291F134D5A}"/>
                  </a:ext>
                </a:extLst>
              </p:cNvPr>
              <p:cNvSpPr>
                <a:spLocks/>
              </p:cNvSpPr>
              <p:nvPr/>
            </p:nvSpPr>
            <p:spPr bwMode="auto">
              <a:xfrm>
                <a:off x="5342095" y="2324741"/>
                <a:ext cx="27702" cy="47161"/>
              </a:xfrm>
              <a:custGeom>
                <a:avLst/>
                <a:gdLst>
                  <a:gd name="T0" fmla="*/ 0 w 20"/>
                  <a:gd name="T1" fmla="*/ 9525 h 32"/>
                  <a:gd name="T2" fmla="*/ 0 w 20"/>
                  <a:gd name="T3" fmla="*/ 34925 h 32"/>
                  <a:gd name="T4" fmla="*/ 31750 w 20"/>
                  <a:gd name="T5" fmla="*/ 50800 h 32"/>
                  <a:gd name="T6" fmla="*/ 31750 w 20"/>
                  <a:gd name="T7" fmla="*/ 0 h 32"/>
                  <a:gd name="T8" fmla="*/ 0 w 20"/>
                  <a:gd name="T9" fmla="*/ 9525 h 32"/>
                  <a:gd name="T10" fmla="*/ 0 w 20"/>
                  <a:gd name="T11" fmla="*/ 9525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0" y="6"/>
                    </a:moveTo>
                    <a:lnTo>
                      <a:pt x="0" y="22"/>
                    </a:lnTo>
                    <a:lnTo>
                      <a:pt x="20" y="32"/>
                    </a:lnTo>
                    <a:lnTo>
                      <a:pt x="20"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3" name="Freeform 62">
                <a:extLst>
                  <a:ext uri="{FF2B5EF4-FFF2-40B4-BE49-F238E27FC236}">
                    <a16:creationId xmlns:a16="http://schemas.microsoft.com/office/drawing/2014/main" id="{8E3354A6-B268-4A24-ADB2-64E5CF038730}"/>
                  </a:ext>
                </a:extLst>
              </p:cNvPr>
              <p:cNvSpPr>
                <a:spLocks/>
              </p:cNvSpPr>
              <p:nvPr/>
            </p:nvSpPr>
            <p:spPr bwMode="auto">
              <a:xfrm>
                <a:off x="5138492" y="2127254"/>
                <a:ext cx="239615" cy="229910"/>
              </a:xfrm>
              <a:custGeom>
                <a:avLst/>
                <a:gdLst>
                  <a:gd name="T0" fmla="*/ 187325 w 173"/>
                  <a:gd name="T1" fmla="*/ 60325 h 156"/>
                  <a:gd name="T2" fmla="*/ 142875 w 173"/>
                  <a:gd name="T3" fmla="*/ 9525 h 156"/>
                  <a:gd name="T4" fmla="*/ 80962 w 173"/>
                  <a:gd name="T5" fmla="*/ 0 h 156"/>
                  <a:gd name="T6" fmla="*/ 55562 w 173"/>
                  <a:gd name="T7" fmla="*/ 34925 h 156"/>
                  <a:gd name="T8" fmla="*/ 55562 w 173"/>
                  <a:gd name="T9" fmla="*/ 87312 h 156"/>
                  <a:gd name="T10" fmla="*/ 0 w 173"/>
                  <a:gd name="T11" fmla="*/ 115888 h 156"/>
                  <a:gd name="T12" fmla="*/ 9525 w 173"/>
                  <a:gd name="T13" fmla="*/ 150812 h 156"/>
                  <a:gd name="T14" fmla="*/ 127000 w 173"/>
                  <a:gd name="T15" fmla="*/ 203200 h 156"/>
                  <a:gd name="T16" fmla="*/ 142875 w 173"/>
                  <a:gd name="T17" fmla="*/ 238125 h 156"/>
                  <a:gd name="T18" fmla="*/ 168275 w 173"/>
                  <a:gd name="T19" fmla="*/ 247650 h 156"/>
                  <a:gd name="T20" fmla="*/ 233362 w 173"/>
                  <a:gd name="T21" fmla="*/ 247650 h 156"/>
                  <a:gd name="T22" fmla="*/ 233362 w 173"/>
                  <a:gd name="T23" fmla="*/ 222250 h 156"/>
                  <a:gd name="T24" fmla="*/ 265112 w 173"/>
                  <a:gd name="T25" fmla="*/ 212725 h 156"/>
                  <a:gd name="T26" fmla="*/ 274637 w 173"/>
                  <a:gd name="T27" fmla="*/ 203200 h 156"/>
                  <a:gd name="T28" fmla="*/ 239712 w 173"/>
                  <a:gd name="T29" fmla="*/ 176212 h 156"/>
                  <a:gd name="T30" fmla="*/ 239712 w 173"/>
                  <a:gd name="T31" fmla="*/ 150812 h 156"/>
                  <a:gd name="T32" fmla="*/ 187325 w 173"/>
                  <a:gd name="T33" fmla="*/ 115888 h 156"/>
                  <a:gd name="T34" fmla="*/ 177800 w 173"/>
                  <a:gd name="T35" fmla="*/ 79375 h 156"/>
                  <a:gd name="T36" fmla="*/ 187325 w 173"/>
                  <a:gd name="T37" fmla="*/ 60325 h 156"/>
                  <a:gd name="T38" fmla="*/ 187325 w 173"/>
                  <a:gd name="T39" fmla="*/ 60325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3"/>
                  <a:gd name="T61" fmla="*/ 0 h 156"/>
                  <a:gd name="T62" fmla="*/ 173 w 173"/>
                  <a:gd name="T63" fmla="*/ 156 h 1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3" h="156">
                    <a:moveTo>
                      <a:pt x="118" y="38"/>
                    </a:moveTo>
                    <a:lnTo>
                      <a:pt x="90" y="6"/>
                    </a:lnTo>
                    <a:lnTo>
                      <a:pt x="51" y="0"/>
                    </a:lnTo>
                    <a:lnTo>
                      <a:pt x="35" y="22"/>
                    </a:lnTo>
                    <a:lnTo>
                      <a:pt x="35" y="55"/>
                    </a:lnTo>
                    <a:lnTo>
                      <a:pt x="0" y="73"/>
                    </a:lnTo>
                    <a:lnTo>
                      <a:pt x="6" y="95"/>
                    </a:lnTo>
                    <a:lnTo>
                      <a:pt x="80" y="128"/>
                    </a:lnTo>
                    <a:lnTo>
                      <a:pt x="90" y="150"/>
                    </a:lnTo>
                    <a:lnTo>
                      <a:pt x="106" y="156"/>
                    </a:lnTo>
                    <a:lnTo>
                      <a:pt x="147" y="156"/>
                    </a:lnTo>
                    <a:lnTo>
                      <a:pt x="147" y="140"/>
                    </a:lnTo>
                    <a:lnTo>
                      <a:pt x="167" y="134"/>
                    </a:lnTo>
                    <a:lnTo>
                      <a:pt x="173" y="128"/>
                    </a:lnTo>
                    <a:lnTo>
                      <a:pt x="151" y="111"/>
                    </a:lnTo>
                    <a:lnTo>
                      <a:pt x="151" y="95"/>
                    </a:lnTo>
                    <a:lnTo>
                      <a:pt x="118" y="73"/>
                    </a:lnTo>
                    <a:lnTo>
                      <a:pt x="112" y="50"/>
                    </a:lnTo>
                    <a:lnTo>
                      <a:pt x="118"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4" name="Freeform 63">
                <a:extLst>
                  <a:ext uri="{FF2B5EF4-FFF2-40B4-BE49-F238E27FC236}">
                    <a16:creationId xmlns:a16="http://schemas.microsoft.com/office/drawing/2014/main" id="{82B0FCEC-22B6-4064-8032-3B8A0D3AA175}"/>
                  </a:ext>
                </a:extLst>
              </p:cNvPr>
              <p:cNvSpPr>
                <a:spLocks/>
              </p:cNvSpPr>
              <p:nvPr/>
            </p:nvSpPr>
            <p:spPr bwMode="auto">
              <a:xfrm>
                <a:off x="5054002" y="2234840"/>
                <a:ext cx="92799" cy="122325"/>
              </a:xfrm>
              <a:custGeom>
                <a:avLst/>
                <a:gdLst>
                  <a:gd name="T0" fmla="*/ 9525 w 67"/>
                  <a:gd name="T1" fmla="*/ 25400 h 83"/>
                  <a:gd name="T2" fmla="*/ 0 w 67"/>
                  <a:gd name="T3" fmla="*/ 115888 h 83"/>
                  <a:gd name="T4" fmla="*/ 36513 w 67"/>
                  <a:gd name="T5" fmla="*/ 131763 h 83"/>
                  <a:gd name="T6" fmla="*/ 71438 w 67"/>
                  <a:gd name="T7" fmla="*/ 96838 h 83"/>
                  <a:gd name="T8" fmla="*/ 61913 w 67"/>
                  <a:gd name="T9" fmla="*/ 77788 h 83"/>
                  <a:gd name="T10" fmla="*/ 71438 w 67"/>
                  <a:gd name="T11" fmla="*/ 50800 h 83"/>
                  <a:gd name="T12" fmla="*/ 106363 w 67"/>
                  <a:gd name="T13" fmla="*/ 34925 h 83"/>
                  <a:gd name="T14" fmla="*/ 96838 w 67"/>
                  <a:gd name="T15" fmla="*/ 0 h 83"/>
                  <a:gd name="T16" fmla="*/ 36513 w 67"/>
                  <a:gd name="T17" fmla="*/ 34925 h 83"/>
                  <a:gd name="T18" fmla="*/ 9525 w 67"/>
                  <a:gd name="T19" fmla="*/ 25400 h 83"/>
                  <a:gd name="T20" fmla="*/ 9525 w 67"/>
                  <a:gd name="T21" fmla="*/ 25400 h 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
                  <a:gd name="T34" fmla="*/ 0 h 83"/>
                  <a:gd name="T35" fmla="*/ 67 w 67"/>
                  <a:gd name="T36" fmla="*/ 83 h 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 h="83">
                    <a:moveTo>
                      <a:pt x="6" y="16"/>
                    </a:moveTo>
                    <a:lnTo>
                      <a:pt x="0" y="73"/>
                    </a:lnTo>
                    <a:lnTo>
                      <a:pt x="23" y="83"/>
                    </a:lnTo>
                    <a:lnTo>
                      <a:pt x="45" y="61"/>
                    </a:lnTo>
                    <a:lnTo>
                      <a:pt x="39" y="49"/>
                    </a:lnTo>
                    <a:lnTo>
                      <a:pt x="45" y="32"/>
                    </a:lnTo>
                    <a:lnTo>
                      <a:pt x="67" y="22"/>
                    </a:lnTo>
                    <a:lnTo>
                      <a:pt x="61" y="0"/>
                    </a:lnTo>
                    <a:lnTo>
                      <a:pt x="23" y="22"/>
                    </a:lnTo>
                    <a:lnTo>
                      <a:pt x="6"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5" name="Freeform 64">
                <a:extLst>
                  <a:ext uri="{FF2B5EF4-FFF2-40B4-BE49-F238E27FC236}">
                    <a16:creationId xmlns:a16="http://schemas.microsoft.com/office/drawing/2014/main" id="{AEE1568C-BC07-47B1-A690-9FB1742B352E}"/>
                  </a:ext>
                </a:extLst>
              </p:cNvPr>
              <p:cNvSpPr>
                <a:spLocks/>
              </p:cNvSpPr>
              <p:nvPr/>
            </p:nvSpPr>
            <p:spPr bwMode="auto">
              <a:xfrm>
                <a:off x="5040152" y="2127254"/>
                <a:ext cx="168979" cy="140009"/>
              </a:xfrm>
              <a:custGeom>
                <a:avLst/>
                <a:gdLst>
                  <a:gd name="T0" fmla="*/ 6350 w 122"/>
                  <a:gd name="T1" fmla="*/ 79375 h 95"/>
                  <a:gd name="T2" fmla="*/ 46038 w 122"/>
                  <a:gd name="T3" fmla="*/ 79375 h 95"/>
                  <a:gd name="T4" fmla="*/ 46038 w 122"/>
                  <a:gd name="T5" fmla="*/ 96837 h 95"/>
                  <a:gd name="T6" fmla="*/ 25400 w 122"/>
                  <a:gd name="T7" fmla="*/ 125412 h 95"/>
                  <a:gd name="T8" fmla="*/ 25400 w 122"/>
                  <a:gd name="T9" fmla="*/ 141287 h 95"/>
                  <a:gd name="T10" fmla="*/ 52388 w 122"/>
                  <a:gd name="T11" fmla="*/ 150812 h 95"/>
                  <a:gd name="T12" fmla="*/ 168275 w 122"/>
                  <a:gd name="T13" fmla="*/ 87312 h 95"/>
                  <a:gd name="T14" fmla="*/ 168275 w 122"/>
                  <a:gd name="T15" fmla="*/ 34925 h 95"/>
                  <a:gd name="T16" fmla="*/ 193675 w 122"/>
                  <a:gd name="T17" fmla="*/ 0 h 95"/>
                  <a:gd name="T18" fmla="*/ 46038 w 122"/>
                  <a:gd name="T19" fmla="*/ 19050 h 95"/>
                  <a:gd name="T20" fmla="*/ 6350 w 122"/>
                  <a:gd name="T21" fmla="*/ 44450 h 95"/>
                  <a:gd name="T22" fmla="*/ 0 w 122"/>
                  <a:gd name="T23" fmla="*/ 53975 h 95"/>
                  <a:gd name="T24" fmla="*/ 6350 w 122"/>
                  <a:gd name="T25" fmla="*/ 79375 h 95"/>
                  <a:gd name="T26" fmla="*/ 6350 w 122"/>
                  <a:gd name="T27" fmla="*/ 79375 h 9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2"/>
                  <a:gd name="T43" fmla="*/ 0 h 95"/>
                  <a:gd name="T44" fmla="*/ 122 w 122"/>
                  <a:gd name="T45" fmla="*/ 95 h 9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2" h="95">
                    <a:moveTo>
                      <a:pt x="4" y="50"/>
                    </a:moveTo>
                    <a:lnTo>
                      <a:pt x="29" y="50"/>
                    </a:lnTo>
                    <a:lnTo>
                      <a:pt x="29" y="61"/>
                    </a:lnTo>
                    <a:lnTo>
                      <a:pt x="16" y="79"/>
                    </a:lnTo>
                    <a:lnTo>
                      <a:pt x="16" y="89"/>
                    </a:lnTo>
                    <a:lnTo>
                      <a:pt x="33" y="95"/>
                    </a:lnTo>
                    <a:lnTo>
                      <a:pt x="106" y="55"/>
                    </a:lnTo>
                    <a:lnTo>
                      <a:pt x="106" y="22"/>
                    </a:lnTo>
                    <a:lnTo>
                      <a:pt x="122" y="0"/>
                    </a:lnTo>
                    <a:lnTo>
                      <a:pt x="29" y="12"/>
                    </a:lnTo>
                    <a:lnTo>
                      <a:pt x="4" y="28"/>
                    </a:lnTo>
                    <a:lnTo>
                      <a:pt x="0" y="34"/>
                    </a:lnTo>
                    <a:lnTo>
                      <a:pt x="4" y="5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6" name="Freeform 655">
                <a:extLst>
                  <a:ext uri="{FF2B5EF4-FFF2-40B4-BE49-F238E27FC236}">
                    <a16:creationId xmlns:a16="http://schemas.microsoft.com/office/drawing/2014/main" id="{28308BE7-FB82-44A2-B414-78E9C96D82E9}"/>
                  </a:ext>
                </a:extLst>
              </p:cNvPr>
              <p:cNvSpPr>
                <a:spLocks/>
              </p:cNvSpPr>
              <p:nvPr/>
            </p:nvSpPr>
            <p:spPr bwMode="auto">
              <a:xfrm>
                <a:off x="5040152" y="2200943"/>
                <a:ext cx="40167" cy="42740"/>
              </a:xfrm>
              <a:custGeom>
                <a:avLst/>
                <a:gdLst>
                  <a:gd name="T0" fmla="*/ 0 w 29"/>
                  <a:gd name="T1" fmla="*/ 26987 h 29"/>
                  <a:gd name="T2" fmla="*/ 25400 w 29"/>
                  <a:gd name="T3" fmla="*/ 46037 h 29"/>
                  <a:gd name="T4" fmla="*/ 46038 w 29"/>
                  <a:gd name="T5" fmla="*/ 17462 h 29"/>
                  <a:gd name="T6" fmla="*/ 46038 w 29"/>
                  <a:gd name="T7" fmla="*/ 0 h 29"/>
                  <a:gd name="T8" fmla="*/ 6350 w 29"/>
                  <a:gd name="T9" fmla="*/ 0 h 29"/>
                  <a:gd name="T10" fmla="*/ 0 w 29"/>
                  <a:gd name="T11" fmla="*/ 26987 h 29"/>
                  <a:gd name="T12" fmla="*/ 0 w 29"/>
                  <a:gd name="T13" fmla="*/ 26987 h 29"/>
                  <a:gd name="T14" fmla="*/ 0 60000 65536"/>
                  <a:gd name="T15" fmla="*/ 0 60000 65536"/>
                  <a:gd name="T16" fmla="*/ 0 60000 65536"/>
                  <a:gd name="T17" fmla="*/ 0 60000 65536"/>
                  <a:gd name="T18" fmla="*/ 0 60000 65536"/>
                  <a:gd name="T19" fmla="*/ 0 60000 65536"/>
                  <a:gd name="T20" fmla="*/ 0 60000 65536"/>
                  <a:gd name="T21" fmla="*/ 0 w 29"/>
                  <a:gd name="T22" fmla="*/ 0 h 29"/>
                  <a:gd name="T23" fmla="*/ 29 w 29"/>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9">
                    <a:moveTo>
                      <a:pt x="0" y="17"/>
                    </a:moveTo>
                    <a:lnTo>
                      <a:pt x="16" y="29"/>
                    </a:lnTo>
                    <a:lnTo>
                      <a:pt x="29" y="11"/>
                    </a:lnTo>
                    <a:lnTo>
                      <a:pt x="29" y="0"/>
                    </a:lnTo>
                    <a:lnTo>
                      <a:pt x="4" y="0"/>
                    </a:lnTo>
                    <a:lnTo>
                      <a:pt x="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7" name="Freeform 656">
                <a:extLst>
                  <a:ext uri="{FF2B5EF4-FFF2-40B4-BE49-F238E27FC236}">
                    <a16:creationId xmlns:a16="http://schemas.microsoft.com/office/drawing/2014/main" id="{23D06CAD-4C51-4E06-B5AA-D3BE4698C3B3}"/>
                  </a:ext>
                </a:extLst>
              </p:cNvPr>
              <p:cNvSpPr>
                <a:spLocks/>
              </p:cNvSpPr>
              <p:nvPr/>
            </p:nvSpPr>
            <p:spPr bwMode="auto">
              <a:xfrm>
                <a:off x="5239600" y="2052092"/>
                <a:ext cx="493082" cy="418554"/>
              </a:xfrm>
              <a:custGeom>
                <a:avLst/>
                <a:gdLst>
                  <a:gd name="T0" fmla="*/ 117475 w 356"/>
                  <a:gd name="T1" fmla="*/ 61912 h 284"/>
                  <a:gd name="T2" fmla="*/ 106363 w 356"/>
                  <a:gd name="T3" fmla="*/ 9525 h 284"/>
                  <a:gd name="T4" fmla="*/ 71437 w 356"/>
                  <a:gd name="T5" fmla="*/ 0 h 284"/>
                  <a:gd name="T6" fmla="*/ 61913 w 356"/>
                  <a:gd name="T7" fmla="*/ 34925 h 284"/>
                  <a:gd name="T8" fmla="*/ 26988 w 356"/>
                  <a:gd name="T9" fmla="*/ 19050 h 284"/>
                  <a:gd name="T10" fmla="*/ 0 w 356"/>
                  <a:gd name="T11" fmla="*/ 9525 h 284"/>
                  <a:gd name="T12" fmla="*/ 26988 w 356"/>
                  <a:gd name="T13" fmla="*/ 90487 h 284"/>
                  <a:gd name="T14" fmla="*/ 71437 w 356"/>
                  <a:gd name="T15" fmla="*/ 141287 h 284"/>
                  <a:gd name="T16" fmla="*/ 61913 w 356"/>
                  <a:gd name="T17" fmla="*/ 160337 h 284"/>
                  <a:gd name="T18" fmla="*/ 71437 w 356"/>
                  <a:gd name="T19" fmla="*/ 196850 h 284"/>
                  <a:gd name="T20" fmla="*/ 123825 w 356"/>
                  <a:gd name="T21" fmla="*/ 231775 h 284"/>
                  <a:gd name="T22" fmla="*/ 123825 w 356"/>
                  <a:gd name="T23" fmla="*/ 257175 h 284"/>
                  <a:gd name="T24" fmla="*/ 158750 w 356"/>
                  <a:gd name="T25" fmla="*/ 284162 h 284"/>
                  <a:gd name="T26" fmla="*/ 177800 w 356"/>
                  <a:gd name="T27" fmla="*/ 284162 h 284"/>
                  <a:gd name="T28" fmla="*/ 220663 w 356"/>
                  <a:gd name="T29" fmla="*/ 363537 h 284"/>
                  <a:gd name="T30" fmla="*/ 255588 w 356"/>
                  <a:gd name="T31" fmla="*/ 363537 h 284"/>
                  <a:gd name="T32" fmla="*/ 274638 w 356"/>
                  <a:gd name="T33" fmla="*/ 390525 h 284"/>
                  <a:gd name="T34" fmla="*/ 336550 w 356"/>
                  <a:gd name="T35" fmla="*/ 400050 h 284"/>
                  <a:gd name="T36" fmla="*/ 371475 w 356"/>
                  <a:gd name="T37" fmla="*/ 381000 h 284"/>
                  <a:gd name="T38" fmla="*/ 396875 w 356"/>
                  <a:gd name="T39" fmla="*/ 390525 h 284"/>
                  <a:gd name="T40" fmla="*/ 396875 w 356"/>
                  <a:gd name="T41" fmla="*/ 425450 h 284"/>
                  <a:gd name="T42" fmla="*/ 539750 w 356"/>
                  <a:gd name="T43" fmla="*/ 450850 h 284"/>
                  <a:gd name="T44" fmla="*/ 539750 w 356"/>
                  <a:gd name="T45" fmla="*/ 425450 h 284"/>
                  <a:gd name="T46" fmla="*/ 565150 w 356"/>
                  <a:gd name="T47" fmla="*/ 400050 h 284"/>
                  <a:gd name="T48" fmla="*/ 555625 w 356"/>
                  <a:gd name="T49" fmla="*/ 363537 h 284"/>
                  <a:gd name="T50" fmla="*/ 493713 w 356"/>
                  <a:gd name="T51" fmla="*/ 312737 h 284"/>
                  <a:gd name="T52" fmla="*/ 512763 w 356"/>
                  <a:gd name="T53" fmla="*/ 257175 h 284"/>
                  <a:gd name="T54" fmla="*/ 487363 w 356"/>
                  <a:gd name="T55" fmla="*/ 247650 h 284"/>
                  <a:gd name="T56" fmla="*/ 452438 w 356"/>
                  <a:gd name="T57" fmla="*/ 177800 h 284"/>
                  <a:gd name="T58" fmla="*/ 477838 w 356"/>
                  <a:gd name="T59" fmla="*/ 141287 h 284"/>
                  <a:gd name="T60" fmla="*/ 458788 w 356"/>
                  <a:gd name="T61" fmla="*/ 100012 h 284"/>
                  <a:gd name="T62" fmla="*/ 381000 w 356"/>
                  <a:gd name="T63" fmla="*/ 53975 h 284"/>
                  <a:gd name="T64" fmla="*/ 309562 w 356"/>
                  <a:gd name="T65" fmla="*/ 44450 h 284"/>
                  <a:gd name="T66" fmla="*/ 193675 w 356"/>
                  <a:gd name="T67" fmla="*/ 100012 h 284"/>
                  <a:gd name="T68" fmla="*/ 177800 w 356"/>
                  <a:gd name="T69" fmla="*/ 100012 h 284"/>
                  <a:gd name="T70" fmla="*/ 177800 w 356"/>
                  <a:gd name="T71" fmla="*/ 90487 h 284"/>
                  <a:gd name="T72" fmla="*/ 117475 w 356"/>
                  <a:gd name="T73" fmla="*/ 61912 h 284"/>
                  <a:gd name="T74" fmla="*/ 117475 w 356"/>
                  <a:gd name="T75" fmla="*/ 61912 h 2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284"/>
                  <a:gd name="T116" fmla="*/ 356 w 356"/>
                  <a:gd name="T117" fmla="*/ 284 h 2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284">
                    <a:moveTo>
                      <a:pt x="74" y="39"/>
                    </a:moveTo>
                    <a:lnTo>
                      <a:pt x="67" y="6"/>
                    </a:lnTo>
                    <a:lnTo>
                      <a:pt x="45" y="0"/>
                    </a:lnTo>
                    <a:lnTo>
                      <a:pt x="39" y="22"/>
                    </a:lnTo>
                    <a:lnTo>
                      <a:pt x="17" y="12"/>
                    </a:lnTo>
                    <a:lnTo>
                      <a:pt x="0" y="6"/>
                    </a:lnTo>
                    <a:lnTo>
                      <a:pt x="17" y="57"/>
                    </a:lnTo>
                    <a:lnTo>
                      <a:pt x="45" y="89"/>
                    </a:lnTo>
                    <a:lnTo>
                      <a:pt x="39" y="101"/>
                    </a:lnTo>
                    <a:lnTo>
                      <a:pt x="45" y="124"/>
                    </a:lnTo>
                    <a:lnTo>
                      <a:pt x="78" y="146"/>
                    </a:lnTo>
                    <a:lnTo>
                      <a:pt x="78" y="162"/>
                    </a:lnTo>
                    <a:lnTo>
                      <a:pt x="100" y="179"/>
                    </a:lnTo>
                    <a:lnTo>
                      <a:pt x="112" y="179"/>
                    </a:lnTo>
                    <a:lnTo>
                      <a:pt x="139" y="229"/>
                    </a:lnTo>
                    <a:lnTo>
                      <a:pt x="161" y="229"/>
                    </a:lnTo>
                    <a:lnTo>
                      <a:pt x="173" y="246"/>
                    </a:lnTo>
                    <a:lnTo>
                      <a:pt x="212" y="252"/>
                    </a:lnTo>
                    <a:lnTo>
                      <a:pt x="234" y="240"/>
                    </a:lnTo>
                    <a:lnTo>
                      <a:pt x="250" y="246"/>
                    </a:lnTo>
                    <a:lnTo>
                      <a:pt x="250" y="268"/>
                    </a:lnTo>
                    <a:lnTo>
                      <a:pt x="340" y="284"/>
                    </a:lnTo>
                    <a:lnTo>
                      <a:pt x="340" y="268"/>
                    </a:lnTo>
                    <a:lnTo>
                      <a:pt x="356" y="252"/>
                    </a:lnTo>
                    <a:lnTo>
                      <a:pt x="350" y="229"/>
                    </a:lnTo>
                    <a:lnTo>
                      <a:pt x="311" y="197"/>
                    </a:lnTo>
                    <a:lnTo>
                      <a:pt x="323" y="162"/>
                    </a:lnTo>
                    <a:lnTo>
                      <a:pt x="307" y="156"/>
                    </a:lnTo>
                    <a:lnTo>
                      <a:pt x="285" y="112"/>
                    </a:lnTo>
                    <a:lnTo>
                      <a:pt x="301" y="89"/>
                    </a:lnTo>
                    <a:lnTo>
                      <a:pt x="289" y="63"/>
                    </a:lnTo>
                    <a:lnTo>
                      <a:pt x="240" y="34"/>
                    </a:lnTo>
                    <a:lnTo>
                      <a:pt x="195" y="28"/>
                    </a:lnTo>
                    <a:lnTo>
                      <a:pt x="122" y="63"/>
                    </a:lnTo>
                    <a:lnTo>
                      <a:pt x="112" y="63"/>
                    </a:lnTo>
                    <a:lnTo>
                      <a:pt x="112" y="57"/>
                    </a:lnTo>
                    <a:lnTo>
                      <a:pt x="74"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8" name="Freeform 657">
                <a:extLst>
                  <a:ext uri="{FF2B5EF4-FFF2-40B4-BE49-F238E27FC236}">
                    <a16:creationId xmlns:a16="http://schemas.microsoft.com/office/drawing/2014/main" id="{5FF64ED1-2556-4C4D-97C5-23F3953C9982}"/>
                  </a:ext>
                </a:extLst>
              </p:cNvPr>
              <p:cNvSpPr>
                <a:spLocks/>
              </p:cNvSpPr>
              <p:nvPr/>
            </p:nvSpPr>
            <p:spPr bwMode="auto">
              <a:xfrm>
                <a:off x="5634345" y="2093357"/>
                <a:ext cx="328260" cy="254964"/>
              </a:xfrm>
              <a:custGeom>
                <a:avLst/>
                <a:gdLst>
                  <a:gd name="T0" fmla="*/ 244475 w 237"/>
                  <a:gd name="T1" fmla="*/ 0 h 173"/>
                  <a:gd name="T2" fmla="*/ 228600 w 237"/>
                  <a:gd name="T3" fmla="*/ 26988 h 173"/>
                  <a:gd name="T4" fmla="*/ 173037 w 237"/>
                  <a:gd name="T5" fmla="*/ 46038 h 173"/>
                  <a:gd name="T6" fmla="*/ 157162 w 237"/>
                  <a:gd name="T7" fmla="*/ 26988 h 173"/>
                  <a:gd name="T8" fmla="*/ 112712 w 237"/>
                  <a:gd name="T9" fmla="*/ 26988 h 173"/>
                  <a:gd name="T10" fmla="*/ 87312 w 237"/>
                  <a:gd name="T11" fmla="*/ 71438 h 173"/>
                  <a:gd name="T12" fmla="*/ 50800 w 237"/>
                  <a:gd name="T13" fmla="*/ 90488 h 173"/>
                  <a:gd name="T14" fmla="*/ 25400 w 237"/>
                  <a:gd name="T15" fmla="*/ 96838 h 173"/>
                  <a:gd name="T16" fmla="*/ 0 w 237"/>
                  <a:gd name="T17" fmla="*/ 133350 h 173"/>
                  <a:gd name="T18" fmla="*/ 34925 w 237"/>
                  <a:gd name="T19" fmla="*/ 203200 h 173"/>
                  <a:gd name="T20" fmla="*/ 60325 w 237"/>
                  <a:gd name="T21" fmla="*/ 212725 h 173"/>
                  <a:gd name="T22" fmla="*/ 41275 w 237"/>
                  <a:gd name="T23" fmla="*/ 268288 h 173"/>
                  <a:gd name="T24" fmla="*/ 103187 w 237"/>
                  <a:gd name="T25" fmla="*/ 274638 h 173"/>
                  <a:gd name="T26" fmla="*/ 173037 w 237"/>
                  <a:gd name="T27" fmla="*/ 258763 h 173"/>
                  <a:gd name="T28" fmla="*/ 193675 w 237"/>
                  <a:gd name="T29" fmla="*/ 222250 h 173"/>
                  <a:gd name="T30" fmla="*/ 228600 w 237"/>
                  <a:gd name="T31" fmla="*/ 203200 h 173"/>
                  <a:gd name="T32" fmla="*/ 244475 w 237"/>
                  <a:gd name="T33" fmla="*/ 212725 h 173"/>
                  <a:gd name="T34" fmla="*/ 254000 w 237"/>
                  <a:gd name="T35" fmla="*/ 133350 h 173"/>
                  <a:gd name="T36" fmla="*/ 279400 w 237"/>
                  <a:gd name="T37" fmla="*/ 115888 h 173"/>
                  <a:gd name="T38" fmla="*/ 300037 w 237"/>
                  <a:gd name="T39" fmla="*/ 90488 h 173"/>
                  <a:gd name="T40" fmla="*/ 279400 w 237"/>
                  <a:gd name="T41" fmla="*/ 71438 h 173"/>
                  <a:gd name="T42" fmla="*/ 290512 w 237"/>
                  <a:gd name="T43" fmla="*/ 55563 h 173"/>
                  <a:gd name="T44" fmla="*/ 376237 w 237"/>
                  <a:gd name="T45" fmla="*/ 46038 h 173"/>
                  <a:gd name="T46" fmla="*/ 360362 w 237"/>
                  <a:gd name="T47" fmla="*/ 26988 h 173"/>
                  <a:gd name="T48" fmla="*/ 306387 w 237"/>
                  <a:gd name="T49" fmla="*/ 17463 h 173"/>
                  <a:gd name="T50" fmla="*/ 300037 w 237"/>
                  <a:gd name="T51" fmla="*/ 36513 h 173"/>
                  <a:gd name="T52" fmla="*/ 269875 w 237"/>
                  <a:gd name="T53" fmla="*/ 46038 h 173"/>
                  <a:gd name="T54" fmla="*/ 269875 w 237"/>
                  <a:gd name="T55" fmla="*/ 17463 h 173"/>
                  <a:gd name="T56" fmla="*/ 244475 w 237"/>
                  <a:gd name="T57" fmla="*/ 0 h 173"/>
                  <a:gd name="T58" fmla="*/ 244475 w 237"/>
                  <a:gd name="T59" fmla="*/ 0 h 1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7"/>
                  <a:gd name="T91" fmla="*/ 0 h 173"/>
                  <a:gd name="T92" fmla="*/ 237 w 237"/>
                  <a:gd name="T93" fmla="*/ 173 h 17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7" h="173">
                    <a:moveTo>
                      <a:pt x="154" y="0"/>
                    </a:moveTo>
                    <a:lnTo>
                      <a:pt x="144" y="17"/>
                    </a:lnTo>
                    <a:lnTo>
                      <a:pt x="109" y="29"/>
                    </a:lnTo>
                    <a:lnTo>
                      <a:pt x="99" y="17"/>
                    </a:lnTo>
                    <a:lnTo>
                      <a:pt x="71" y="17"/>
                    </a:lnTo>
                    <a:lnTo>
                      <a:pt x="55" y="45"/>
                    </a:lnTo>
                    <a:lnTo>
                      <a:pt x="32" y="57"/>
                    </a:lnTo>
                    <a:lnTo>
                      <a:pt x="16" y="61"/>
                    </a:lnTo>
                    <a:lnTo>
                      <a:pt x="0" y="84"/>
                    </a:lnTo>
                    <a:lnTo>
                      <a:pt x="22" y="128"/>
                    </a:lnTo>
                    <a:lnTo>
                      <a:pt x="38" y="134"/>
                    </a:lnTo>
                    <a:lnTo>
                      <a:pt x="26" y="169"/>
                    </a:lnTo>
                    <a:lnTo>
                      <a:pt x="65" y="173"/>
                    </a:lnTo>
                    <a:lnTo>
                      <a:pt x="109" y="163"/>
                    </a:lnTo>
                    <a:lnTo>
                      <a:pt x="122" y="140"/>
                    </a:lnTo>
                    <a:lnTo>
                      <a:pt x="144" y="128"/>
                    </a:lnTo>
                    <a:lnTo>
                      <a:pt x="154" y="134"/>
                    </a:lnTo>
                    <a:lnTo>
                      <a:pt x="160" y="84"/>
                    </a:lnTo>
                    <a:lnTo>
                      <a:pt x="176" y="73"/>
                    </a:lnTo>
                    <a:lnTo>
                      <a:pt x="189" y="57"/>
                    </a:lnTo>
                    <a:lnTo>
                      <a:pt x="176" y="45"/>
                    </a:lnTo>
                    <a:lnTo>
                      <a:pt x="183" y="35"/>
                    </a:lnTo>
                    <a:lnTo>
                      <a:pt x="237" y="29"/>
                    </a:lnTo>
                    <a:lnTo>
                      <a:pt x="227" y="17"/>
                    </a:lnTo>
                    <a:lnTo>
                      <a:pt x="193" y="11"/>
                    </a:lnTo>
                    <a:lnTo>
                      <a:pt x="189" y="23"/>
                    </a:lnTo>
                    <a:lnTo>
                      <a:pt x="170" y="29"/>
                    </a:lnTo>
                    <a:lnTo>
                      <a:pt x="170" y="11"/>
                    </a:lnTo>
                    <a:lnTo>
                      <a:pt x="154"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49" name="Freeform 658">
                <a:extLst>
                  <a:ext uri="{FF2B5EF4-FFF2-40B4-BE49-F238E27FC236}">
                    <a16:creationId xmlns:a16="http://schemas.microsoft.com/office/drawing/2014/main" id="{86696F9D-6529-40DB-B133-AC9531FF289C}"/>
                  </a:ext>
                </a:extLst>
              </p:cNvPr>
              <p:cNvSpPr>
                <a:spLocks/>
              </p:cNvSpPr>
              <p:nvPr/>
            </p:nvSpPr>
            <p:spPr bwMode="auto">
              <a:xfrm>
                <a:off x="5678666" y="2136097"/>
                <a:ext cx="337955" cy="368445"/>
              </a:xfrm>
              <a:custGeom>
                <a:avLst/>
                <a:gdLst>
                  <a:gd name="T0" fmla="*/ 381000 w 244"/>
                  <a:gd name="T1" fmla="*/ 60325 h 250"/>
                  <a:gd name="T2" fmla="*/ 387350 w 244"/>
                  <a:gd name="T3" fmla="*/ 44450 h 250"/>
                  <a:gd name="T4" fmla="*/ 355600 w 244"/>
                  <a:gd name="T5" fmla="*/ 25400 h 250"/>
                  <a:gd name="T6" fmla="*/ 325438 w 244"/>
                  <a:gd name="T7" fmla="*/ 0 h 250"/>
                  <a:gd name="T8" fmla="*/ 239713 w 244"/>
                  <a:gd name="T9" fmla="*/ 9525 h 250"/>
                  <a:gd name="T10" fmla="*/ 228600 w 244"/>
                  <a:gd name="T11" fmla="*/ 25400 h 250"/>
                  <a:gd name="T12" fmla="*/ 249238 w 244"/>
                  <a:gd name="T13" fmla="*/ 44450 h 250"/>
                  <a:gd name="T14" fmla="*/ 228600 w 244"/>
                  <a:gd name="T15" fmla="*/ 69850 h 250"/>
                  <a:gd name="T16" fmla="*/ 203200 w 244"/>
                  <a:gd name="T17" fmla="*/ 87313 h 250"/>
                  <a:gd name="T18" fmla="*/ 193675 w 244"/>
                  <a:gd name="T19" fmla="*/ 166688 h 250"/>
                  <a:gd name="T20" fmla="*/ 177800 w 244"/>
                  <a:gd name="T21" fmla="*/ 157163 h 250"/>
                  <a:gd name="T22" fmla="*/ 142875 w 244"/>
                  <a:gd name="T23" fmla="*/ 176213 h 250"/>
                  <a:gd name="T24" fmla="*/ 122238 w 244"/>
                  <a:gd name="T25" fmla="*/ 212725 h 250"/>
                  <a:gd name="T26" fmla="*/ 61913 w 244"/>
                  <a:gd name="T27" fmla="*/ 228600 h 250"/>
                  <a:gd name="T28" fmla="*/ 0 w 244"/>
                  <a:gd name="T29" fmla="*/ 222250 h 250"/>
                  <a:gd name="T30" fmla="*/ 52388 w 244"/>
                  <a:gd name="T31" fmla="*/ 273050 h 250"/>
                  <a:gd name="T32" fmla="*/ 61913 w 244"/>
                  <a:gd name="T33" fmla="*/ 309563 h 250"/>
                  <a:gd name="T34" fmla="*/ 36513 w 244"/>
                  <a:gd name="T35" fmla="*/ 334963 h 250"/>
                  <a:gd name="T36" fmla="*/ 36513 w 244"/>
                  <a:gd name="T37" fmla="*/ 360363 h 250"/>
                  <a:gd name="T38" fmla="*/ 142875 w 244"/>
                  <a:gd name="T39" fmla="*/ 354013 h 250"/>
                  <a:gd name="T40" fmla="*/ 158750 w 244"/>
                  <a:gd name="T41" fmla="*/ 369888 h 250"/>
                  <a:gd name="T42" fmla="*/ 212725 w 244"/>
                  <a:gd name="T43" fmla="*/ 396875 h 250"/>
                  <a:gd name="T44" fmla="*/ 274638 w 244"/>
                  <a:gd name="T45" fmla="*/ 379413 h 250"/>
                  <a:gd name="T46" fmla="*/ 293688 w 244"/>
                  <a:gd name="T47" fmla="*/ 360363 h 250"/>
                  <a:gd name="T48" fmla="*/ 239713 w 244"/>
                  <a:gd name="T49" fmla="*/ 290513 h 250"/>
                  <a:gd name="T50" fmla="*/ 284163 w 244"/>
                  <a:gd name="T51" fmla="*/ 273050 h 250"/>
                  <a:gd name="T52" fmla="*/ 346075 w 244"/>
                  <a:gd name="T53" fmla="*/ 184150 h 250"/>
                  <a:gd name="T54" fmla="*/ 346075 w 244"/>
                  <a:gd name="T55" fmla="*/ 157163 h 250"/>
                  <a:gd name="T56" fmla="*/ 361950 w 244"/>
                  <a:gd name="T57" fmla="*/ 141288 h 250"/>
                  <a:gd name="T58" fmla="*/ 319088 w 244"/>
                  <a:gd name="T59" fmla="*/ 106363 h 250"/>
                  <a:gd name="T60" fmla="*/ 309563 w 244"/>
                  <a:gd name="T61" fmla="*/ 69850 h 250"/>
                  <a:gd name="T62" fmla="*/ 381000 w 244"/>
                  <a:gd name="T63" fmla="*/ 60325 h 250"/>
                  <a:gd name="T64" fmla="*/ 381000 w 244"/>
                  <a:gd name="T65" fmla="*/ 60325 h 2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4"/>
                  <a:gd name="T100" fmla="*/ 0 h 250"/>
                  <a:gd name="T101" fmla="*/ 244 w 244"/>
                  <a:gd name="T102" fmla="*/ 250 h 2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4" h="250">
                    <a:moveTo>
                      <a:pt x="240" y="38"/>
                    </a:moveTo>
                    <a:lnTo>
                      <a:pt x="244" y="28"/>
                    </a:lnTo>
                    <a:lnTo>
                      <a:pt x="224" y="16"/>
                    </a:lnTo>
                    <a:lnTo>
                      <a:pt x="205" y="0"/>
                    </a:lnTo>
                    <a:lnTo>
                      <a:pt x="151" y="6"/>
                    </a:lnTo>
                    <a:lnTo>
                      <a:pt x="144" y="16"/>
                    </a:lnTo>
                    <a:lnTo>
                      <a:pt x="157" y="28"/>
                    </a:lnTo>
                    <a:lnTo>
                      <a:pt x="144" y="44"/>
                    </a:lnTo>
                    <a:lnTo>
                      <a:pt x="128" y="55"/>
                    </a:lnTo>
                    <a:lnTo>
                      <a:pt x="122" y="105"/>
                    </a:lnTo>
                    <a:lnTo>
                      <a:pt x="112" y="99"/>
                    </a:lnTo>
                    <a:lnTo>
                      <a:pt x="90" y="111"/>
                    </a:lnTo>
                    <a:lnTo>
                      <a:pt x="77" y="134"/>
                    </a:lnTo>
                    <a:lnTo>
                      <a:pt x="39" y="144"/>
                    </a:lnTo>
                    <a:lnTo>
                      <a:pt x="0" y="140"/>
                    </a:lnTo>
                    <a:lnTo>
                      <a:pt x="33" y="172"/>
                    </a:lnTo>
                    <a:lnTo>
                      <a:pt x="39" y="195"/>
                    </a:lnTo>
                    <a:lnTo>
                      <a:pt x="23" y="211"/>
                    </a:lnTo>
                    <a:lnTo>
                      <a:pt x="23" y="227"/>
                    </a:lnTo>
                    <a:lnTo>
                      <a:pt x="90" y="223"/>
                    </a:lnTo>
                    <a:lnTo>
                      <a:pt x="100" y="233"/>
                    </a:lnTo>
                    <a:lnTo>
                      <a:pt x="134" y="250"/>
                    </a:lnTo>
                    <a:lnTo>
                      <a:pt x="173" y="239"/>
                    </a:lnTo>
                    <a:lnTo>
                      <a:pt x="185" y="227"/>
                    </a:lnTo>
                    <a:lnTo>
                      <a:pt x="151" y="183"/>
                    </a:lnTo>
                    <a:lnTo>
                      <a:pt x="179" y="172"/>
                    </a:lnTo>
                    <a:lnTo>
                      <a:pt x="218" y="116"/>
                    </a:lnTo>
                    <a:lnTo>
                      <a:pt x="218" y="99"/>
                    </a:lnTo>
                    <a:lnTo>
                      <a:pt x="228" y="89"/>
                    </a:lnTo>
                    <a:lnTo>
                      <a:pt x="201" y="67"/>
                    </a:lnTo>
                    <a:lnTo>
                      <a:pt x="195" y="44"/>
                    </a:lnTo>
                    <a:lnTo>
                      <a:pt x="240"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0" name="Freeform 659">
                <a:extLst>
                  <a:ext uri="{FF2B5EF4-FFF2-40B4-BE49-F238E27FC236}">
                    <a16:creationId xmlns:a16="http://schemas.microsoft.com/office/drawing/2014/main" id="{372E8472-9B4E-4B9A-8330-78359FF87BD2}"/>
                  </a:ext>
                </a:extLst>
              </p:cNvPr>
              <p:cNvSpPr>
                <a:spLocks/>
              </p:cNvSpPr>
              <p:nvPr/>
            </p:nvSpPr>
            <p:spPr bwMode="auto">
              <a:xfrm>
                <a:off x="4846242" y="3614298"/>
                <a:ext cx="191139" cy="188644"/>
              </a:xfrm>
              <a:custGeom>
                <a:avLst/>
                <a:gdLst>
                  <a:gd name="T0" fmla="*/ 9525 w 138"/>
                  <a:gd name="T1" fmla="*/ 96837 h 128"/>
                  <a:gd name="T2" fmla="*/ 46037 w 138"/>
                  <a:gd name="T3" fmla="*/ 134937 h 128"/>
                  <a:gd name="T4" fmla="*/ 90487 w 138"/>
                  <a:gd name="T5" fmla="*/ 195262 h 128"/>
                  <a:gd name="T6" fmla="*/ 106363 w 138"/>
                  <a:gd name="T7" fmla="*/ 203200 h 128"/>
                  <a:gd name="T8" fmla="*/ 158750 w 138"/>
                  <a:gd name="T9" fmla="*/ 203200 h 128"/>
                  <a:gd name="T10" fmla="*/ 187325 w 138"/>
                  <a:gd name="T11" fmla="*/ 182562 h 128"/>
                  <a:gd name="T12" fmla="*/ 193675 w 138"/>
                  <a:gd name="T13" fmla="*/ 157162 h 128"/>
                  <a:gd name="T14" fmla="*/ 219075 w 138"/>
                  <a:gd name="T15" fmla="*/ 109537 h 128"/>
                  <a:gd name="T16" fmla="*/ 212725 w 138"/>
                  <a:gd name="T17" fmla="*/ 31750 h 128"/>
                  <a:gd name="T18" fmla="*/ 134937 w 138"/>
                  <a:gd name="T19" fmla="*/ 0 h 128"/>
                  <a:gd name="T20" fmla="*/ 109538 w 138"/>
                  <a:gd name="T21" fmla="*/ 12700 h 128"/>
                  <a:gd name="T22" fmla="*/ 58737 w 138"/>
                  <a:gd name="T23" fmla="*/ 47625 h 128"/>
                  <a:gd name="T24" fmla="*/ 34925 w 138"/>
                  <a:gd name="T25" fmla="*/ 69850 h 128"/>
                  <a:gd name="T26" fmla="*/ 0 w 138"/>
                  <a:gd name="T27" fmla="*/ 73025 h 128"/>
                  <a:gd name="T28" fmla="*/ 9525 w 138"/>
                  <a:gd name="T29" fmla="*/ 96837 h 128"/>
                  <a:gd name="T30" fmla="*/ 9525 w 138"/>
                  <a:gd name="T31" fmla="*/ 96837 h 1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8"/>
                  <a:gd name="T49" fmla="*/ 0 h 128"/>
                  <a:gd name="T50" fmla="*/ 138 w 138"/>
                  <a:gd name="T51" fmla="*/ 128 h 1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8" h="128">
                    <a:moveTo>
                      <a:pt x="6" y="61"/>
                    </a:moveTo>
                    <a:lnTo>
                      <a:pt x="29" y="85"/>
                    </a:lnTo>
                    <a:lnTo>
                      <a:pt x="57" y="123"/>
                    </a:lnTo>
                    <a:lnTo>
                      <a:pt x="67" y="128"/>
                    </a:lnTo>
                    <a:lnTo>
                      <a:pt x="100" y="128"/>
                    </a:lnTo>
                    <a:lnTo>
                      <a:pt x="118" y="115"/>
                    </a:lnTo>
                    <a:lnTo>
                      <a:pt x="122" y="99"/>
                    </a:lnTo>
                    <a:lnTo>
                      <a:pt x="138" y="69"/>
                    </a:lnTo>
                    <a:lnTo>
                      <a:pt x="134" y="20"/>
                    </a:lnTo>
                    <a:lnTo>
                      <a:pt x="85" y="0"/>
                    </a:lnTo>
                    <a:lnTo>
                      <a:pt x="69" y="8"/>
                    </a:lnTo>
                    <a:lnTo>
                      <a:pt x="37" y="30"/>
                    </a:lnTo>
                    <a:lnTo>
                      <a:pt x="22" y="44"/>
                    </a:lnTo>
                    <a:lnTo>
                      <a:pt x="0" y="46"/>
                    </a:lnTo>
                    <a:lnTo>
                      <a:pt x="6"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1" name="Freeform 660">
                <a:extLst>
                  <a:ext uri="{FF2B5EF4-FFF2-40B4-BE49-F238E27FC236}">
                    <a16:creationId xmlns:a16="http://schemas.microsoft.com/office/drawing/2014/main" id="{61D1DFC1-F3BC-4A55-A5F5-58A7E5D3991D}"/>
                  </a:ext>
                </a:extLst>
              </p:cNvPr>
              <p:cNvSpPr>
                <a:spLocks/>
              </p:cNvSpPr>
              <p:nvPr/>
            </p:nvSpPr>
            <p:spPr bwMode="auto">
              <a:xfrm>
                <a:off x="4452885" y="3111738"/>
                <a:ext cx="55403" cy="35371"/>
              </a:xfrm>
              <a:custGeom>
                <a:avLst/>
                <a:gdLst>
                  <a:gd name="T0" fmla="*/ 6350 w 40"/>
                  <a:gd name="T1" fmla="*/ 38100 h 24"/>
                  <a:gd name="T2" fmla="*/ 63500 w 40"/>
                  <a:gd name="T3" fmla="*/ 38100 h 24"/>
                  <a:gd name="T4" fmla="*/ 63500 w 40"/>
                  <a:gd name="T5" fmla="*/ 0 h 24"/>
                  <a:gd name="T6" fmla="*/ 12700 w 40"/>
                  <a:gd name="T7" fmla="*/ 0 h 24"/>
                  <a:gd name="T8" fmla="*/ 0 w 40"/>
                  <a:gd name="T9" fmla="*/ 19050 h 24"/>
                  <a:gd name="T10" fmla="*/ 6350 w 40"/>
                  <a:gd name="T11" fmla="*/ 38100 h 24"/>
                  <a:gd name="T12" fmla="*/ 6350 w 40"/>
                  <a:gd name="T13" fmla="*/ 38100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4" y="24"/>
                    </a:moveTo>
                    <a:lnTo>
                      <a:pt x="40" y="24"/>
                    </a:lnTo>
                    <a:lnTo>
                      <a:pt x="40" y="0"/>
                    </a:lnTo>
                    <a:lnTo>
                      <a:pt x="8" y="0"/>
                    </a:lnTo>
                    <a:lnTo>
                      <a:pt x="0" y="12"/>
                    </a:lnTo>
                    <a:lnTo>
                      <a:pt x="4" y="2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652" name="Freeform 661">
                <a:extLst>
                  <a:ext uri="{FF2B5EF4-FFF2-40B4-BE49-F238E27FC236}">
                    <a16:creationId xmlns:a16="http://schemas.microsoft.com/office/drawing/2014/main" id="{0AE83627-8DA5-403E-9310-B9892FFCAA14}"/>
                  </a:ext>
                </a:extLst>
              </p:cNvPr>
              <p:cNvSpPr>
                <a:spLocks/>
              </p:cNvSpPr>
              <p:nvPr/>
            </p:nvSpPr>
            <p:spPr bwMode="auto">
              <a:xfrm>
                <a:off x="4423799" y="3071947"/>
                <a:ext cx="18005" cy="23580"/>
              </a:xfrm>
              <a:custGeom>
                <a:avLst/>
                <a:gdLst>
                  <a:gd name="T0" fmla="*/ 20637 w 13"/>
                  <a:gd name="T1" fmla="*/ 9525 h 16"/>
                  <a:gd name="T2" fmla="*/ 11112 w 13"/>
                  <a:gd name="T3" fmla="*/ 0 h 16"/>
                  <a:gd name="T4" fmla="*/ 0 w 13"/>
                  <a:gd name="T5" fmla="*/ 25400 h 16"/>
                  <a:gd name="T6" fmla="*/ 17462 w 13"/>
                  <a:gd name="T7" fmla="*/ 25400 h 16"/>
                  <a:gd name="T8" fmla="*/ 20637 w 13"/>
                  <a:gd name="T9" fmla="*/ 9525 h 16"/>
                  <a:gd name="T10" fmla="*/ 20637 w 13"/>
                  <a:gd name="T11" fmla="*/ 9525 h 16"/>
                  <a:gd name="T12" fmla="*/ 0 60000 65536"/>
                  <a:gd name="T13" fmla="*/ 0 60000 65536"/>
                  <a:gd name="T14" fmla="*/ 0 60000 65536"/>
                  <a:gd name="T15" fmla="*/ 0 60000 65536"/>
                  <a:gd name="T16" fmla="*/ 0 60000 65536"/>
                  <a:gd name="T17" fmla="*/ 0 60000 65536"/>
                  <a:gd name="T18" fmla="*/ 0 w 13"/>
                  <a:gd name="T19" fmla="*/ 0 h 16"/>
                  <a:gd name="T20" fmla="*/ 13 w 13"/>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3" h="16">
                    <a:moveTo>
                      <a:pt x="13" y="6"/>
                    </a:moveTo>
                    <a:lnTo>
                      <a:pt x="7" y="0"/>
                    </a:lnTo>
                    <a:lnTo>
                      <a:pt x="0" y="16"/>
                    </a:lnTo>
                    <a:lnTo>
                      <a:pt x="11" y="16"/>
                    </a:lnTo>
                    <a:lnTo>
                      <a:pt x="13"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sp>
          <p:nvSpPr>
            <p:cNvPr id="335" name="Freeform 238">
              <a:extLst>
                <a:ext uri="{FF2B5EF4-FFF2-40B4-BE49-F238E27FC236}">
                  <a16:creationId xmlns:a16="http://schemas.microsoft.com/office/drawing/2014/main" id="{1C05287D-AB59-44DA-99FD-71902CBEDB2D}"/>
                </a:ext>
              </a:extLst>
            </p:cNvPr>
            <p:cNvSpPr>
              <a:spLocks/>
            </p:cNvSpPr>
            <p:nvPr/>
          </p:nvSpPr>
          <p:spPr bwMode="auto">
            <a:xfrm>
              <a:off x="5895744" y="3042725"/>
              <a:ext cx="13083" cy="13888"/>
            </a:xfrm>
            <a:custGeom>
              <a:avLst/>
              <a:gdLst/>
              <a:ahLst/>
              <a:cxnLst>
                <a:cxn ang="0">
                  <a:pos x="6" y="0"/>
                </a:cxn>
                <a:cxn ang="0">
                  <a:pos x="0" y="6"/>
                </a:cxn>
                <a:cxn ang="0">
                  <a:pos x="10" y="10"/>
                </a:cxn>
                <a:cxn ang="0">
                  <a:pos x="6" y="0"/>
                </a:cxn>
                <a:cxn ang="0">
                  <a:pos x="6" y="0"/>
                </a:cxn>
              </a:cxnLst>
              <a:rect l="0" t="0" r="r" b="b"/>
              <a:pathLst>
                <a:path w="10" h="10">
                  <a:moveTo>
                    <a:pt x="6" y="0"/>
                  </a:moveTo>
                  <a:lnTo>
                    <a:pt x="0" y="6"/>
                  </a:lnTo>
                  <a:lnTo>
                    <a:pt x="10" y="10"/>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6" name="Freeform 239">
              <a:extLst>
                <a:ext uri="{FF2B5EF4-FFF2-40B4-BE49-F238E27FC236}">
                  <a16:creationId xmlns:a16="http://schemas.microsoft.com/office/drawing/2014/main" id="{DD3C3BB5-C328-4423-9C67-1EB0171F8CB9}"/>
                </a:ext>
              </a:extLst>
            </p:cNvPr>
            <p:cNvSpPr>
              <a:spLocks/>
            </p:cNvSpPr>
            <p:nvPr/>
          </p:nvSpPr>
          <p:spPr bwMode="auto">
            <a:xfrm>
              <a:off x="5895744" y="3020505"/>
              <a:ext cx="13083" cy="5554"/>
            </a:xfrm>
            <a:custGeom>
              <a:avLst/>
              <a:gdLst/>
              <a:ahLst/>
              <a:cxnLst>
                <a:cxn ang="0">
                  <a:pos x="0" y="0"/>
                </a:cxn>
                <a:cxn ang="0">
                  <a:pos x="6" y="4"/>
                </a:cxn>
                <a:cxn ang="0">
                  <a:pos x="10" y="0"/>
                </a:cxn>
                <a:cxn ang="0">
                  <a:pos x="0" y="0"/>
                </a:cxn>
                <a:cxn ang="0">
                  <a:pos x="0" y="0"/>
                </a:cxn>
              </a:cxnLst>
              <a:rect l="0" t="0" r="r" b="b"/>
              <a:pathLst>
                <a:path w="10" h="4">
                  <a:moveTo>
                    <a:pt x="0" y="0"/>
                  </a:moveTo>
                  <a:lnTo>
                    <a:pt x="6" y="4"/>
                  </a:lnTo>
                  <a:lnTo>
                    <a:pt x="10"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7" name="Freeform 240">
              <a:extLst>
                <a:ext uri="{FF2B5EF4-FFF2-40B4-BE49-F238E27FC236}">
                  <a16:creationId xmlns:a16="http://schemas.microsoft.com/office/drawing/2014/main" id="{F949833D-D48F-4F32-8F59-497A026ED194}"/>
                </a:ext>
              </a:extLst>
            </p:cNvPr>
            <p:cNvSpPr>
              <a:spLocks/>
            </p:cNvSpPr>
            <p:nvPr/>
          </p:nvSpPr>
          <p:spPr bwMode="auto">
            <a:xfrm>
              <a:off x="5916678" y="3073280"/>
              <a:ext cx="7850" cy="13888"/>
            </a:xfrm>
            <a:custGeom>
              <a:avLst/>
              <a:gdLst/>
              <a:ahLst/>
              <a:cxnLst>
                <a:cxn ang="0">
                  <a:pos x="0" y="0"/>
                </a:cxn>
                <a:cxn ang="0">
                  <a:pos x="0" y="10"/>
                </a:cxn>
                <a:cxn ang="0">
                  <a:pos x="6" y="0"/>
                </a:cxn>
                <a:cxn ang="0">
                  <a:pos x="0" y="0"/>
                </a:cxn>
                <a:cxn ang="0">
                  <a:pos x="0" y="0"/>
                </a:cxn>
              </a:cxnLst>
              <a:rect l="0" t="0" r="r" b="b"/>
              <a:pathLst>
                <a:path w="6" h="10">
                  <a:moveTo>
                    <a:pt x="0" y="0"/>
                  </a:moveTo>
                  <a:lnTo>
                    <a:pt x="0" y="10"/>
                  </a:lnTo>
                  <a:lnTo>
                    <a:pt x="6"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8" name="Freeform 241">
              <a:extLst>
                <a:ext uri="{FF2B5EF4-FFF2-40B4-BE49-F238E27FC236}">
                  <a16:creationId xmlns:a16="http://schemas.microsoft.com/office/drawing/2014/main" id="{4713AE31-C84F-47FD-86A3-09B6974EB39F}"/>
                </a:ext>
              </a:extLst>
            </p:cNvPr>
            <p:cNvSpPr>
              <a:spLocks/>
            </p:cNvSpPr>
            <p:nvPr/>
          </p:nvSpPr>
          <p:spPr bwMode="auto">
            <a:xfrm>
              <a:off x="5903594" y="3064946"/>
              <a:ext cx="5233" cy="8333"/>
            </a:xfrm>
            <a:custGeom>
              <a:avLst/>
              <a:gdLst/>
              <a:ahLst/>
              <a:cxnLst>
                <a:cxn ang="0">
                  <a:pos x="0" y="0"/>
                </a:cxn>
                <a:cxn ang="0">
                  <a:pos x="0" y="6"/>
                </a:cxn>
                <a:cxn ang="0">
                  <a:pos x="4" y="0"/>
                </a:cxn>
                <a:cxn ang="0">
                  <a:pos x="0" y="0"/>
                </a:cxn>
                <a:cxn ang="0">
                  <a:pos x="0" y="0"/>
                </a:cxn>
              </a:cxnLst>
              <a:rect l="0" t="0" r="r" b="b"/>
              <a:pathLst>
                <a:path w="4" h="6">
                  <a:moveTo>
                    <a:pt x="0" y="0"/>
                  </a:moveTo>
                  <a:lnTo>
                    <a:pt x="0" y="6"/>
                  </a:lnTo>
                  <a:lnTo>
                    <a:pt x="4"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39" name="Freeform 242">
              <a:extLst>
                <a:ext uri="{FF2B5EF4-FFF2-40B4-BE49-F238E27FC236}">
                  <a16:creationId xmlns:a16="http://schemas.microsoft.com/office/drawing/2014/main" id="{87E056A7-D40D-493C-93C8-B9C512C8C6B0}"/>
                </a:ext>
              </a:extLst>
            </p:cNvPr>
            <p:cNvSpPr>
              <a:spLocks/>
            </p:cNvSpPr>
            <p:nvPr/>
          </p:nvSpPr>
          <p:spPr bwMode="auto">
            <a:xfrm>
              <a:off x="5908828" y="3096889"/>
              <a:ext cx="15701" cy="8333"/>
            </a:xfrm>
            <a:custGeom>
              <a:avLst/>
              <a:gdLst/>
              <a:ahLst/>
              <a:cxnLst>
                <a:cxn ang="0">
                  <a:pos x="0" y="0"/>
                </a:cxn>
                <a:cxn ang="0">
                  <a:pos x="0" y="6"/>
                </a:cxn>
                <a:cxn ang="0">
                  <a:pos x="12" y="6"/>
                </a:cxn>
                <a:cxn ang="0">
                  <a:pos x="0" y="0"/>
                </a:cxn>
                <a:cxn ang="0">
                  <a:pos x="0" y="0"/>
                </a:cxn>
              </a:cxnLst>
              <a:rect l="0" t="0" r="r" b="b"/>
              <a:pathLst>
                <a:path w="12" h="6">
                  <a:moveTo>
                    <a:pt x="0" y="0"/>
                  </a:moveTo>
                  <a:lnTo>
                    <a:pt x="0" y="6"/>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0" name="Freeform 243">
              <a:extLst>
                <a:ext uri="{FF2B5EF4-FFF2-40B4-BE49-F238E27FC236}">
                  <a16:creationId xmlns:a16="http://schemas.microsoft.com/office/drawing/2014/main" id="{37AAA7CA-EC2A-43F8-9A94-928365257216}"/>
                </a:ext>
              </a:extLst>
            </p:cNvPr>
            <p:cNvSpPr>
              <a:spLocks/>
            </p:cNvSpPr>
            <p:nvPr/>
          </p:nvSpPr>
          <p:spPr bwMode="auto">
            <a:xfrm>
              <a:off x="5908828" y="3174663"/>
              <a:ext cx="15701" cy="5554"/>
            </a:xfrm>
            <a:custGeom>
              <a:avLst/>
              <a:gdLst/>
              <a:ahLst/>
              <a:cxnLst>
                <a:cxn ang="0">
                  <a:pos x="0" y="0"/>
                </a:cxn>
                <a:cxn ang="0">
                  <a:pos x="0" y="4"/>
                </a:cxn>
                <a:cxn ang="0">
                  <a:pos x="12" y="0"/>
                </a:cxn>
                <a:cxn ang="0">
                  <a:pos x="0" y="0"/>
                </a:cxn>
                <a:cxn ang="0">
                  <a:pos x="0" y="0"/>
                </a:cxn>
              </a:cxnLst>
              <a:rect l="0" t="0" r="r" b="b"/>
              <a:pathLst>
                <a:path w="12" h="4">
                  <a:moveTo>
                    <a:pt x="0" y="0"/>
                  </a:moveTo>
                  <a:lnTo>
                    <a:pt x="0" y="4"/>
                  </a:lnTo>
                  <a:lnTo>
                    <a:pt x="12" y="0"/>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1" name="Freeform 244">
              <a:extLst>
                <a:ext uri="{FF2B5EF4-FFF2-40B4-BE49-F238E27FC236}">
                  <a16:creationId xmlns:a16="http://schemas.microsoft.com/office/drawing/2014/main" id="{D6C49EFF-C3BB-4DF5-AB92-981E01B4A4DA}"/>
                </a:ext>
              </a:extLst>
            </p:cNvPr>
            <p:cNvSpPr>
              <a:spLocks/>
            </p:cNvSpPr>
            <p:nvPr/>
          </p:nvSpPr>
          <p:spPr bwMode="auto">
            <a:xfrm>
              <a:off x="5908828" y="3113555"/>
              <a:ext cx="15701" cy="13888"/>
            </a:xfrm>
            <a:custGeom>
              <a:avLst/>
              <a:gdLst/>
              <a:ahLst/>
              <a:cxnLst>
                <a:cxn ang="0">
                  <a:pos x="0" y="10"/>
                </a:cxn>
                <a:cxn ang="0">
                  <a:pos x="12" y="10"/>
                </a:cxn>
                <a:cxn ang="0">
                  <a:pos x="6" y="0"/>
                </a:cxn>
                <a:cxn ang="0">
                  <a:pos x="0" y="10"/>
                </a:cxn>
                <a:cxn ang="0">
                  <a:pos x="0" y="10"/>
                </a:cxn>
              </a:cxnLst>
              <a:rect l="0" t="0" r="r" b="b"/>
              <a:pathLst>
                <a:path w="12" h="10">
                  <a:moveTo>
                    <a:pt x="0" y="10"/>
                  </a:moveTo>
                  <a:lnTo>
                    <a:pt x="12" y="10"/>
                  </a:lnTo>
                  <a:lnTo>
                    <a:pt x="6" y="0"/>
                  </a:lnTo>
                  <a:lnTo>
                    <a:pt x="0" y="10"/>
                  </a:lnTo>
                  <a:lnTo>
                    <a:pt x="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2" name="Freeform 245">
              <a:extLst>
                <a:ext uri="{FF2B5EF4-FFF2-40B4-BE49-F238E27FC236}">
                  <a16:creationId xmlns:a16="http://schemas.microsoft.com/office/drawing/2014/main" id="{C8FBA204-CDE3-4097-B9DA-806804361529}"/>
                </a:ext>
              </a:extLst>
            </p:cNvPr>
            <p:cNvSpPr>
              <a:spLocks/>
            </p:cNvSpPr>
            <p:nvPr/>
          </p:nvSpPr>
          <p:spPr bwMode="auto">
            <a:xfrm>
              <a:off x="5903594" y="3189940"/>
              <a:ext cx="13083" cy="16666"/>
            </a:xfrm>
            <a:custGeom>
              <a:avLst/>
              <a:gdLst/>
              <a:ahLst/>
              <a:cxnLst>
                <a:cxn ang="0">
                  <a:pos x="0" y="6"/>
                </a:cxn>
                <a:cxn ang="0">
                  <a:pos x="10" y="12"/>
                </a:cxn>
                <a:cxn ang="0">
                  <a:pos x="10" y="0"/>
                </a:cxn>
                <a:cxn ang="0">
                  <a:pos x="0" y="6"/>
                </a:cxn>
                <a:cxn ang="0">
                  <a:pos x="0" y="6"/>
                </a:cxn>
              </a:cxnLst>
              <a:rect l="0" t="0" r="r" b="b"/>
              <a:pathLst>
                <a:path w="10" h="12">
                  <a:moveTo>
                    <a:pt x="0" y="6"/>
                  </a:moveTo>
                  <a:lnTo>
                    <a:pt x="10" y="12"/>
                  </a:lnTo>
                  <a:lnTo>
                    <a:pt x="10" y="0"/>
                  </a:lnTo>
                  <a:lnTo>
                    <a:pt x="0" y="6"/>
                  </a:lnTo>
                  <a:lnTo>
                    <a:pt x="0"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3" name="Freeform 246">
              <a:extLst>
                <a:ext uri="{FF2B5EF4-FFF2-40B4-BE49-F238E27FC236}">
                  <a16:creationId xmlns:a16="http://schemas.microsoft.com/office/drawing/2014/main" id="{8664AB34-D473-4712-A7E9-9E889543667A}"/>
                </a:ext>
              </a:extLst>
            </p:cNvPr>
            <p:cNvSpPr>
              <a:spLocks/>
            </p:cNvSpPr>
            <p:nvPr/>
          </p:nvSpPr>
          <p:spPr bwMode="auto">
            <a:xfrm>
              <a:off x="5908828" y="3212160"/>
              <a:ext cx="7850" cy="8333"/>
            </a:xfrm>
            <a:custGeom>
              <a:avLst/>
              <a:gdLst/>
              <a:ahLst/>
              <a:cxnLst>
                <a:cxn ang="0">
                  <a:pos x="0" y="0"/>
                </a:cxn>
                <a:cxn ang="0">
                  <a:pos x="0" y="6"/>
                </a:cxn>
                <a:cxn ang="0">
                  <a:pos x="6" y="6"/>
                </a:cxn>
                <a:cxn ang="0">
                  <a:pos x="0" y="0"/>
                </a:cxn>
                <a:cxn ang="0">
                  <a:pos x="0" y="0"/>
                </a:cxn>
              </a:cxnLst>
              <a:rect l="0" t="0" r="r" b="b"/>
              <a:pathLst>
                <a:path w="6" h="6">
                  <a:moveTo>
                    <a:pt x="0" y="0"/>
                  </a:moveTo>
                  <a:lnTo>
                    <a:pt x="0" y="6"/>
                  </a:lnTo>
                  <a:lnTo>
                    <a:pt x="6"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344" name="Group 317">
              <a:extLst>
                <a:ext uri="{FF2B5EF4-FFF2-40B4-BE49-F238E27FC236}">
                  <a16:creationId xmlns:a16="http://schemas.microsoft.com/office/drawing/2014/main" id="{C1847816-9442-416B-9268-7D0AF66C651B}"/>
                </a:ext>
              </a:extLst>
            </p:cNvPr>
            <p:cNvGrpSpPr>
              <a:grpSpLocks/>
            </p:cNvGrpSpPr>
            <p:nvPr/>
          </p:nvGrpSpPr>
          <p:grpSpPr bwMode="auto">
            <a:xfrm>
              <a:off x="7074604" y="1964998"/>
              <a:ext cx="247287" cy="404148"/>
              <a:chOff x="4814" y="1483"/>
              <a:chExt cx="189" cy="291"/>
            </a:xfrm>
            <a:grpFill/>
          </p:grpSpPr>
          <p:sp>
            <p:nvSpPr>
              <p:cNvPr id="578" name="Freeform 307">
                <a:extLst>
                  <a:ext uri="{FF2B5EF4-FFF2-40B4-BE49-F238E27FC236}">
                    <a16:creationId xmlns:a16="http://schemas.microsoft.com/office/drawing/2014/main" id="{B7F36A2A-9905-4EC2-B4D8-38D4728D14F9}"/>
                  </a:ext>
                </a:extLst>
              </p:cNvPr>
              <p:cNvSpPr>
                <a:spLocks/>
              </p:cNvSpPr>
              <p:nvPr/>
            </p:nvSpPr>
            <p:spPr bwMode="auto">
              <a:xfrm>
                <a:off x="4991" y="1483"/>
                <a:ext cx="12" cy="12"/>
              </a:xfrm>
              <a:custGeom>
                <a:avLst/>
                <a:gdLst>
                  <a:gd name="T0" fmla="*/ 0 w 12"/>
                  <a:gd name="T1" fmla="*/ 9525 h 12"/>
                  <a:gd name="T2" fmla="*/ 9525 w 12"/>
                  <a:gd name="T3" fmla="*/ 19050 h 12"/>
                  <a:gd name="T4" fmla="*/ 19050 w 12"/>
                  <a:gd name="T5" fmla="*/ 0 h 12"/>
                  <a:gd name="T6" fmla="*/ 0 w 12"/>
                  <a:gd name="T7" fmla="*/ 9525 h 12"/>
                  <a:gd name="T8" fmla="*/ 0 w 12"/>
                  <a:gd name="T9" fmla="*/ 9525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0" y="6"/>
                    </a:moveTo>
                    <a:lnTo>
                      <a:pt x="6" y="12"/>
                    </a:lnTo>
                    <a:lnTo>
                      <a:pt x="12"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9" name="Freeform 308">
                <a:extLst>
                  <a:ext uri="{FF2B5EF4-FFF2-40B4-BE49-F238E27FC236}">
                    <a16:creationId xmlns:a16="http://schemas.microsoft.com/office/drawing/2014/main" id="{BBB07D97-11FA-4CF9-AA00-C592260598B0}"/>
                  </a:ext>
                </a:extLst>
              </p:cNvPr>
              <p:cNvSpPr>
                <a:spLocks/>
              </p:cNvSpPr>
              <p:nvPr/>
            </p:nvSpPr>
            <p:spPr bwMode="auto">
              <a:xfrm>
                <a:off x="4962" y="1495"/>
                <a:ext cx="23" cy="17"/>
              </a:xfrm>
              <a:custGeom>
                <a:avLst/>
                <a:gdLst>
                  <a:gd name="T0" fmla="*/ 0 w 23"/>
                  <a:gd name="T1" fmla="*/ 15875 h 17"/>
                  <a:gd name="T2" fmla="*/ 20638 w 23"/>
                  <a:gd name="T3" fmla="*/ 26987 h 17"/>
                  <a:gd name="T4" fmla="*/ 36513 w 23"/>
                  <a:gd name="T5" fmla="*/ 0 h 17"/>
                  <a:gd name="T6" fmla="*/ 0 w 23"/>
                  <a:gd name="T7" fmla="*/ 15875 h 17"/>
                  <a:gd name="T8" fmla="*/ 0 w 23"/>
                  <a:gd name="T9" fmla="*/ 15875 h 17"/>
                  <a:gd name="T10" fmla="*/ 0 60000 65536"/>
                  <a:gd name="T11" fmla="*/ 0 60000 65536"/>
                  <a:gd name="T12" fmla="*/ 0 60000 65536"/>
                  <a:gd name="T13" fmla="*/ 0 60000 65536"/>
                  <a:gd name="T14" fmla="*/ 0 60000 65536"/>
                  <a:gd name="T15" fmla="*/ 0 w 23"/>
                  <a:gd name="T16" fmla="*/ 0 h 17"/>
                  <a:gd name="T17" fmla="*/ 23 w 23"/>
                  <a:gd name="T18" fmla="*/ 17 h 17"/>
                </a:gdLst>
                <a:ahLst/>
                <a:cxnLst>
                  <a:cxn ang="T10">
                    <a:pos x="T0" y="T1"/>
                  </a:cxn>
                  <a:cxn ang="T11">
                    <a:pos x="T2" y="T3"/>
                  </a:cxn>
                  <a:cxn ang="T12">
                    <a:pos x="T4" y="T5"/>
                  </a:cxn>
                  <a:cxn ang="T13">
                    <a:pos x="T6" y="T7"/>
                  </a:cxn>
                  <a:cxn ang="T14">
                    <a:pos x="T8" y="T9"/>
                  </a:cxn>
                </a:cxnLst>
                <a:rect l="T15" t="T16" r="T17" b="T18"/>
                <a:pathLst>
                  <a:path w="23" h="17">
                    <a:moveTo>
                      <a:pt x="0" y="10"/>
                    </a:moveTo>
                    <a:lnTo>
                      <a:pt x="13" y="17"/>
                    </a:lnTo>
                    <a:lnTo>
                      <a:pt x="23" y="0"/>
                    </a:lnTo>
                    <a:lnTo>
                      <a:pt x="0" y="1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0" name="Freeform 309">
                <a:extLst>
                  <a:ext uri="{FF2B5EF4-FFF2-40B4-BE49-F238E27FC236}">
                    <a16:creationId xmlns:a16="http://schemas.microsoft.com/office/drawing/2014/main" id="{2DFB11F5-DA62-4F4A-9F8F-12C53948CA91}"/>
                  </a:ext>
                </a:extLst>
              </p:cNvPr>
              <p:cNvSpPr>
                <a:spLocks/>
              </p:cNvSpPr>
              <p:nvPr/>
            </p:nvSpPr>
            <p:spPr bwMode="auto">
              <a:xfrm>
                <a:off x="4869" y="1495"/>
                <a:ext cx="106" cy="84"/>
              </a:xfrm>
              <a:custGeom>
                <a:avLst/>
                <a:gdLst>
                  <a:gd name="T0" fmla="*/ 168275 w 106"/>
                  <a:gd name="T1" fmla="*/ 71437 h 84"/>
                  <a:gd name="T2" fmla="*/ 141288 w 106"/>
                  <a:gd name="T3" fmla="*/ 61913 h 84"/>
                  <a:gd name="T4" fmla="*/ 147638 w 106"/>
                  <a:gd name="T5" fmla="*/ 33338 h 84"/>
                  <a:gd name="T6" fmla="*/ 122238 w 106"/>
                  <a:gd name="T7" fmla="*/ 42862 h 84"/>
                  <a:gd name="T8" fmla="*/ 122238 w 106"/>
                  <a:gd name="T9" fmla="*/ 33338 h 84"/>
                  <a:gd name="T10" fmla="*/ 115888 w 106"/>
                  <a:gd name="T11" fmla="*/ 42862 h 84"/>
                  <a:gd name="T12" fmla="*/ 50800 w 106"/>
                  <a:gd name="T13" fmla="*/ 33338 h 84"/>
                  <a:gd name="T14" fmla="*/ 15875 w 106"/>
                  <a:gd name="T15" fmla="*/ 0 h 84"/>
                  <a:gd name="T16" fmla="*/ 0 w 106"/>
                  <a:gd name="T17" fmla="*/ 6350 h 84"/>
                  <a:gd name="T18" fmla="*/ 25400 w 106"/>
                  <a:gd name="T19" fmla="*/ 26988 h 84"/>
                  <a:gd name="T20" fmla="*/ 34925 w 106"/>
                  <a:gd name="T21" fmla="*/ 61913 h 84"/>
                  <a:gd name="T22" fmla="*/ 44450 w 106"/>
                  <a:gd name="T23" fmla="*/ 61913 h 84"/>
                  <a:gd name="T24" fmla="*/ 44450 w 106"/>
                  <a:gd name="T25" fmla="*/ 77787 h 84"/>
                  <a:gd name="T26" fmla="*/ 15875 w 106"/>
                  <a:gd name="T27" fmla="*/ 77787 h 84"/>
                  <a:gd name="T28" fmla="*/ 15875 w 106"/>
                  <a:gd name="T29" fmla="*/ 96837 h 84"/>
                  <a:gd name="T30" fmla="*/ 34925 w 106"/>
                  <a:gd name="T31" fmla="*/ 112713 h 84"/>
                  <a:gd name="T32" fmla="*/ 25400 w 106"/>
                  <a:gd name="T33" fmla="*/ 133350 h 84"/>
                  <a:gd name="T34" fmla="*/ 71438 w 106"/>
                  <a:gd name="T35" fmla="*/ 112713 h 84"/>
                  <a:gd name="T36" fmla="*/ 44450 w 106"/>
                  <a:gd name="T37" fmla="*/ 96837 h 84"/>
                  <a:gd name="T38" fmla="*/ 50800 w 106"/>
                  <a:gd name="T39" fmla="*/ 90487 h 84"/>
                  <a:gd name="T40" fmla="*/ 61913 w 106"/>
                  <a:gd name="T41" fmla="*/ 87312 h 84"/>
                  <a:gd name="T42" fmla="*/ 68263 w 106"/>
                  <a:gd name="T43" fmla="*/ 87312 h 84"/>
                  <a:gd name="T44" fmla="*/ 71438 w 106"/>
                  <a:gd name="T45" fmla="*/ 90487 h 84"/>
                  <a:gd name="T46" fmla="*/ 77788 w 106"/>
                  <a:gd name="T47" fmla="*/ 90487 h 84"/>
                  <a:gd name="T48" fmla="*/ 84138 w 106"/>
                  <a:gd name="T49" fmla="*/ 93662 h 84"/>
                  <a:gd name="T50" fmla="*/ 90487 w 106"/>
                  <a:gd name="T51" fmla="*/ 96837 h 84"/>
                  <a:gd name="T52" fmla="*/ 106363 w 106"/>
                  <a:gd name="T53" fmla="*/ 106363 h 84"/>
                  <a:gd name="T54" fmla="*/ 122238 w 106"/>
                  <a:gd name="T55" fmla="*/ 106363 h 84"/>
                  <a:gd name="T56" fmla="*/ 115888 w 106"/>
                  <a:gd name="T57" fmla="*/ 77787 h 84"/>
                  <a:gd name="T58" fmla="*/ 168275 w 106"/>
                  <a:gd name="T59" fmla="*/ 71437 h 84"/>
                  <a:gd name="T60" fmla="*/ 168275 w 106"/>
                  <a:gd name="T61" fmla="*/ 71437 h 8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84"/>
                  <a:gd name="T95" fmla="*/ 106 w 106"/>
                  <a:gd name="T96" fmla="*/ 84 h 8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84">
                    <a:moveTo>
                      <a:pt x="106" y="45"/>
                    </a:moveTo>
                    <a:lnTo>
                      <a:pt x="89" y="39"/>
                    </a:lnTo>
                    <a:lnTo>
                      <a:pt x="93" y="21"/>
                    </a:lnTo>
                    <a:lnTo>
                      <a:pt x="77" y="27"/>
                    </a:lnTo>
                    <a:lnTo>
                      <a:pt x="77" y="21"/>
                    </a:lnTo>
                    <a:lnTo>
                      <a:pt x="73" y="27"/>
                    </a:lnTo>
                    <a:lnTo>
                      <a:pt x="32" y="21"/>
                    </a:lnTo>
                    <a:lnTo>
                      <a:pt x="10" y="0"/>
                    </a:lnTo>
                    <a:lnTo>
                      <a:pt x="0" y="4"/>
                    </a:lnTo>
                    <a:lnTo>
                      <a:pt x="16" y="17"/>
                    </a:lnTo>
                    <a:lnTo>
                      <a:pt x="22" y="39"/>
                    </a:lnTo>
                    <a:lnTo>
                      <a:pt x="28" y="39"/>
                    </a:lnTo>
                    <a:lnTo>
                      <a:pt x="28" y="49"/>
                    </a:lnTo>
                    <a:lnTo>
                      <a:pt x="10" y="49"/>
                    </a:lnTo>
                    <a:lnTo>
                      <a:pt x="10" y="61"/>
                    </a:lnTo>
                    <a:lnTo>
                      <a:pt x="22" y="71"/>
                    </a:lnTo>
                    <a:lnTo>
                      <a:pt x="16" y="84"/>
                    </a:lnTo>
                    <a:lnTo>
                      <a:pt x="45" y="71"/>
                    </a:lnTo>
                    <a:lnTo>
                      <a:pt x="28" y="61"/>
                    </a:lnTo>
                    <a:lnTo>
                      <a:pt x="32" y="57"/>
                    </a:lnTo>
                    <a:lnTo>
                      <a:pt x="39" y="55"/>
                    </a:lnTo>
                    <a:lnTo>
                      <a:pt x="43" y="55"/>
                    </a:lnTo>
                    <a:lnTo>
                      <a:pt x="45" y="57"/>
                    </a:lnTo>
                    <a:lnTo>
                      <a:pt x="49" y="57"/>
                    </a:lnTo>
                    <a:lnTo>
                      <a:pt x="53" y="59"/>
                    </a:lnTo>
                    <a:lnTo>
                      <a:pt x="57" y="61"/>
                    </a:lnTo>
                    <a:lnTo>
                      <a:pt x="67" y="67"/>
                    </a:lnTo>
                    <a:lnTo>
                      <a:pt x="77" y="67"/>
                    </a:lnTo>
                    <a:lnTo>
                      <a:pt x="73" y="49"/>
                    </a:lnTo>
                    <a:lnTo>
                      <a:pt x="106" y="4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1" name="Freeform 310">
                <a:extLst>
                  <a:ext uri="{FF2B5EF4-FFF2-40B4-BE49-F238E27FC236}">
                    <a16:creationId xmlns:a16="http://schemas.microsoft.com/office/drawing/2014/main" id="{9ECB63A0-59AA-484E-9AE2-372FCD471A85}"/>
                  </a:ext>
                </a:extLst>
              </p:cNvPr>
              <p:cNvSpPr>
                <a:spLocks/>
              </p:cNvSpPr>
              <p:nvPr/>
            </p:nvSpPr>
            <p:spPr bwMode="auto">
              <a:xfrm>
                <a:off x="4824" y="1573"/>
                <a:ext cx="151" cy="150"/>
              </a:xfrm>
              <a:custGeom>
                <a:avLst/>
                <a:gdLst>
                  <a:gd name="T0" fmla="*/ 219075 w 151"/>
                  <a:gd name="T1" fmla="*/ 106363 h 150"/>
                  <a:gd name="T2" fmla="*/ 193675 w 151"/>
                  <a:gd name="T3" fmla="*/ 95250 h 150"/>
                  <a:gd name="T4" fmla="*/ 212725 w 151"/>
                  <a:gd name="T5" fmla="*/ 88900 h 150"/>
                  <a:gd name="T6" fmla="*/ 212725 w 151"/>
                  <a:gd name="T7" fmla="*/ 69850 h 150"/>
                  <a:gd name="T8" fmla="*/ 203200 w 151"/>
                  <a:gd name="T9" fmla="*/ 44450 h 150"/>
                  <a:gd name="T10" fmla="*/ 168275 w 151"/>
                  <a:gd name="T11" fmla="*/ 15875 h 150"/>
                  <a:gd name="T12" fmla="*/ 158750 w 151"/>
                  <a:gd name="T13" fmla="*/ 0 h 150"/>
                  <a:gd name="T14" fmla="*/ 142875 w 151"/>
                  <a:gd name="T15" fmla="*/ 9525 h 150"/>
                  <a:gd name="T16" fmla="*/ 133350 w 151"/>
                  <a:gd name="T17" fmla="*/ 25400 h 150"/>
                  <a:gd name="T18" fmla="*/ 142875 w 151"/>
                  <a:gd name="T19" fmla="*/ 60325 h 150"/>
                  <a:gd name="T20" fmla="*/ 168275 w 151"/>
                  <a:gd name="T21" fmla="*/ 106363 h 150"/>
                  <a:gd name="T22" fmla="*/ 142875 w 151"/>
                  <a:gd name="T23" fmla="*/ 95250 h 150"/>
                  <a:gd name="T24" fmla="*/ 152400 w 151"/>
                  <a:gd name="T25" fmla="*/ 115888 h 150"/>
                  <a:gd name="T26" fmla="*/ 122238 w 151"/>
                  <a:gd name="T27" fmla="*/ 131762 h 150"/>
                  <a:gd name="T28" fmla="*/ 115888 w 151"/>
                  <a:gd name="T29" fmla="*/ 122237 h 150"/>
                  <a:gd name="T30" fmla="*/ 115888 w 151"/>
                  <a:gd name="T31" fmla="*/ 150812 h 150"/>
                  <a:gd name="T32" fmla="*/ 96838 w 151"/>
                  <a:gd name="T33" fmla="*/ 166687 h 150"/>
                  <a:gd name="T34" fmla="*/ 115888 w 151"/>
                  <a:gd name="T35" fmla="*/ 176212 h 150"/>
                  <a:gd name="T36" fmla="*/ 96838 w 151"/>
                  <a:gd name="T37" fmla="*/ 185737 h 150"/>
                  <a:gd name="T38" fmla="*/ 87313 w 151"/>
                  <a:gd name="T39" fmla="*/ 176212 h 150"/>
                  <a:gd name="T40" fmla="*/ 46038 w 151"/>
                  <a:gd name="T41" fmla="*/ 176212 h 150"/>
                  <a:gd name="T42" fmla="*/ 19050 w 151"/>
                  <a:gd name="T43" fmla="*/ 201612 h 150"/>
                  <a:gd name="T44" fmla="*/ 0 w 151"/>
                  <a:gd name="T45" fmla="*/ 201612 h 150"/>
                  <a:gd name="T46" fmla="*/ 0 w 151"/>
                  <a:gd name="T47" fmla="*/ 228600 h 150"/>
                  <a:gd name="T48" fmla="*/ 26988 w 151"/>
                  <a:gd name="T49" fmla="*/ 228600 h 150"/>
                  <a:gd name="T50" fmla="*/ 36513 w 151"/>
                  <a:gd name="T51" fmla="*/ 222250 h 150"/>
                  <a:gd name="T52" fmla="*/ 87313 w 151"/>
                  <a:gd name="T53" fmla="*/ 201612 h 150"/>
                  <a:gd name="T54" fmla="*/ 96838 w 151"/>
                  <a:gd name="T55" fmla="*/ 212725 h 150"/>
                  <a:gd name="T56" fmla="*/ 106363 w 151"/>
                  <a:gd name="T57" fmla="*/ 212725 h 150"/>
                  <a:gd name="T58" fmla="*/ 115888 w 151"/>
                  <a:gd name="T59" fmla="*/ 238125 h 150"/>
                  <a:gd name="T60" fmla="*/ 142875 w 151"/>
                  <a:gd name="T61" fmla="*/ 238125 h 150"/>
                  <a:gd name="T62" fmla="*/ 152400 w 151"/>
                  <a:gd name="T63" fmla="*/ 201612 h 150"/>
                  <a:gd name="T64" fmla="*/ 158750 w 151"/>
                  <a:gd name="T65" fmla="*/ 195262 h 150"/>
                  <a:gd name="T66" fmla="*/ 158750 w 151"/>
                  <a:gd name="T67" fmla="*/ 212725 h 150"/>
                  <a:gd name="T68" fmla="*/ 187325 w 151"/>
                  <a:gd name="T69" fmla="*/ 212725 h 150"/>
                  <a:gd name="T70" fmla="*/ 187325 w 151"/>
                  <a:gd name="T71" fmla="*/ 195262 h 150"/>
                  <a:gd name="T72" fmla="*/ 203200 w 151"/>
                  <a:gd name="T73" fmla="*/ 212725 h 150"/>
                  <a:gd name="T74" fmla="*/ 203200 w 151"/>
                  <a:gd name="T75" fmla="*/ 185737 h 150"/>
                  <a:gd name="T76" fmla="*/ 219075 w 151"/>
                  <a:gd name="T77" fmla="*/ 176212 h 150"/>
                  <a:gd name="T78" fmla="*/ 228600 w 151"/>
                  <a:gd name="T79" fmla="*/ 195262 h 150"/>
                  <a:gd name="T80" fmla="*/ 239713 w 151"/>
                  <a:gd name="T81" fmla="*/ 166687 h 150"/>
                  <a:gd name="T82" fmla="*/ 219075 w 151"/>
                  <a:gd name="T83" fmla="*/ 150812 h 150"/>
                  <a:gd name="T84" fmla="*/ 219075 w 151"/>
                  <a:gd name="T85" fmla="*/ 106363 h 150"/>
                  <a:gd name="T86" fmla="*/ 219075 w 151"/>
                  <a:gd name="T87" fmla="*/ 106363 h 1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1"/>
                  <a:gd name="T133" fmla="*/ 0 h 150"/>
                  <a:gd name="T134" fmla="*/ 151 w 151"/>
                  <a:gd name="T135" fmla="*/ 150 h 1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1" h="150">
                    <a:moveTo>
                      <a:pt x="138" y="67"/>
                    </a:moveTo>
                    <a:lnTo>
                      <a:pt x="122" y="60"/>
                    </a:lnTo>
                    <a:lnTo>
                      <a:pt x="134" y="56"/>
                    </a:lnTo>
                    <a:lnTo>
                      <a:pt x="134" y="44"/>
                    </a:lnTo>
                    <a:lnTo>
                      <a:pt x="128" y="28"/>
                    </a:lnTo>
                    <a:lnTo>
                      <a:pt x="106" y="10"/>
                    </a:lnTo>
                    <a:lnTo>
                      <a:pt x="100" y="0"/>
                    </a:lnTo>
                    <a:lnTo>
                      <a:pt x="90" y="6"/>
                    </a:lnTo>
                    <a:lnTo>
                      <a:pt x="84" y="16"/>
                    </a:lnTo>
                    <a:lnTo>
                      <a:pt x="90" y="38"/>
                    </a:lnTo>
                    <a:lnTo>
                      <a:pt x="106" y="67"/>
                    </a:lnTo>
                    <a:lnTo>
                      <a:pt x="90" y="60"/>
                    </a:lnTo>
                    <a:lnTo>
                      <a:pt x="96" y="73"/>
                    </a:lnTo>
                    <a:lnTo>
                      <a:pt x="77" y="83"/>
                    </a:lnTo>
                    <a:lnTo>
                      <a:pt x="73" y="77"/>
                    </a:lnTo>
                    <a:lnTo>
                      <a:pt x="73" y="95"/>
                    </a:lnTo>
                    <a:lnTo>
                      <a:pt x="61" y="105"/>
                    </a:lnTo>
                    <a:lnTo>
                      <a:pt x="73" y="111"/>
                    </a:lnTo>
                    <a:lnTo>
                      <a:pt x="61" y="117"/>
                    </a:lnTo>
                    <a:lnTo>
                      <a:pt x="55" y="111"/>
                    </a:lnTo>
                    <a:lnTo>
                      <a:pt x="29" y="111"/>
                    </a:lnTo>
                    <a:lnTo>
                      <a:pt x="12" y="127"/>
                    </a:lnTo>
                    <a:lnTo>
                      <a:pt x="0" y="127"/>
                    </a:lnTo>
                    <a:lnTo>
                      <a:pt x="0" y="144"/>
                    </a:lnTo>
                    <a:lnTo>
                      <a:pt x="17" y="144"/>
                    </a:lnTo>
                    <a:lnTo>
                      <a:pt x="23" y="140"/>
                    </a:lnTo>
                    <a:lnTo>
                      <a:pt x="55" y="127"/>
                    </a:lnTo>
                    <a:lnTo>
                      <a:pt x="61" y="134"/>
                    </a:lnTo>
                    <a:lnTo>
                      <a:pt x="67" y="134"/>
                    </a:lnTo>
                    <a:lnTo>
                      <a:pt x="73" y="150"/>
                    </a:lnTo>
                    <a:lnTo>
                      <a:pt x="90" y="150"/>
                    </a:lnTo>
                    <a:lnTo>
                      <a:pt x="96" y="127"/>
                    </a:lnTo>
                    <a:lnTo>
                      <a:pt x="100" y="123"/>
                    </a:lnTo>
                    <a:lnTo>
                      <a:pt x="100" y="134"/>
                    </a:lnTo>
                    <a:lnTo>
                      <a:pt x="118" y="134"/>
                    </a:lnTo>
                    <a:lnTo>
                      <a:pt x="118" y="123"/>
                    </a:lnTo>
                    <a:lnTo>
                      <a:pt x="128" y="134"/>
                    </a:lnTo>
                    <a:lnTo>
                      <a:pt x="128" y="117"/>
                    </a:lnTo>
                    <a:lnTo>
                      <a:pt x="138" y="111"/>
                    </a:lnTo>
                    <a:lnTo>
                      <a:pt x="144" y="123"/>
                    </a:lnTo>
                    <a:lnTo>
                      <a:pt x="151" y="105"/>
                    </a:lnTo>
                    <a:lnTo>
                      <a:pt x="138" y="95"/>
                    </a:lnTo>
                    <a:lnTo>
                      <a:pt x="138"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2" name="Freeform 311">
                <a:extLst>
                  <a:ext uri="{FF2B5EF4-FFF2-40B4-BE49-F238E27FC236}">
                    <a16:creationId xmlns:a16="http://schemas.microsoft.com/office/drawing/2014/main" id="{385C3B7A-22F4-4E90-A608-C7F02EB849AC}"/>
                  </a:ext>
                </a:extLst>
              </p:cNvPr>
              <p:cNvSpPr>
                <a:spLocks/>
              </p:cNvSpPr>
              <p:nvPr/>
            </p:nvSpPr>
            <p:spPr bwMode="auto">
              <a:xfrm>
                <a:off x="4847" y="1713"/>
                <a:ext cx="38" cy="32"/>
              </a:xfrm>
              <a:custGeom>
                <a:avLst/>
                <a:gdLst>
                  <a:gd name="T0" fmla="*/ 50800 w 38"/>
                  <a:gd name="T1" fmla="*/ 0 h 32"/>
                  <a:gd name="T2" fmla="*/ 44450 w 38"/>
                  <a:gd name="T3" fmla="*/ 0 h 32"/>
                  <a:gd name="T4" fmla="*/ 34925 w 38"/>
                  <a:gd name="T5" fmla="*/ 6350 h 32"/>
                  <a:gd name="T6" fmla="*/ 19050 w 38"/>
                  <a:gd name="T7" fmla="*/ 6350 h 32"/>
                  <a:gd name="T8" fmla="*/ 0 w 38"/>
                  <a:gd name="T9" fmla="*/ 25400 h 32"/>
                  <a:gd name="T10" fmla="*/ 34925 w 38"/>
                  <a:gd name="T11" fmla="*/ 50800 h 32"/>
                  <a:gd name="T12" fmla="*/ 44450 w 38"/>
                  <a:gd name="T13" fmla="*/ 25400 h 32"/>
                  <a:gd name="T14" fmla="*/ 60325 w 38"/>
                  <a:gd name="T15" fmla="*/ 15875 h 32"/>
                  <a:gd name="T16" fmla="*/ 60325 w 38"/>
                  <a:gd name="T17" fmla="*/ 6350 h 32"/>
                  <a:gd name="T18" fmla="*/ 50800 w 38"/>
                  <a:gd name="T19" fmla="*/ 0 h 32"/>
                  <a:gd name="T20" fmla="*/ 50800 w 38"/>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32"/>
                  <a:gd name="T35" fmla="*/ 38 w 3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32">
                    <a:moveTo>
                      <a:pt x="32" y="0"/>
                    </a:moveTo>
                    <a:lnTo>
                      <a:pt x="28" y="0"/>
                    </a:lnTo>
                    <a:lnTo>
                      <a:pt x="22" y="4"/>
                    </a:lnTo>
                    <a:lnTo>
                      <a:pt x="12" y="4"/>
                    </a:lnTo>
                    <a:lnTo>
                      <a:pt x="0" y="16"/>
                    </a:lnTo>
                    <a:lnTo>
                      <a:pt x="22" y="32"/>
                    </a:lnTo>
                    <a:lnTo>
                      <a:pt x="28" y="16"/>
                    </a:lnTo>
                    <a:lnTo>
                      <a:pt x="38" y="10"/>
                    </a:lnTo>
                    <a:lnTo>
                      <a:pt x="38" y="4"/>
                    </a:lnTo>
                    <a:lnTo>
                      <a:pt x="3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83" name="Freeform 312">
                <a:extLst>
                  <a:ext uri="{FF2B5EF4-FFF2-40B4-BE49-F238E27FC236}">
                    <a16:creationId xmlns:a16="http://schemas.microsoft.com/office/drawing/2014/main" id="{3493F898-18D2-44AE-84B2-C6C63154DA48}"/>
                  </a:ext>
                </a:extLst>
              </p:cNvPr>
              <p:cNvSpPr>
                <a:spLocks/>
              </p:cNvSpPr>
              <p:nvPr/>
            </p:nvSpPr>
            <p:spPr bwMode="auto">
              <a:xfrm>
                <a:off x="4814" y="1723"/>
                <a:ext cx="39" cy="51"/>
              </a:xfrm>
              <a:custGeom>
                <a:avLst/>
                <a:gdLst>
                  <a:gd name="T0" fmla="*/ 52388 w 39"/>
                  <a:gd name="T1" fmla="*/ 19050 h 51"/>
                  <a:gd name="T2" fmla="*/ 42863 w 39"/>
                  <a:gd name="T3" fmla="*/ 0 h 51"/>
                  <a:gd name="T4" fmla="*/ 6350 w 39"/>
                  <a:gd name="T5" fmla="*/ 0 h 51"/>
                  <a:gd name="T6" fmla="*/ 0 w 39"/>
                  <a:gd name="T7" fmla="*/ 9525 h 51"/>
                  <a:gd name="T8" fmla="*/ 0 w 39"/>
                  <a:gd name="T9" fmla="*/ 28575 h 51"/>
                  <a:gd name="T10" fmla="*/ 25400 w 39"/>
                  <a:gd name="T11" fmla="*/ 28575 h 51"/>
                  <a:gd name="T12" fmla="*/ 15875 w 39"/>
                  <a:gd name="T13" fmla="*/ 53975 h 51"/>
                  <a:gd name="T14" fmla="*/ 34925 w 39"/>
                  <a:gd name="T15" fmla="*/ 80962 h 51"/>
                  <a:gd name="T16" fmla="*/ 61913 w 39"/>
                  <a:gd name="T17" fmla="*/ 69850 h 51"/>
                  <a:gd name="T18" fmla="*/ 52388 w 39"/>
                  <a:gd name="T19" fmla="*/ 19050 h 51"/>
                  <a:gd name="T20" fmla="*/ 52388 w 39"/>
                  <a:gd name="T21" fmla="*/ 19050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51"/>
                  <a:gd name="T35" fmla="*/ 39 w 39"/>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51">
                    <a:moveTo>
                      <a:pt x="33" y="12"/>
                    </a:moveTo>
                    <a:lnTo>
                      <a:pt x="27" y="0"/>
                    </a:lnTo>
                    <a:lnTo>
                      <a:pt x="4" y="0"/>
                    </a:lnTo>
                    <a:lnTo>
                      <a:pt x="0" y="6"/>
                    </a:lnTo>
                    <a:lnTo>
                      <a:pt x="0" y="18"/>
                    </a:lnTo>
                    <a:lnTo>
                      <a:pt x="16" y="18"/>
                    </a:lnTo>
                    <a:lnTo>
                      <a:pt x="10" y="34"/>
                    </a:lnTo>
                    <a:lnTo>
                      <a:pt x="22" y="51"/>
                    </a:lnTo>
                    <a:lnTo>
                      <a:pt x="39" y="44"/>
                    </a:lnTo>
                    <a:lnTo>
                      <a:pt x="33"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sp>
          <p:nvSpPr>
            <p:cNvPr id="345" name="Freeform 247">
              <a:extLst>
                <a:ext uri="{FF2B5EF4-FFF2-40B4-BE49-F238E27FC236}">
                  <a16:creationId xmlns:a16="http://schemas.microsoft.com/office/drawing/2014/main" id="{FCAE89DB-D644-40DA-93A6-7AE8089BC0B4}"/>
                </a:ext>
              </a:extLst>
            </p:cNvPr>
            <p:cNvSpPr>
              <a:spLocks/>
            </p:cNvSpPr>
            <p:nvPr/>
          </p:nvSpPr>
          <p:spPr bwMode="auto">
            <a:xfrm>
              <a:off x="6054060" y="2941342"/>
              <a:ext cx="66728" cy="101384"/>
            </a:xfrm>
            <a:custGeom>
              <a:avLst/>
              <a:gdLst/>
              <a:ahLst/>
              <a:cxnLst>
                <a:cxn ang="0">
                  <a:pos x="13" y="0"/>
                </a:cxn>
                <a:cxn ang="0">
                  <a:pos x="0" y="34"/>
                </a:cxn>
                <a:cxn ang="0">
                  <a:pos x="13" y="67"/>
                </a:cxn>
                <a:cxn ang="0">
                  <a:pos x="29" y="73"/>
                </a:cxn>
                <a:cxn ang="0">
                  <a:pos x="51" y="57"/>
                </a:cxn>
                <a:cxn ang="0">
                  <a:pos x="39" y="16"/>
                </a:cxn>
                <a:cxn ang="0">
                  <a:pos x="13" y="0"/>
                </a:cxn>
                <a:cxn ang="0">
                  <a:pos x="13" y="0"/>
                </a:cxn>
              </a:cxnLst>
              <a:rect l="0" t="0" r="r" b="b"/>
              <a:pathLst>
                <a:path w="51" h="73">
                  <a:moveTo>
                    <a:pt x="13" y="0"/>
                  </a:moveTo>
                  <a:lnTo>
                    <a:pt x="0" y="34"/>
                  </a:lnTo>
                  <a:lnTo>
                    <a:pt x="13" y="67"/>
                  </a:lnTo>
                  <a:lnTo>
                    <a:pt x="29" y="73"/>
                  </a:lnTo>
                  <a:lnTo>
                    <a:pt x="51" y="57"/>
                  </a:lnTo>
                  <a:lnTo>
                    <a:pt x="39" y="16"/>
                  </a:lnTo>
                  <a:lnTo>
                    <a:pt x="13" y="0"/>
                  </a:lnTo>
                  <a:lnTo>
                    <a:pt x="13"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6" name="Freeform 348">
              <a:extLst>
                <a:ext uri="{FF2B5EF4-FFF2-40B4-BE49-F238E27FC236}">
                  <a16:creationId xmlns:a16="http://schemas.microsoft.com/office/drawing/2014/main" id="{3B6A8C20-695A-474F-BD1E-077055032C95}"/>
                </a:ext>
              </a:extLst>
            </p:cNvPr>
            <p:cNvSpPr>
              <a:spLocks/>
            </p:cNvSpPr>
            <p:nvPr/>
          </p:nvSpPr>
          <p:spPr bwMode="auto">
            <a:xfrm>
              <a:off x="6216300" y="2509416"/>
              <a:ext cx="115139" cy="147215"/>
            </a:xfrm>
            <a:custGeom>
              <a:avLst/>
              <a:gdLst/>
              <a:ahLst/>
              <a:cxnLst>
                <a:cxn ang="0">
                  <a:pos x="49" y="71"/>
                </a:cxn>
                <a:cxn ang="0">
                  <a:pos x="49" y="61"/>
                </a:cxn>
                <a:cxn ang="0">
                  <a:pos x="61" y="67"/>
                </a:cxn>
                <a:cxn ang="0">
                  <a:pos x="77" y="106"/>
                </a:cxn>
                <a:cxn ang="0">
                  <a:pos x="88" y="77"/>
                </a:cxn>
                <a:cxn ang="0">
                  <a:pos x="77" y="49"/>
                </a:cxn>
                <a:cxn ang="0">
                  <a:pos x="71" y="55"/>
                </a:cxn>
                <a:cxn ang="0">
                  <a:pos x="61" y="49"/>
                </a:cxn>
                <a:cxn ang="0">
                  <a:pos x="71" y="20"/>
                </a:cxn>
                <a:cxn ang="0">
                  <a:pos x="33" y="20"/>
                </a:cxn>
                <a:cxn ang="0">
                  <a:pos x="21" y="0"/>
                </a:cxn>
                <a:cxn ang="0">
                  <a:pos x="4" y="0"/>
                </a:cxn>
                <a:cxn ang="0">
                  <a:pos x="0" y="10"/>
                </a:cxn>
                <a:cxn ang="0">
                  <a:pos x="10" y="20"/>
                </a:cxn>
                <a:cxn ang="0">
                  <a:pos x="0" y="39"/>
                </a:cxn>
                <a:cxn ang="0">
                  <a:pos x="21" y="49"/>
                </a:cxn>
                <a:cxn ang="0">
                  <a:pos x="27" y="83"/>
                </a:cxn>
                <a:cxn ang="0">
                  <a:pos x="49" y="71"/>
                </a:cxn>
                <a:cxn ang="0">
                  <a:pos x="49" y="71"/>
                </a:cxn>
              </a:cxnLst>
              <a:rect l="0" t="0" r="r" b="b"/>
              <a:pathLst>
                <a:path w="88" h="106">
                  <a:moveTo>
                    <a:pt x="49" y="71"/>
                  </a:moveTo>
                  <a:lnTo>
                    <a:pt x="49" y="61"/>
                  </a:lnTo>
                  <a:lnTo>
                    <a:pt x="61" y="67"/>
                  </a:lnTo>
                  <a:lnTo>
                    <a:pt x="77" y="106"/>
                  </a:lnTo>
                  <a:lnTo>
                    <a:pt x="88" y="77"/>
                  </a:lnTo>
                  <a:lnTo>
                    <a:pt x="77" y="49"/>
                  </a:lnTo>
                  <a:lnTo>
                    <a:pt x="71" y="55"/>
                  </a:lnTo>
                  <a:lnTo>
                    <a:pt x="61" y="49"/>
                  </a:lnTo>
                  <a:lnTo>
                    <a:pt x="71" y="20"/>
                  </a:lnTo>
                  <a:lnTo>
                    <a:pt x="33" y="20"/>
                  </a:lnTo>
                  <a:lnTo>
                    <a:pt x="21" y="0"/>
                  </a:lnTo>
                  <a:lnTo>
                    <a:pt x="4" y="0"/>
                  </a:lnTo>
                  <a:lnTo>
                    <a:pt x="0" y="10"/>
                  </a:lnTo>
                  <a:lnTo>
                    <a:pt x="10" y="20"/>
                  </a:lnTo>
                  <a:lnTo>
                    <a:pt x="0" y="39"/>
                  </a:lnTo>
                  <a:lnTo>
                    <a:pt x="21" y="49"/>
                  </a:lnTo>
                  <a:lnTo>
                    <a:pt x="27" y="83"/>
                  </a:lnTo>
                  <a:lnTo>
                    <a:pt x="49" y="71"/>
                  </a:lnTo>
                  <a:lnTo>
                    <a:pt x="49" y="7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7" name="Freeform 251">
              <a:extLst>
                <a:ext uri="{FF2B5EF4-FFF2-40B4-BE49-F238E27FC236}">
                  <a16:creationId xmlns:a16="http://schemas.microsoft.com/office/drawing/2014/main" id="{48306D65-6B87-431B-A336-A82636D20DA9}"/>
                </a:ext>
              </a:extLst>
            </p:cNvPr>
            <p:cNvSpPr>
              <a:spLocks/>
            </p:cNvSpPr>
            <p:nvPr/>
          </p:nvSpPr>
          <p:spPr bwMode="auto">
            <a:xfrm>
              <a:off x="6317047" y="2444143"/>
              <a:ext cx="197568" cy="451367"/>
            </a:xfrm>
            <a:custGeom>
              <a:avLst/>
              <a:gdLst/>
              <a:ahLst/>
              <a:cxnLst>
                <a:cxn ang="0">
                  <a:pos x="61" y="23"/>
                </a:cxn>
                <a:cxn ang="0">
                  <a:pos x="45" y="35"/>
                </a:cxn>
                <a:cxn ang="0">
                  <a:pos x="39" y="80"/>
                </a:cxn>
                <a:cxn ang="0">
                  <a:pos x="23" y="86"/>
                </a:cxn>
                <a:cxn ang="0">
                  <a:pos x="0" y="153"/>
                </a:cxn>
                <a:cxn ang="0">
                  <a:pos x="27" y="163"/>
                </a:cxn>
                <a:cxn ang="0">
                  <a:pos x="49" y="201"/>
                </a:cxn>
                <a:cxn ang="0">
                  <a:pos x="45" y="230"/>
                </a:cxn>
                <a:cxn ang="0">
                  <a:pos x="61" y="230"/>
                </a:cxn>
                <a:cxn ang="0">
                  <a:pos x="74" y="236"/>
                </a:cxn>
                <a:cxn ang="0">
                  <a:pos x="78" y="224"/>
                </a:cxn>
                <a:cxn ang="0">
                  <a:pos x="94" y="220"/>
                </a:cxn>
                <a:cxn ang="0">
                  <a:pos x="116" y="281"/>
                </a:cxn>
                <a:cxn ang="0">
                  <a:pos x="128" y="287"/>
                </a:cxn>
                <a:cxn ang="0">
                  <a:pos x="128" y="297"/>
                </a:cxn>
                <a:cxn ang="0">
                  <a:pos x="122" y="303"/>
                </a:cxn>
                <a:cxn ang="0">
                  <a:pos x="116" y="325"/>
                </a:cxn>
                <a:cxn ang="0">
                  <a:pos x="139" y="325"/>
                </a:cxn>
                <a:cxn ang="0">
                  <a:pos x="145" y="287"/>
                </a:cxn>
                <a:cxn ang="0">
                  <a:pos x="128" y="252"/>
                </a:cxn>
                <a:cxn ang="0">
                  <a:pos x="134" y="236"/>
                </a:cxn>
                <a:cxn ang="0">
                  <a:pos x="112" y="201"/>
                </a:cxn>
                <a:cxn ang="0">
                  <a:pos x="112" y="169"/>
                </a:cxn>
                <a:cxn ang="0">
                  <a:pos x="145" y="153"/>
                </a:cxn>
                <a:cxn ang="0">
                  <a:pos x="151" y="130"/>
                </a:cxn>
                <a:cxn ang="0">
                  <a:pos x="134" y="130"/>
                </a:cxn>
                <a:cxn ang="0">
                  <a:pos x="106" y="86"/>
                </a:cxn>
                <a:cxn ang="0">
                  <a:pos x="84" y="80"/>
                </a:cxn>
                <a:cxn ang="0">
                  <a:pos x="100" y="51"/>
                </a:cxn>
                <a:cxn ang="0">
                  <a:pos x="100" y="19"/>
                </a:cxn>
                <a:cxn ang="0">
                  <a:pos x="74" y="0"/>
                </a:cxn>
                <a:cxn ang="0">
                  <a:pos x="61" y="23"/>
                </a:cxn>
                <a:cxn ang="0">
                  <a:pos x="61" y="23"/>
                </a:cxn>
              </a:cxnLst>
              <a:rect l="0" t="0" r="r" b="b"/>
              <a:pathLst>
                <a:path w="151" h="325">
                  <a:moveTo>
                    <a:pt x="61" y="23"/>
                  </a:moveTo>
                  <a:lnTo>
                    <a:pt x="45" y="35"/>
                  </a:lnTo>
                  <a:lnTo>
                    <a:pt x="39" y="80"/>
                  </a:lnTo>
                  <a:lnTo>
                    <a:pt x="23" y="86"/>
                  </a:lnTo>
                  <a:lnTo>
                    <a:pt x="0" y="153"/>
                  </a:lnTo>
                  <a:lnTo>
                    <a:pt x="27" y="163"/>
                  </a:lnTo>
                  <a:lnTo>
                    <a:pt x="49" y="201"/>
                  </a:lnTo>
                  <a:lnTo>
                    <a:pt x="45" y="230"/>
                  </a:lnTo>
                  <a:lnTo>
                    <a:pt x="61" y="230"/>
                  </a:lnTo>
                  <a:lnTo>
                    <a:pt x="74" y="236"/>
                  </a:lnTo>
                  <a:lnTo>
                    <a:pt x="78" y="224"/>
                  </a:lnTo>
                  <a:lnTo>
                    <a:pt x="94" y="220"/>
                  </a:lnTo>
                  <a:lnTo>
                    <a:pt x="116" y="281"/>
                  </a:lnTo>
                  <a:lnTo>
                    <a:pt x="128" y="287"/>
                  </a:lnTo>
                  <a:lnTo>
                    <a:pt x="128" y="297"/>
                  </a:lnTo>
                  <a:lnTo>
                    <a:pt x="122" y="303"/>
                  </a:lnTo>
                  <a:lnTo>
                    <a:pt x="116" y="325"/>
                  </a:lnTo>
                  <a:lnTo>
                    <a:pt x="139" y="325"/>
                  </a:lnTo>
                  <a:lnTo>
                    <a:pt x="145" y="287"/>
                  </a:lnTo>
                  <a:lnTo>
                    <a:pt x="128" y="252"/>
                  </a:lnTo>
                  <a:lnTo>
                    <a:pt x="134" y="236"/>
                  </a:lnTo>
                  <a:lnTo>
                    <a:pt x="112" y="201"/>
                  </a:lnTo>
                  <a:lnTo>
                    <a:pt x="112" y="169"/>
                  </a:lnTo>
                  <a:lnTo>
                    <a:pt x="145" y="153"/>
                  </a:lnTo>
                  <a:lnTo>
                    <a:pt x="151" y="130"/>
                  </a:lnTo>
                  <a:lnTo>
                    <a:pt x="134" y="130"/>
                  </a:lnTo>
                  <a:lnTo>
                    <a:pt x="106" y="86"/>
                  </a:lnTo>
                  <a:lnTo>
                    <a:pt x="84" y="80"/>
                  </a:lnTo>
                  <a:lnTo>
                    <a:pt x="100" y="51"/>
                  </a:lnTo>
                  <a:lnTo>
                    <a:pt x="100" y="19"/>
                  </a:lnTo>
                  <a:lnTo>
                    <a:pt x="74" y="0"/>
                  </a:lnTo>
                  <a:lnTo>
                    <a:pt x="61" y="23"/>
                  </a:lnTo>
                  <a:lnTo>
                    <a:pt x="61"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8" name="Freeform 252">
              <a:extLst>
                <a:ext uri="{FF2B5EF4-FFF2-40B4-BE49-F238E27FC236}">
                  <a16:creationId xmlns:a16="http://schemas.microsoft.com/office/drawing/2014/main" id="{C1F13D4A-98DB-4BE1-83A5-00ACB20BA3B8}"/>
                </a:ext>
              </a:extLst>
            </p:cNvPr>
            <p:cNvSpPr>
              <a:spLocks/>
            </p:cNvSpPr>
            <p:nvPr/>
          </p:nvSpPr>
          <p:spPr bwMode="auto">
            <a:xfrm>
              <a:off x="6463587" y="2656633"/>
              <a:ext cx="188408" cy="386092"/>
            </a:xfrm>
            <a:custGeom>
              <a:avLst/>
              <a:gdLst/>
              <a:ahLst/>
              <a:cxnLst>
                <a:cxn ang="0">
                  <a:pos x="0" y="16"/>
                </a:cxn>
                <a:cxn ang="0">
                  <a:pos x="0" y="48"/>
                </a:cxn>
                <a:cxn ang="0">
                  <a:pos x="22" y="83"/>
                </a:cxn>
                <a:cxn ang="0">
                  <a:pos x="16" y="99"/>
                </a:cxn>
                <a:cxn ang="0">
                  <a:pos x="33" y="134"/>
                </a:cxn>
                <a:cxn ang="0">
                  <a:pos x="27" y="172"/>
                </a:cxn>
                <a:cxn ang="0">
                  <a:pos x="16" y="172"/>
                </a:cxn>
                <a:cxn ang="0">
                  <a:pos x="22" y="201"/>
                </a:cxn>
                <a:cxn ang="0">
                  <a:pos x="16" y="233"/>
                </a:cxn>
                <a:cxn ang="0">
                  <a:pos x="27" y="233"/>
                </a:cxn>
                <a:cxn ang="0">
                  <a:pos x="61" y="272"/>
                </a:cxn>
                <a:cxn ang="0">
                  <a:pos x="77" y="278"/>
                </a:cxn>
                <a:cxn ang="0">
                  <a:pos x="100" y="272"/>
                </a:cxn>
                <a:cxn ang="0">
                  <a:pos x="71" y="256"/>
                </a:cxn>
                <a:cxn ang="0">
                  <a:pos x="65" y="247"/>
                </a:cxn>
                <a:cxn ang="0">
                  <a:pos x="61" y="241"/>
                </a:cxn>
                <a:cxn ang="0">
                  <a:pos x="57" y="235"/>
                </a:cxn>
                <a:cxn ang="0">
                  <a:pos x="55" y="233"/>
                </a:cxn>
                <a:cxn ang="0">
                  <a:pos x="53" y="231"/>
                </a:cxn>
                <a:cxn ang="0">
                  <a:pos x="53" y="229"/>
                </a:cxn>
                <a:cxn ang="0">
                  <a:pos x="53" y="225"/>
                </a:cxn>
                <a:cxn ang="0">
                  <a:pos x="53" y="217"/>
                </a:cxn>
                <a:cxn ang="0">
                  <a:pos x="53" y="215"/>
                </a:cxn>
                <a:cxn ang="0">
                  <a:pos x="55" y="211"/>
                </a:cxn>
                <a:cxn ang="0">
                  <a:pos x="39" y="205"/>
                </a:cxn>
                <a:cxn ang="0">
                  <a:pos x="33" y="189"/>
                </a:cxn>
                <a:cxn ang="0">
                  <a:pos x="45" y="172"/>
                </a:cxn>
                <a:cxn ang="0">
                  <a:pos x="45" y="128"/>
                </a:cxn>
                <a:cxn ang="0">
                  <a:pos x="61" y="134"/>
                </a:cxn>
                <a:cxn ang="0">
                  <a:pos x="61" y="144"/>
                </a:cxn>
                <a:cxn ang="0">
                  <a:pos x="87" y="162"/>
                </a:cxn>
                <a:cxn ang="0">
                  <a:pos x="94" y="172"/>
                </a:cxn>
                <a:cxn ang="0">
                  <a:pos x="106" y="178"/>
                </a:cxn>
                <a:cxn ang="0">
                  <a:pos x="116" y="172"/>
                </a:cxn>
                <a:cxn ang="0">
                  <a:pos x="100" y="156"/>
                </a:cxn>
                <a:cxn ang="0">
                  <a:pos x="87" y="134"/>
                </a:cxn>
                <a:cxn ang="0">
                  <a:pos x="100" y="115"/>
                </a:cxn>
                <a:cxn ang="0">
                  <a:pos x="132" y="115"/>
                </a:cxn>
                <a:cxn ang="0">
                  <a:pos x="144" y="95"/>
                </a:cxn>
                <a:cxn ang="0">
                  <a:pos x="110" y="44"/>
                </a:cxn>
                <a:cxn ang="0">
                  <a:pos x="94" y="38"/>
                </a:cxn>
                <a:cxn ang="0">
                  <a:pos x="87" y="55"/>
                </a:cxn>
                <a:cxn ang="0">
                  <a:pos x="71" y="38"/>
                </a:cxn>
                <a:cxn ang="0">
                  <a:pos x="67" y="55"/>
                </a:cxn>
                <a:cxn ang="0">
                  <a:pos x="55" y="55"/>
                </a:cxn>
                <a:cxn ang="0">
                  <a:pos x="49" y="16"/>
                </a:cxn>
                <a:cxn ang="0">
                  <a:pos x="33" y="0"/>
                </a:cxn>
                <a:cxn ang="0">
                  <a:pos x="0" y="16"/>
                </a:cxn>
                <a:cxn ang="0">
                  <a:pos x="0" y="16"/>
                </a:cxn>
              </a:cxnLst>
              <a:rect l="0" t="0" r="r" b="b"/>
              <a:pathLst>
                <a:path w="144" h="278">
                  <a:moveTo>
                    <a:pt x="0" y="16"/>
                  </a:moveTo>
                  <a:lnTo>
                    <a:pt x="0" y="48"/>
                  </a:lnTo>
                  <a:lnTo>
                    <a:pt x="22" y="83"/>
                  </a:lnTo>
                  <a:lnTo>
                    <a:pt x="16" y="99"/>
                  </a:lnTo>
                  <a:lnTo>
                    <a:pt x="33" y="134"/>
                  </a:lnTo>
                  <a:lnTo>
                    <a:pt x="27" y="172"/>
                  </a:lnTo>
                  <a:lnTo>
                    <a:pt x="16" y="172"/>
                  </a:lnTo>
                  <a:lnTo>
                    <a:pt x="22" y="201"/>
                  </a:lnTo>
                  <a:lnTo>
                    <a:pt x="16" y="233"/>
                  </a:lnTo>
                  <a:lnTo>
                    <a:pt x="27" y="233"/>
                  </a:lnTo>
                  <a:lnTo>
                    <a:pt x="61" y="272"/>
                  </a:lnTo>
                  <a:lnTo>
                    <a:pt x="77" y="278"/>
                  </a:lnTo>
                  <a:lnTo>
                    <a:pt x="100" y="272"/>
                  </a:lnTo>
                  <a:lnTo>
                    <a:pt x="71" y="256"/>
                  </a:lnTo>
                  <a:lnTo>
                    <a:pt x="65" y="247"/>
                  </a:lnTo>
                  <a:lnTo>
                    <a:pt x="61" y="241"/>
                  </a:lnTo>
                  <a:lnTo>
                    <a:pt x="57" y="235"/>
                  </a:lnTo>
                  <a:lnTo>
                    <a:pt x="55" y="233"/>
                  </a:lnTo>
                  <a:lnTo>
                    <a:pt x="53" y="231"/>
                  </a:lnTo>
                  <a:lnTo>
                    <a:pt x="53" y="229"/>
                  </a:lnTo>
                  <a:lnTo>
                    <a:pt x="53" y="225"/>
                  </a:lnTo>
                  <a:lnTo>
                    <a:pt x="53" y="217"/>
                  </a:lnTo>
                  <a:lnTo>
                    <a:pt x="53" y="215"/>
                  </a:lnTo>
                  <a:lnTo>
                    <a:pt x="55" y="211"/>
                  </a:lnTo>
                  <a:lnTo>
                    <a:pt x="39" y="205"/>
                  </a:lnTo>
                  <a:lnTo>
                    <a:pt x="33" y="189"/>
                  </a:lnTo>
                  <a:lnTo>
                    <a:pt x="45" y="172"/>
                  </a:lnTo>
                  <a:lnTo>
                    <a:pt x="45" y="128"/>
                  </a:lnTo>
                  <a:lnTo>
                    <a:pt x="61" y="134"/>
                  </a:lnTo>
                  <a:lnTo>
                    <a:pt x="61" y="144"/>
                  </a:lnTo>
                  <a:lnTo>
                    <a:pt x="87" y="162"/>
                  </a:lnTo>
                  <a:lnTo>
                    <a:pt x="94" y="172"/>
                  </a:lnTo>
                  <a:lnTo>
                    <a:pt x="106" y="178"/>
                  </a:lnTo>
                  <a:lnTo>
                    <a:pt x="116" y="172"/>
                  </a:lnTo>
                  <a:lnTo>
                    <a:pt x="100" y="156"/>
                  </a:lnTo>
                  <a:lnTo>
                    <a:pt x="87" y="134"/>
                  </a:lnTo>
                  <a:lnTo>
                    <a:pt x="100" y="115"/>
                  </a:lnTo>
                  <a:lnTo>
                    <a:pt x="132" y="115"/>
                  </a:lnTo>
                  <a:lnTo>
                    <a:pt x="144" y="95"/>
                  </a:lnTo>
                  <a:lnTo>
                    <a:pt x="110" y="44"/>
                  </a:lnTo>
                  <a:lnTo>
                    <a:pt x="94" y="38"/>
                  </a:lnTo>
                  <a:lnTo>
                    <a:pt x="87" y="55"/>
                  </a:lnTo>
                  <a:lnTo>
                    <a:pt x="71" y="38"/>
                  </a:lnTo>
                  <a:lnTo>
                    <a:pt x="67" y="55"/>
                  </a:lnTo>
                  <a:lnTo>
                    <a:pt x="55" y="55"/>
                  </a:lnTo>
                  <a:lnTo>
                    <a:pt x="49" y="16"/>
                  </a:lnTo>
                  <a:lnTo>
                    <a:pt x="33"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49" name="Freeform 253">
              <a:extLst>
                <a:ext uri="{FF2B5EF4-FFF2-40B4-BE49-F238E27FC236}">
                  <a16:creationId xmlns:a16="http://schemas.microsoft.com/office/drawing/2014/main" id="{78C8C5F4-5319-41E5-B54A-A09774784D9F}"/>
                </a:ext>
              </a:extLst>
            </p:cNvPr>
            <p:cNvSpPr>
              <a:spLocks/>
            </p:cNvSpPr>
            <p:nvPr/>
          </p:nvSpPr>
          <p:spPr bwMode="auto">
            <a:xfrm>
              <a:off x="6506763" y="2602469"/>
              <a:ext cx="180558" cy="231933"/>
            </a:xfrm>
            <a:custGeom>
              <a:avLst/>
              <a:gdLst/>
              <a:ahLst/>
              <a:cxnLst>
                <a:cxn ang="0">
                  <a:pos x="28" y="0"/>
                </a:cxn>
                <a:cxn ang="0">
                  <a:pos x="6" y="16"/>
                </a:cxn>
                <a:cxn ang="0">
                  <a:pos x="0" y="39"/>
                </a:cxn>
                <a:cxn ang="0">
                  <a:pos x="16" y="55"/>
                </a:cxn>
                <a:cxn ang="0">
                  <a:pos x="22" y="94"/>
                </a:cxn>
                <a:cxn ang="0">
                  <a:pos x="34" y="94"/>
                </a:cxn>
                <a:cxn ang="0">
                  <a:pos x="38" y="77"/>
                </a:cxn>
                <a:cxn ang="0">
                  <a:pos x="54" y="94"/>
                </a:cxn>
                <a:cxn ang="0">
                  <a:pos x="61" y="77"/>
                </a:cxn>
                <a:cxn ang="0">
                  <a:pos x="77" y="83"/>
                </a:cxn>
                <a:cxn ang="0">
                  <a:pos x="111" y="134"/>
                </a:cxn>
                <a:cxn ang="0">
                  <a:pos x="99" y="154"/>
                </a:cxn>
                <a:cxn ang="0">
                  <a:pos x="117" y="167"/>
                </a:cxn>
                <a:cxn ang="0">
                  <a:pos x="121" y="154"/>
                </a:cxn>
                <a:cxn ang="0">
                  <a:pos x="138" y="150"/>
                </a:cxn>
                <a:cxn ang="0">
                  <a:pos x="134" y="122"/>
                </a:cxn>
                <a:cxn ang="0">
                  <a:pos x="77" y="67"/>
                </a:cxn>
                <a:cxn ang="0">
                  <a:pos x="28" y="0"/>
                </a:cxn>
                <a:cxn ang="0">
                  <a:pos x="28" y="0"/>
                </a:cxn>
              </a:cxnLst>
              <a:rect l="0" t="0" r="r" b="b"/>
              <a:pathLst>
                <a:path w="138" h="167">
                  <a:moveTo>
                    <a:pt x="28" y="0"/>
                  </a:moveTo>
                  <a:lnTo>
                    <a:pt x="6" y="16"/>
                  </a:lnTo>
                  <a:lnTo>
                    <a:pt x="0" y="39"/>
                  </a:lnTo>
                  <a:lnTo>
                    <a:pt x="16" y="55"/>
                  </a:lnTo>
                  <a:lnTo>
                    <a:pt x="22" y="94"/>
                  </a:lnTo>
                  <a:lnTo>
                    <a:pt x="34" y="94"/>
                  </a:lnTo>
                  <a:lnTo>
                    <a:pt x="38" y="77"/>
                  </a:lnTo>
                  <a:lnTo>
                    <a:pt x="54" y="94"/>
                  </a:lnTo>
                  <a:lnTo>
                    <a:pt x="61" y="77"/>
                  </a:lnTo>
                  <a:lnTo>
                    <a:pt x="77" y="83"/>
                  </a:lnTo>
                  <a:lnTo>
                    <a:pt x="111" y="134"/>
                  </a:lnTo>
                  <a:lnTo>
                    <a:pt x="99" y="154"/>
                  </a:lnTo>
                  <a:lnTo>
                    <a:pt x="117" y="167"/>
                  </a:lnTo>
                  <a:lnTo>
                    <a:pt x="121" y="154"/>
                  </a:lnTo>
                  <a:lnTo>
                    <a:pt x="138" y="150"/>
                  </a:lnTo>
                  <a:lnTo>
                    <a:pt x="134" y="122"/>
                  </a:lnTo>
                  <a:lnTo>
                    <a:pt x="77" y="67"/>
                  </a:lnTo>
                  <a:lnTo>
                    <a:pt x="28" y="0"/>
                  </a:lnTo>
                  <a:lnTo>
                    <a:pt x="28"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0" name="Freeform 254">
              <a:extLst>
                <a:ext uri="{FF2B5EF4-FFF2-40B4-BE49-F238E27FC236}">
                  <a16:creationId xmlns:a16="http://schemas.microsoft.com/office/drawing/2014/main" id="{4A14EA1B-B234-40D2-A63A-85832D252366}"/>
                </a:ext>
              </a:extLst>
            </p:cNvPr>
            <p:cNvSpPr>
              <a:spLocks/>
            </p:cNvSpPr>
            <p:nvPr/>
          </p:nvSpPr>
          <p:spPr bwMode="auto">
            <a:xfrm>
              <a:off x="6543399" y="2577469"/>
              <a:ext cx="196259" cy="386092"/>
            </a:xfrm>
            <a:custGeom>
              <a:avLst/>
              <a:gdLst/>
              <a:ahLst/>
              <a:cxnLst>
                <a:cxn ang="0">
                  <a:pos x="106" y="34"/>
                </a:cxn>
                <a:cxn ang="0">
                  <a:pos x="45" y="0"/>
                </a:cxn>
                <a:cxn ang="0">
                  <a:pos x="0" y="18"/>
                </a:cxn>
                <a:cxn ang="0">
                  <a:pos x="49" y="85"/>
                </a:cxn>
                <a:cxn ang="0">
                  <a:pos x="106" y="140"/>
                </a:cxn>
                <a:cxn ang="0">
                  <a:pos x="116" y="195"/>
                </a:cxn>
                <a:cxn ang="0">
                  <a:pos x="93" y="239"/>
                </a:cxn>
                <a:cxn ang="0">
                  <a:pos x="71" y="252"/>
                </a:cxn>
                <a:cxn ang="0">
                  <a:pos x="71" y="278"/>
                </a:cxn>
                <a:cxn ang="0">
                  <a:pos x="89" y="268"/>
                </a:cxn>
                <a:cxn ang="0">
                  <a:pos x="100" y="252"/>
                </a:cxn>
                <a:cxn ang="0">
                  <a:pos x="116" y="252"/>
                </a:cxn>
                <a:cxn ang="0">
                  <a:pos x="132" y="235"/>
                </a:cxn>
                <a:cxn ang="0">
                  <a:pos x="150" y="223"/>
                </a:cxn>
                <a:cxn ang="0">
                  <a:pos x="150" y="207"/>
                </a:cxn>
                <a:cxn ang="0">
                  <a:pos x="138" y="156"/>
                </a:cxn>
                <a:cxn ang="0">
                  <a:pos x="100" y="118"/>
                </a:cxn>
                <a:cxn ang="0">
                  <a:pos x="67" y="67"/>
                </a:cxn>
                <a:cxn ang="0">
                  <a:pos x="77" y="45"/>
                </a:cxn>
                <a:cxn ang="0">
                  <a:pos x="106" y="34"/>
                </a:cxn>
                <a:cxn ang="0">
                  <a:pos x="106" y="34"/>
                </a:cxn>
              </a:cxnLst>
              <a:rect l="0" t="0" r="r" b="b"/>
              <a:pathLst>
                <a:path w="150" h="278">
                  <a:moveTo>
                    <a:pt x="106" y="34"/>
                  </a:moveTo>
                  <a:lnTo>
                    <a:pt x="45" y="0"/>
                  </a:lnTo>
                  <a:lnTo>
                    <a:pt x="0" y="18"/>
                  </a:lnTo>
                  <a:lnTo>
                    <a:pt x="49" y="85"/>
                  </a:lnTo>
                  <a:lnTo>
                    <a:pt x="106" y="140"/>
                  </a:lnTo>
                  <a:lnTo>
                    <a:pt x="116" y="195"/>
                  </a:lnTo>
                  <a:lnTo>
                    <a:pt x="93" y="239"/>
                  </a:lnTo>
                  <a:lnTo>
                    <a:pt x="71" y="252"/>
                  </a:lnTo>
                  <a:lnTo>
                    <a:pt x="71" y="278"/>
                  </a:lnTo>
                  <a:lnTo>
                    <a:pt x="89" y="268"/>
                  </a:lnTo>
                  <a:lnTo>
                    <a:pt x="100" y="252"/>
                  </a:lnTo>
                  <a:lnTo>
                    <a:pt x="116" y="252"/>
                  </a:lnTo>
                  <a:lnTo>
                    <a:pt x="132" y="235"/>
                  </a:lnTo>
                  <a:lnTo>
                    <a:pt x="150" y="223"/>
                  </a:lnTo>
                  <a:lnTo>
                    <a:pt x="150" y="207"/>
                  </a:lnTo>
                  <a:lnTo>
                    <a:pt x="138" y="156"/>
                  </a:lnTo>
                  <a:lnTo>
                    <a:pt x="100" y="118"/>
                  </a:lnTo>
                  <a:lnTo>
                    <a:pt x="67" y="67"/>
                  </a:lnTo>
                  <a:lnTo>
                    <a:pt x="77" y="45"/>
                  </a:lnTo>
                  <a:lnTo>
                    <a:pt x="106" y="34"/>
                  </a:lnTo>
                  <a:lnTo>
                    <a:pt x="106" y="3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1" name="Freeform 255">
              <a:extLst>
                <a:ext uri="{FF2B5EF4-FFF2-40B4-BE49-F238E27FC236}">
                  <a16:creationId xmlns:a16="http://schemas.microsoft.com/office/drawing/2014/main" id="{5971FA89-1F65-44BC-BAC4-461B5ED9176B}"/>
                </a:ext>
              </a:extLst>
            </p:cNvPr>
            <p:cNvSpPr>
              <a:spLocks/>
            </p:cNvSpPr>
            <p:nvPr/>
          </p:nvSpPr>
          <p:spPr bwMode="auto">
            <a:xfrm>
              <a:off x="6577416" y="2810792"/>
              <a:ext cx="117756" cy="116662"/>
            </a:xfrm>
            <a:custGeom>
              <a:avLst/>
              <a:gdLst/>
              <a:ahLst/>
              <a:cxnLst>
                <a:cxn ang="0">
                  <a:pos x="84" y="0"/>
                </a:cxn>
                <a:cxn ang="0">
                  <a:pos x="67" y="4"/>
                </a:cxn>
                <a:cxn ang="0">
                  <a:pos x="63" y="17"/>
                </a:cxn>
                <a:cxn ang="0">
                  <a:pos x="45" y="4"/>
                </a:cxn>
                <a:cxn ang="0">
                  <a:pos x="13" y="4"/>
                </a:cxn>
                <a:cxn ang="0">
                  <a:pos x="0" y="23"/>
                </a:cxn>
                <a:cxn ang="0">
                  <a:pos x="13" y="45"/>
                </a:cxn>
                <a:cxn ang="0">
                  <a:pos x="29" y="61"/>
                </a:cxn>
                <a:cxn ang="0">
                  <a:pos x="19" y="67"/>
                </a:cxn>
                <a:cxn ang="0">
                  <a:pos x="45" y="84"/>
                </a:cxn>
                <a:cxn ang="0">
                  <a:pos x="67" y="71"/>
                </a:cxn>
                <a:cxn ang="0">
                  <a:pos x="90" y="27"/>
                </a:cxn>
                <a:cxn ang="0">
                  <a:pos x="84" y="0"/>
                </a:cxn>
                <a:cxn ang="0">
                  <a:pos x="84" y="0"/>
                </a:cxn>
              </a:cxnLst>
              <a:rect l="0" t="0" r="r" b="b"/>
              <a:pathLst>
                <a:path w="90" h="84">
                  <a:moveTo>
                    <a:pt x="84" y="0"/>
                  </a:moveTo>
                  <a:lnTo>
                    <a:pt x="67" y="4"/>
                  </a:lnTo>
                  <a:lnTo>
                    <a:pt x="63" y="17"/>
                  </a:lnTo>
                  <a:lnTo>
                    <a:pt x="45" y="4"/>
                  </a:lnTo>
                  <a:lnTo>
                    <a:pt x="13" y="4"/>
                  </a:lnTo>
                  <a:lnTo>
                    <a:pt x="0" y="23"/>
                  </a:lnTo>
                  <a:lnTo>
                    <a:pt x="13" y="45"/>
                  </a:lnTo>
                  <a:lnTo>
                    <a:pt x="29" y="61"/>
                  </a:lnTo>
                  <a:lnTo>
                    <a:pt x="19" y="67"/>
                  </a:lnTo>
                  <a:lnTo>
                    <a:pt x="45" y="84"/>
                  </a:lnTo>
                  <a:lnTo>
                    <a:pt x="67" y="71"/>
                  </a:lnTo>
                  <a:lnTo>
                    <a:pt x="90" y="27"/>
                  </a:lnTo>
                  <a:lnTo>
                    <a:pt x="84" y="0"/>
                  </a:lnTo>
                  <a:lnTo>
                    <a:pt x="8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2" name="Freeform 256">
              <a:extLst>
                <a:ext uri="{FF2B5EF4-FFF2-40B4-BE49-F238E27FC236}">
                  <a16:creationId xmlns:a16="http://schemas.microsoft.com/office/drawing/2014/main" id="{1F753486-411E-43AA-8A2C-113658B4AC70}"/>
                </a:ext>
              </a:extLst>
            </p:cNvPr>
            <p:cNvSpPr>
              <a:spLocks/>
            </p:cNvSpPr>
            <p:nvPr/>
          </p:nvSpPr>
          <p:spPr bwMode="auto">
            <a:xfrm>
              <a:off x="6739656" y="3474648"/>
              <a:ext cx="938117" cy="752743"/>
            </a:xfrm>
            <a:custGeom>
              <a:avLst/>
              <a:gdLst/>
              <a:ahLst/>
              <a:cxnLst>
                <a:cxn ang="0">
                  <a:pos x="601" y="63"/>
                </a:cxn>
                <a:cxn ang="0">
                  <a:pos x="589" y="0"/>
                </a:cxn>
                <a:cxn ang="0">
                  <a:pos x="557" y="95"/>
                </a:cxn>
                <a:cxn ang="0">
                  <a:pos x="518" y="130"/>
                </a:cxn>
                <a:cxn ang="0">
                  <a:pos x="484" y="101"/>
                </a:cxn>
                <a:cxn ang="0">
                  <a:pos x="451" y="79"/>
                </a:cxn>
                <a:cxn ang="0">
                  <a:pos x="479" y="34"/>
                </a:cxn>
                <a:cxn ang="0">
                  <a:pos x="473" y="28"/>
                </a:cxn>
                <a:cxn ang="0">
                  <a:pos x="439" y="22"/>
                </a:cxn>
                <a:cxn ang="0">
                  <a:pos x="396" y="6"/>
                </a:cxn>
                <a:cxn ang="0">
                  <a:pos x="384" y="34"/>
                </a:cxn>
                <a:cxn ang="0">
                  <a:pos x="350" y="63"/>
                </a:cxn>
                <a:cxn ang="0">
                  <a:pos x="323" y="85"/>
                </a:cxn>
                <a:cxn ang="0">
                  <a:pos x="289" y="57"/>
                </a:cxn>
                <a:cxn ang="0">
                  <a:pos x="278" y="73"/>
                </a:cxn>
                <a:cxn ang="0">
                  <a:pos x="262" y="89"/>
                </a:cxn>
                <a:cxn ang="0">
                  <a:pos x="240" y="107"/>
                </a:cxn>
                <a:cxn ang="0">
                  <a:pos x="228" y="117"/>
                </a:cxn>
                <a:cxn ang="0">
                  <a:pos x="211" y="140"/>
                </a:cxn>
                <a:cxn ang="0">
                  <a:pos x="134" y="178"/>
                </a:cxn>
                <a:cxn ang="0">
                  <a:pos x="102" y="191"/>
                </a:cxn>
                <a:cxn ang="0">
                  <a:pos x="51" y="229"/>
                </a:cxn>
                <a:cxn ang="0">
                  <a:pos x="39" y="245"/>
                </a:cxn>
                <a:cxn ang="0">
                  <a:pos x="45" y="286"/>
                </a:cxn>
                <a:cxn ang="0">
                  <a:pos x="19" y="290"/>
                </a:cxn>
                <a:cxn ang="0">
                  <a:pos x="23" y="375"/>
                </a:cxn>
                <a:cxn ang="0">
                  <a:pos x="19" y="436"/>
                </a:cxn>
                <a:cxn ang="0">
                  <a:pos x="12" y="459"/>
                </a:cxn>
                <a:cxn ang="0">
                  <a:pos x="90" y="446"/>
                </a:cxn>
                <a:cxn ang="0">
                  <a:pos x="163" y="424"/>
                </a:cxn>
                <a:cxn ang="0">
                  <a:pos x="256" y="402"/>
                </a:cxn>
                <a:cxn ang="0">
                  <a:pos x="295" y="398"/>
                </a:cxn>
                <a:cxn ang="0">
                  <a:pos x="333" y="424"/>
                </a:cxn>
                <a:cxn ang="0">
                  <a:pos x="345" y="459"/>
                </a:cxn>
                <a:cxn ang="0">
                  <a:pos x="368" y="465"/>
                </a:cxn>
                <a:cxn ang="0">
                  <a:pos x="378" y="475"/>
                </a:cxn>
                <a:cxn ang="0">
                  <a:pos x="400" y="497"/>
                </a:cxn>
                <a:cxn ang="0">
                  <a:pos x="400" y="532"/>
                </a:cxn>
                <a:cxn ang="0">
                  <a:pos x="439" y="542"/>
                </a:cxn>
                <a:cxn ang="0">
                  <a:pos x="479" y="542"/>
                </a:cxn>
                <a:cxn ang="0">
                  <a:pos x="544" y="520"/>
                </a:cxn>
                <a:cxn ang="0">
                  <a:pos x="563" y="497"/>
                </a:cxn>
                <a:cxn ang="0">
                  <a:pos x="624" y="442"/>
                </a:cxn>
                <a:cxn ang="0">
                  <a:pos x="652" y="418"/>
                </a:cxn>
                <a:cxn ang="0">
                  <a:pos x="707" y="308"/>
                </a:cxn>
                <a:cxn ang="0">
                  <a:pos x="685" y="241"/>
                </a:cxn>
                <a:cxn ang="0">
                  <a:pos x="672" y="223"/>
                </a:cxn>
                <a:cxn ang="0">
                  <a:pos x="640" y="162"/>
                </a:cxn>
                <a:cxn ang="0">
                  <a:pos x="624" y="79"/>
                </a:cxn>
              </a:cxnLst>
              <a:rect l="0" t="0" r="r" b="b"/>
              <a:pathLst>
                <a:path w="717" h="542">
                  <a:moveTo>
                    <a:pt x="624" y="79"/>
                  </a:moveTo>
                  <a:lnTo>
                    <a:pt x="601" y="63"/>
                  </a:lnTo>
                  <a:lnTo>
                    <a:pt x="605" y="34"/>
                  </a:lnTo>
                  <a:lnTo>
                    <a:pt x="589" y="0"/>
                  </a:lnTo>
                  <a:lnTo>
                    <a:pt x="573" y="18"/>
                  </a:lnTo>
                  <a:lnTo>
                    <a:pt x="557" y="95"/>
                  </a:lnTo>
                  <a:lnTo>
                    <a:pt x="534" y="130"/>
                  </a:lnTo>
                  <a:lnTo>
                    <a:pt x="518" y="130"/>
                  </a:lnTo>
                  <a:lnTo>
                    <a:pt x="496" y="111"/>
                  </a:lnTo>
                  <a:lnTo>
                    <a:pt x="484" y="101"/>
                  </a:lnTo>
                  <a:lnTo>
                    <a:pt x="467" y="95"/>
                  </a:lnTo>
                  <a:lnTo>
                    <a:pt x="451" y="79"/>
                  </a:lnTo>
                  <a:lnTo>
                    <a:pt x="473" y="50"/>
                  </a:lnTo>
                  <a:lnTo>
                    <a:pt x="479" y="34"/>
                  </a:lnTo>
                  <a:lnTo>
                    <a:pt x="479" y="22"/>
                  </a:lnTo>
                  <a:lnTo>
                    <a:pt x="473" y="28"/>
                  </a:lnTo>
                  <a:lnTo>
                    <a:pt x="461" y="22"/>
                  </a:lnTo>
                  <a:lnTo>
                    <a:pt x="439" y="22"/>
                  </a:lnTo>
                  <a:lnTo>
                    <a:pt x="412" y="0"/>
                  </a:lnTo>
                  <a:lnTo>
                    <a:pt x="396" y="6"/>
                  </a:lnTo>
                  <a:lnTo>
                    <a:pt x="406" y="28"/>
                  </a:lnTo>
                  <a:lnTo>
                    <a:pt x="384" y="34"/>
                  </a:lnTo>
                  <a:lnTo>
                    <a:pt x="362" y="44"/>
                  </a:lnTo>
                  <a:lnTo>
                    <a:pt x="350" y="63"/>
                  </a:lnTo>
                  <a:lnTo>
                    <a:pt x="350" y="85"/>
                  </a:lnTo>
                  <a:lnTo>
                    <a:pt x="323" y="85"/>
                  </a:lnTo>
                  <a:lnTo>
                    <a:pt x="317" y="63"/>
                  </a:lnTo>
                  <a:lnTo>
                    <a:pt x="289" y="57"/>
                  </a:lnTo>
                  <a:lnTo>
                    <a:pt x="289" y="67"/>
                  </a:lnTo>
                  <a:lnTo>
                    <a:pt x="278" y="73"/>
                  </a:lnTo>
                  <a:lnTo>
                    <a:pt x="268" y="89"/>
                  </a:lnTo>
                  <a:lnTo>
                    <a:pt x="262" y="89"/>
                  </a:lnTo>
                  <a:lnTo>
                    <a:pt x="262" y="107"/>
                  </a:lnTo>
                  <a:lnTo>
                    <a:pt x="240" y="107"/>
                  </a:lnTo>
                  <a:lnTo>
                    <a:pt x="234" y="130"/>
                  </a:lnTo>
                  <a:lnTo>
                    <a:pt x="228" y="117"/>
                  </a:lnTo>
                  <a:lnTo>
                    <a:pt x="211" y="124"/>
                  </a:lnTo>
                  <a:lnTo>
                    <a:pt x="211" y="140"/>
                  </a:lnTo>
                  <a:lnTo>
                    <a:pt x="179" y="178"/>
                  </a:lnTo>
                  <a:lnTo>
                    <a:pt x="134" y="178"/>
                  </a:lnTo>
                  <a:lnTo>
                    <a:pt x="112" y="191"/>
                  </a:lnTo>
                  <a:lnTo>
                    <a:pt x="102" y="191"/>
                  </a:lnTo>
                  <a:lnTo>
                    <a:pt x="90" y="201"/>
                  </a:lnTo>
                  <a:lnTo>
                    <a:pt x="51" y="229"/>
                  </a:lnTo>
                  <a:lnTo>
                    <a:pt x="39" y="219"/>
                  </a:lnTo>
                  <a:lnTo>
                    <a:pt x="39" y="245"/>
                  </a:lnTo>
                  <a:lnTo>
                    <a:pt x="35" y="268"/>
                  </a:lnTo>
                  <a:lnTo>
                    <a:pt x="45" y="286"/>
                  </a:lnTo>
                  <a:lnTo>
                    <a:pt x="35" y="296"/>
                  </a:lnTo>
                  <a:lnTo>
                    <a:pt x="19" y="290"/>
                  </a:lnTo>
                  <a:lnTo>
                    <a:pt x="35" y="353"/>
                  </a:lnTo>
                  <a:lnTo>
                    <a:pt x="23" y="375"/>
                  </a:lnTo>
                  <a:lnTo>
                    <a:pt x="35" y="398"/>
                  </a:lnTo>
                  <a:lnTo>
                    <a:pt x="19" y="436"/>
                  </a:lnTo>
                  <a:lnTo>
                    <a:pt x="0" y="442"/>
                  </a:lnTo>
                  <a:lnTo>
                    <a:pt x="12" y="459"/>
                  </a:lnTo>
                  <a:lnTo>
                    <a:pt x="45" y="465"/>
                  </a:lnTo>
                  <a:lnTo>
                    <a:pt x="90" y="446"/>
                  </a:lnTo>
                  <a:lnTo>
                    <a:pt x="144" y="446"/>
                  </a:lnTo>
                  <a:lnTo>
                    <a:pt x="163" y="424"/>
                  </a:lnTo>
                  <a:lnTo>
                    <a:pt x="228" y="414"/>
                  </a:lnTo>
                  <a:lnTo>
                    <a:pt x="256" y="402"/>
                  </a:lnTo>
                  <a:lnTo>
                    <a:pt x="278" y="402"/>
                  </a:lnTo>
                  <a:lnTo>
                    <a:pt x="295" y="398"/>
                  </a:lnTo>
                  <a:lnTo>
                    <a:pt x="329" y="414"/>
                  </a:lnTo>
                  <a:lnTo>
                    <a:pt x="333" y="424"/>
                  </a:lnTo>
                  <a:lnTo>
                    <a:pt x="345" y="430"/>
                  </a:lnTo>
                  <a:lnTo>
                    <a:pt x="345" y="459"/>
                  </a:lnTo>
                  <a:lnTo>
                    <a:pt x="396" y="430"/>
                  </a:lnTo>
                  <a:lnTo>
                    <a:pt x="368" y="465"/>
                  </a:lnTo>
                  <a:lnTo>
                    <a:pt x="396" y="459"/>
                  </a:lnTo>
                  <a:lnTo>
                    <a:pt x="378" y="475"/>
                  </a:lnTo>
                  <a:lnTo>
                    <a:pt x="400" y="475"/>
                  </a:lnTo>
                  <a:lnTo>
                    <a:pt x="400" y="497"/>
                  </a:lnTo>
                  <a:lnTo>
                    <a:pt x="390" y="513"/>
                  </a:lnTo>
                  <a:lnTo>
                    <a:pt x="400" y="532"/>
                  </a:lnTo>
                  <a:lnTo>
                    <a:pt x="429" y="532"/>
                  </a:lnTo>
                  <a:lnTo>
                    <a:pt x="439" y="542"/>
                  </a:lnTo>
                  <a:lnTo>
                    <a:pt x="467" y="520"/>
                  </a:lnTo>
                  <a:lnTo>
                    <a:pt x="479" y="542"/>
                  </a:lnTo>
                  <a:lnTo>
                    <a:pt x="518" y="526"/>
                  </a:lnTo>
                  <a:lnTo>
                    <a:pt x="544" y="520"/>
                  </a:lnTo>
                  <a:lnTo>
                    <a:pt x="557" y="509"/>
                  </a:lnTo>
                  <a:lnTo>
                    <a:pt x="563" y="497"/>
                  </a:lnTo>
                  <a:lnTo>
                    <a:pt x="585" y="465"/>
                  </a:lnTo>
                  <a:lnTo>
                    <a:pt x="624" y="442"/>
                  </a:lnTo>
                  <a:lnTo>
                    <a:pt x="624" y="424"/>
                  </a:lnTo>
                  <a:lnTo>
                    <a:pt x="652" y="418"/>
                  </a:lnTo>
                  <a:lnTo>
                    <a:pt x="707" y="331"/>
                  </a:lnTo>
                  <a:lnTo>
                    <a:pt x="707" y="308"/>
                  </a:lnTo>
                  <a:lnTo>
                    <a:pt x="717" y="280"/>
                  </a:lnTo>
                  <a:lnTo>
                    <a:pt x="685" y="241"/>
                  </a:lnTo>
                  <a:lnTo>
                    <a:pt x="691" y="223"/>
                  </a:lnTo>
                  <a:lnTo>
                    <a:pt x="672" y="223"/>
                  </a:lnTo>
                  <a:lnTo>
                    <a:pt x="656" y="178"/>
                  </a:lnTo>
                  <a:lnTo>
                    <a:pt x="640" y="162"/>
                  </a:lnTo>
                  <a:lnTo>
                    <a:pt x="624" y="79"/>
                  </a:lnTo>
                  <a:lnTo>
                    <a:pt x="624" y="79"/>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3" name="Freeform 257">
              <a:extLst>
                <a:ext uri="{FF2B5EF4-FFF2-40B4-BE49-F238E27FC236}">
                  <a16:creationId xmlns:a16="http://schemas.microsoft.com/office/drawing/2014/main" id="{6086716A-9F3E-42C0-9E2B-85D1FA630FBF}"/>
                </a:ext>
              </a:extLst>
            </p:cNvPr>
            <p:cNvSpPr>
              <a:spLocks/>
            </p:cNvSpPr>
            <p:nvPr/>
          </p:nvSpPr>
          <p:spPr bwMode="auto">
            <a:xfrm>
              <a:off x="7285257" y="4274611"/>
              <a:ext cx="95512" cy="76385"/>
            </a:xfrm>
            <a:custGeom>
              <a:avLst/>
              <a:gdLst/>
              <a:ahLst/>
              <a:cxnLst>
                <a:cxn ang="0">
                  <a:pos x="73" y="11"/>
                </a:cxn>
                <a:cxn ang="0">
                  <a:pos x="67" y="0"/>
                </a:cxn>
                <a:cxn ang="0">
                  <a:pos x="34" y="4"/>
                </a:cxn>
                <a:cxn ang="0">
                  <a:pos x="22" y="0"/>
                </a:cxn>
                <a:cxn ang="0">
                  <a:pos x="12" y="4"/>
                </a:cxn>
                <a:cxn ang="0">
                  <a:pos x="0" y="39"/>
                </a:cxn>
                <a:cxn ang="0">
                  <a:pos x="6" y="55"/>
                </a:cxn>
                <a:cxn ang="0">
                  <a:pos x="34" y="43"/>
                </a:cxn>
                <a:cxn ang="0">
                  <a:pos x="73" y="11"/>
                </a:cxn>
                <a:cxn ang="0">
                  <a:pos x="73" y="11"/>
                </a:cxn>
              </a:cxnLst>
              <a:rect l="0" t="0" r="r" b="b"/>
              <a:pathLst>
                <a:path w="73" h="55">
                  <a:moveTo>
                    <a:pt x="73" y="11"/>
                  </a:moveTo>
                  <a:lnTo>
                    <a:pt x="67" y="0"/>
                  </a:lnTo>
                  <a:lnTo>
                    <a:pt x="34" y="4"/>
                  </a:lnTo>
                  <a:lnTo>
                    <a:pt x="22" y="0"/>
                  </a:lnTo>
                  <a:lnTo>
                    <a:pt x="12" y="4"/>
                  </a:lnTo>
                  <a:lnTo>
                    <a:pt x="0" y="39"/>
                  </a:lnTo>
                  <a:lnTo>
                    <a:pt x="6" y="55"/>
                  </a:lnTo>
                  <a:lnTo>
                    <a:pt x="34" y="43"/>
                  </a:lnTo>
                  <a:lnTo>
                    <a:pt x="73" y="11"/>
                  </a:lnTo>
                  <a:lnTo>
                    <a:pt x="73" y="1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4" name="Freeform 258">
              <a:extLst>
                <a:ext uri="{FF2B5EF4-FFF2-40B4-BE49-F238E27FC236}">
                  <a16:creationId xmlns:a16="http://schemas.microsoft.com/office/drawing/2014/main" id="{DAB7E146-F742-49FA-B337-7EBF275A6E41}"/>
                </a:ext>
              </a:extLst>
            </p:cNvPr>
            <p:cNvSpPr>
              <a:spLocks/>
            </p:cNvSpPr>
            <p:nvPr/>
          </p:nvSpPr>
          <p:spPr bwMode="auto">
            <a:xfrm>
              <a:off x="6419101" y="3042725"/>
              <a:ext cx="255136" cy="301374"/>
            </a:xfrm>
            <a:custGeom>
              <a:avLst/>
              <a:gdLst/>
              <a:ahLst/>
              <a:cxnLst>
                <a:cxn ang="0">
                  <a:pos x="44" y="6"/>
                </a:cxn>
                <a:cxn ang="0">
                  <a:pos x="16" y="6"/>
                </a:cxn>
                <a:cxn ang="0">
                  <a:pos x="0" y="0"/>
                </a:cxn>
                <a:cxn ang="0">
                  <a:pos x="16" y="28"/>
                </a:cxn>
                <a:cxn ang="0">
                  <a:pos x="38" y="39"/>
                </a:cxn>
                <a:cxn ang="0">
                  <a:pos x="50" y="55"/>
                </a:cxn>
                <a:cxn ang="0">
                  <a:pos x="67" y="73"/>
                </a:cxn>
                <a:cxn ang="0">
                  <a:pos x="73" y="106"/>
                </a:cxn>
                <a:cxn ang="0">
                  <a:pos x="89" y="118"/>
                </a:cxn>
                <a:cxn ang="0">
                  <a:pos x="95" y="140"/>
                </a:cxn>
                <a:cxn ang="0">
                  <a:pos x="121" y="166"/>
                </a:cxn>
                <a:cxn ang="0">
                  <a:pos x="121" y="179"/>
                </a:cxn>
                <a:cxn ang="0">
                  <a:pos x="166" y="217"/>
                </a:cxn>
                <a:cxn ang="0">
                  <a:pos x="188" y="217"/>
                </a:cxn>
                <a:cxn ang="0">
                  <a:pos x="195" y="162"/>
                </a:cxn>
                <a:cxn ang="0">
                  <a:pos x="178" y="150"/>
                </a:cxn>
                <a:cxn ang="0">
                  <a:pos x="166" y="128"/>
                </a:cxn>
                <a:cxn ang="0">
                  <a:pos x="150" y="122"/>
                </a:cxn>
                <a:cxn ang="0">
                  <a:pos x="150" y="106"/>
                </a:cxn>
                <a:cxn ang="0">
                  <a:pos x="156" y="99"/>
                </a:cxn>
                <a:cxn ang="0">
                  <a:pos x="121" y="73"/>
                </a:cxn>
                <a:cxn ang="0">
                  <a:pos x="95" y="67"/>
                </a:cxn>
                <a:cxn ang="0">
                  <a:pos x="44" y="6"/>
                </a:cxn>
                <a:cxn ang="0">
                  <a:pos x="44" y="6"/>
                </a:cxn>
              </a:cxnLst>
              <a:rect l="0" t="0" r="r" b="b"/>
              <a:pathLst>
                <a:path w="195" h="217">
                  <a:moveTo>
                    <a:pt x="44" y="6"/>
                  </a:moveTo>
                  <a:lnTo>
                    <a:pt x="16" y="6"/>
                  </a:lnTo>
                  <a:lnTo>
                    <a:pt x="0" y="0"/>
                  </a:lnTo>
                  <a:lnTo>
                    <a:pt x="16" y="28"/>
                  </a:lnTo>
                  <a:lnTo>
                    <a:pt x="38" y="39"/>
                  </a:lnTo>
                  <a:lnTo>
                    <a:pt x="50" y="55"/>
                  </a:lnTo>
                  <a:lnTo>
                    <a:pt x="67" y="73"/>
                  </a:lnTo>
                  <a:lnTo>
                    <a:pt x="73" y="106"/>
                  </a:lnTo>
                  <a:lnTo>
                    <a:pt x="89" y="118"/>
                  </a:lnTo>
                  <a:lnTo>
                    <a:pt x="95" y="140"/>
                  </a:lnTo>
                  <a:lnTo>
                    <a:pt x="121" y="166"/>
                  </a:lnTo>
                  <a:lnTo>
                    <a:pt x="121" y="179"/>
                  </a:lnTo>
                  <a:lnTo>
                    <a:pt x="166" y="217"/>
                  </a:lnTo>
                  <a:lnTo>
                    <a:pt x="188" y="217"/>
                  </a:lnTo>
                  <a:lnTo>
                    <a:pt x="195" y="162"/>
                  </a:lnTo>
                  <a:lnTo>
                    <a:pt x="178" y="150"/>
                  </a:lnTo>
                  <a:lnTo>
                    <a:pt x="166" y="128"/>
                  </a:lnTo>
                  <a:lnTo>
                    <a:pt x="150" y="122"/>
                  </a:lnTo>
                  <a:lnTo>
                    <a:pt x="150" y="106"/>
                  </a:lnTo>
                  <a:lnTo>
                    <a:pt x="156" y="99"/>
                  </a:lnTo>
                  <a:lnTo>
                    <a:pt x="121" y="73"/>
                  </a:lnTo>
                  <a:lnTo>
                    <a:pt x="95" y="67"/>
                  </a:lnTo>
                  <a:lnTo>
                    <a:pt x="44" y="6"/>
                  </a:lnTo>
                  <a:lnTo>
                    <a:pt x="44"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5" name="Freeform 259">
              <a:extLst>
                <a:ext uri="{FF2B5EF4-FFF2-40B4-BE49-F238E27FC236}">
                  <a16:creationId xmlns:a16="http://schemas.microsoft.com/office/drawing/2014/main" id="{CD98FAA0-8C9D-4533-811C-6288ED6D7DB3}"/>
                </a:ext>
              </a:extLst>
            </p:cNvPr>
            <p:cNvSpPr>
              <a:spLocks/>
            </p:cNvSpPr>
            <p:nvPr/>
          </p:nvSpPr>
          <p:spPr bwMode="auto">
            <a:xfrm>
              <a:off x="6535548" y="3034392"/>
              <a:ext cx="95512" cy="115272"/>
            </a:xfrm>
            <a:custGeom>
              <a:avLst/>
              <a:gdLst/>
              <a:ahLst/>
              <a:cxnLst>
                <a:cxn ang="0">
                  <a:pos x="22" y="6"/>
                </a:cxn>
                <a:cxn ang="0">
                  <a:pos x="6" y="0"/>
                </a:cxn>
                <a:cxn ang="0">
                  <a:pos x="6" y="22"/>
                </a:cxn>
                <a:cxn ang="0">
                  <a:pos x="0" y="34"/>
                </a:cxn>
                <a:cxn ang="0">
                  <a:pos x="32" y="67"/>
                </a:cxn>
                <a:cxn ang="0">
                  <a:pos x="55" y="83"/>
                </a:cxn>
                <a:cxn ang="0">
                  <a:pos x="73" y="79"/>
                </a:cxn>
                <a:cxn ang="0">
                  <a:pos x="61" y="67"/>
                </a:cxn>
                <a:cxn ang="0">
                  <a:pos x="61" y="22"/>
                </a:cxn>
                <a:cxn ang="0">
                  <a:pos x="45" y="0"/>
                </a:cxn>
                <a:cxn ang="0">
                  <a:pos x="22" y="6"/>
                </a:cxn>
                <a:cxn ang="0">
                  <a:pos x="22" y="6"/>
                </a:cxn>
              </a:cxnLst>
              <a:rect l="0" t="0" r="r" b="b"/>
              <a:pathLst>
                <a:path w="73" h="83">
                  <a:moveTo>
                    <a:pt x="22" y="6"/>
                  </a:moveTo>
                  <a:lnTo>
                    <a:pt x="6" y="0"/>
                  </a:lnTo>
                  <a:lnTo>
                    <a:pt x="6" y="22"/>
                  </a:lnTo>
                  <a:lnTo>
                    <a:pt x="0" y="34"/>
                  </a:lnTo>
                  <a:lnTo>
                    <a:pt x="32" y="67"/>
                  </a:lnTo>
                  <a:lnTo>
                    <a:pt x="55" y="83"/>
                  </a:lnTo>
                  <a:lnTo>
                    <a:pt x="73" y="79"/>
                  </a:lnTo>
                  <a:lnTo>
                    <a:pt x="61" y="67"/>
                  </a:lnTo>
                  <a:lnTo>
                    <a:pt x="61" y="22"/>
                  </a:lnTo>
                  <a:lnTo>
                    <a:pt x="45" y="0"/>
                  </a:lnTo>
                  <a:lnTo>
                    <a:pt x="22" y="6"/>
                  </a:lnTo>
                  <a:lnTo>
                    <a:pt x="22"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6" name="Freeform 260">
              <a:extLst>
                <a:ext uri="{FF2B5EF4-FFF2-40B4-BE49-F238E27FC236}">
                  <a16:creationId xmlns:a16="http://schemas.microsoft.com/office/drawing/2014/main" id="{612BAF57-0DEC-4391-A93A-6BDEF85FB933}"/>
                </a:ext>
              </a:extLst>
            </p:cNvPr>
            <p:cNvSpPr>
              <a:spLocks/>
            </p:cNvSpPr>
            <p:nvPr/>
          </p:nvSpPr>
          <p:spPr bwMode="auto">
            <a:xfrm>
              <a:off x="7255162" y="3198273"/>
              <a:ext cx="234201" cy="238877"/>
            </a:xfrm>
            <a:custGeom>
              <a:avLst/>
              <a:gdLst/>
              <a:ahLst/>
              <a:cxnLst>
                <a:cxn ang="0">
                  <a:pos x="179" y="44"/>
                </a:cxn>
                <a:cxn ang="0">
                  <a:pos x="150" y="32"/>
                </a:cxn>
                <a:cxn ang="0">
                  <a:pos x="134" y="22"/>
                </a:cxn>
                <a:cxn ang="0">
                  <a:pos x="112" y="22"/>
                </a:cxn>
                <a:cxn ang="0">
                  <a:pos x="106" y="32"/>
                </a:cxn>
                <a:cxn ang="0">
                  <a:pos x="90" y="50"/>
                </a:cxn>
                <a:cxn ang="0">
                  <a:pos x="73" y="54"/>
                </a:cxn>
                <a:cxn ang="0">
                  <a:pos x="57" y="44"/>
                </a:cxn>
                <a:cxn ang="0">
                  <a:pos x="57" y="10"/>
                </a:cxn>
                <a:cxn ang="0">
                  <a:pos x="29" y="0"/>
                </a:cxn>
                <a:cxn ang="0">
                  <a:pos x="0" y="16"/>
                </a:cxn>
                <a:cxn ang="0">
                  <a:pos x="6" y="22"/>
                </a:cxn>
                <a:cxn ang="0">
                  <a:pos x="23" y="28"/>
                </a:cxn>
                <a:cxn ang="0">
                  <a:pos x="23" y="32"/>
                </a:cxn>
                <a:cxn ang="0">
                  <a:pos x="43" y="32"/>
                </a:cxn>
                <a:cxn ang="0">
                  <a:pos x="39" y="44"/>
                </a:cxn>
                <a:cxn ang="0">
                  <a:pos x="23" y="44"/>
                </a:cxn>
                <a:cxn ang="0">
                  <a:pos x="29" y="54"/>
                </a:cxn>
                <a:cxn ang="0">
                  <a:pos x="29" y="99"/>
                </a:cxn>
                <a:cxn ang="0">
                  <a:pos x="45" y="73"/>
                </a:cxn>
                <a:cxn ang="0">
                  <a:pos x="45" y="61"/>
                </a:cxn>
                <a:cxn ang="0">
                  <a:pos x="57" y="54"/>
                </a:cxn>
                <a:cxn ang="0">
                  <a:pos x="57" y="67"/>
                </a:cxn>
                <a:cxn ang="0">
                  <a:pos x="67" y="67"/>
                </a:cxn>
                <a:cxn ang="0">
                  <a:pos x="67" y="83"/>
                </a:cxn>
                <a:cxn ang="0">
                  <a:pos x="96" y="83"/>
                </a:cxn>
                <a:cxn ang="0">
                  <a:pos x="122" y="95"/>
                </a:cxn>
                <a:cxn ang="0">
                  <a:pos x="128" y="134"/>
                </a:cxn>
                <a:cxn ang="0">
                  <a:pos x="140" y="150"/>
                </a:cxn>
                <a:cxn ang="0">
                  <a:pos x="150" y="150"/>
                </a:cxn>
                <a:cxn ang="0">
                  <a:pos x="179" y="172"/>
                </a:cxn>
                <a:cxn ang="0">
                  <a:pos x="179" y="128"/>
                </a:cxn>
                <a:cxn ang="0">
                  <a:pos x="173" y="117"/>
                </a:cxn>
                <a:cxn ang="0">
                  <a:pos x="179" y="105"/>
                </a:cxn>
                <a:cxn ang="0">
                  <a:pos x="179" y="44"/>
                </a:cxn>
                <a:cxn ang="0">
                  <a:pos x="179" y="44"/>
                </a:cxn>
              </a:cxnLst>
              <a:rect l="0" t="0" r="r" b="b"/>
              <a:pathLst>
                <a:path w="179" h="172">
                  <a:moveTo>
                    <a:pt x="179" y="44"/>
                  </a:moveTo>
                  <a:lnTo>
                    <a:pt x="150" y="32"/>
                  </a:lnTo>
                  <a:lnTo>
                    <a:pt x="134" y="22"/>
                  </a:lnTo>
                  <a:lnTo>
                    <a:pt x="112" y="22"/>
                  </a:lnTo>
                  <a:lnTo>
                    <a:pt x="106" y="32"/>
                  </a:lnTo>
                  <a:lnTo>
                    <a:pt x="90" y="50"/>
                  </a:lnTo>
                  <a:lnTo>
                    <a:pt x="73" y="54"/>
                  </a:lnTo>
                  <a:lnTo>
                    <a:pt x="57" y="44"/>
                  </a:lnTo>
                  <a:lnTo>
                    <a:pt x="57" y="10"/>
                  </a:lnTo>
                  <a:lnTo>
                    <a:pt x="29" y="0"/>
                  </a:lnTo>
                  <a:lnTo>
                    <a:pt x="0" y="16"/>
                  </a:lnTo>
                  <a:lnTo>
                    <a:pt x="6" y="22"/>
                  </a:lnTo>
                  <a:lnTo>
                    <a:pt x="23" y="28"/>
                  </a:lnTo>
                  <a:lnTo>
                    <a:pt x="23" y="32"/>
                  </a:lnTo>
                  <a:lnTo>
                    <a:pt x="43" y="32"/>
                  </a:lnTo>
                  <a:lnTo>
                    <a:pt x="39" y="44"/>
                  </a:lnTo>
                  <a:lnTo>
                    <a:pt x="23" y="44"/>
                  </a:lnTo>
                  <a:lnTo>
                    <a:pt x="29" y="54"/>
                  </a:lnTo>
                  <a:lnTo>
                    <a:pt x="29" y="99"/>
                  </a:lnTo>
                  <a:lnTo>
                    <a:pt x="45" y="73"/>
                  </a:lnTo>
                  <a:lnTo>
                    <a:pt x="45" y="61"/>
                  </a:lnTo>
                  <a:lnTo>
                    <a:pt x="57" y="54"/>
                  </a:lnTo>
                  <a:lnTo>
                    <a:pt x="57" y="67"/>
                  </a:lnTo>
                  <a:lnTo>
                    <a:pt x="67" y="67"/>
                  </a:lnTo>
                  <a:lnTo>
                    <a:pt x="67" y="83"/>
                  </a:lnTo>
                  <a:lnTo>
                    <a:pt x="96" y="83"/>
                  </a:lnTo>
                  <a:lnTo>
                    <a:pt x="122" y="95"/>
                  </a:lnTo>
                  <a:lnTo>
                    <a:pt x="128" y="134"/>
                  </a:lnTo>
                  <a:lnTo>
                    <a:pt x="140" y="150"/>
                  </a:lnTo>
                  <a:lnTo>
                    <a:pt x="150" y="150"/>
                  </a:lnTo>
                  <a:lnTo>
                    <a:pt x="179" y="172"/>
                  </a:lnTo>
                  <a:lnTo>
                    <a:pt x="179" y="128"/>
                  </a:lnTo>
                  <a:lnTo>
                    <a:pt x="173" y="117"/>
                  </a:lnTo>
                  <a:lnTo>
                    <a:pt x="179" y="105"/>
                  </a:lnTo>
                  <a:lnTo>
                    <a:pt x="179" y="44"/>
                  </a:lnTo>
                  <a:lnTo>
                    <a:pt x="179" y="4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7" name="Freeform 261">
              <a:extLst>
                <a:ext uri="{FF2B5EF4-FFF2-40B4-BE49-F238E27FC236}">
                  <a16:creationId xmlns:a16="http://schemas.microsoft.com/office/drawing/2014/main" id="{4B9CC462-36F8-4EDE-9259-27D0CCC4303E}"/>
                </a:ext>
              </a:extLst>
            </p:cNvPr>
            <p:cNvSpPr>
              <a:spLocks/>
            </p:cNvSpPr>
            <p:nvPr/>
          </p:nvSpPr>
          <p:spPr bwMode="auto">
            <a:xfrm>
              <a:off x="7401703" y="3384376"/>
              <a:ext cx="36635" cy="38887"/>
            </a:xfrm>
            <a:custGeom>
              <a:avLst/>
              <a:gdLst/>
              <a:ahLst/>
              <a:cxnLst>
                <a:cxn ang="0">
                  <a:pos x="16" y="0"/>
                </a:cxn>
                <a:cxn ang="0">
                  <a:pos x="0" y="6"/>
                </a:cxn>
                <a:cxn ang="0">
                  <a:pos x="0" y="28"/>
                </a:cxn>
                <a:cxn ang="0">
                  <a:pos x="16" y="28"/>
                </a:cxn>
                <a:cxn ang="0">
                  <a:pos x="28" y="16"/>
                </a:cxn>
                <a:cxn ang="0">
                  <a:pos x="16" y="0"/>
                </a:cxn>
                <a:cxn ang="0">
                  <a:pos x="16" y="0"/>
                </a:cxn>
              </a:cxnLst>
              <a:rect l="0" t="0" r="r" b="b"/>
              <a:pathLst>
                <a:path w="28" h="28">
                  <a:moveTo>
                    <a:pt x="16" y="0"/>
                  </a:moveTo>
                  <a:lnTo>
                    <a:pt x="0" y="6"/>
                  </a:lnTo>
                  <a:lnTo>
                    <a:pt x="0" y="28"/>
                  </a:lnTo>
                  <a:lnTo>
                    <a:pt x="16" y="28"/>
                  </a:lnTo>
                  <a:lnTo>
                    <a:pt x="28" y="16"/>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8" name="Freeform 262">
              <a:extLst>
                <a:ext uri="{FF2B5EF4-FFF2-40B4-BE49-F238E27FC236}">
                  <a16:creationId xmlns:a16="http://schemas.microsoft.com/office/drawing/2014/main" id="{38573018-45C3-4C90-A9CF-2612AFB1A99B}"/>
                </a:ext>
              </a:extLst>
            </p:cNvPr>
            <p:cNvSpPr>
              <a:spLocks/>
            </p:cNvSpPr>
            <p:nvPr/>
          </p:nvSpPr>
          <p:spPr bwMode="auto">
            <a:xfrm>
              <a:off x="7226378" y="3228828"/>
              <a:ext cx="20934" cy="22221"/>
            </a:xfrm>
            <a:custGeom>
              <a:avLst/>
              <a:gdLst/>
              <a:ahLst/>
              <a:cxnLst>
                <a:cxn ang="0">
                  <a:pos x="16" y="16"/>
                </a:cxn>
                <a:cxn ang="0">
                  <a:pos x="16" y="0"/>
                </a:cxn>
                <a:cxn ang="0">
                  <a:pos x="0" y="6"/>
                </a:cxn>
                <a:cxn ang="0">
                  <a:pos x="16" y="16"/>
                </a:cxn>
                <a:cxn ang="0">
                  <a:pos x="16" y="16"/>
                </a:cxn>
              </a:cxnLst>
              <a:rect l="0" t="0" r="r" b="b"/>
              <a:pathLst>
                <a:path w="16" h="16">
                  <a:moveTo>
                    <a:pt x="16" y="16"/>
                  </a:moveTo>
                  <a:lnTo>
                    <a:pt x="16" y="0"/>
                  </a:lnTo>
                  <a:lnTo>
                    <a:pt x="0" y="6"/>
                  </a:lnTo>
                  <a:lnTo>
                    <a:pt x="16" y="16"/>
                  </a:lnTo>
                  <a:lnTo>
                    <a:pt x="16"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59" name="Freeform 263">
              <a:extLst>
                <a:ext uri="{FF2B5EF4-FFF2-40B4-BE49-F238E27FC236}">
                  <a16:creationId xmlns:a16="http://schemas.microsoft.com/office/drawing/2014/main" id="{D1077E6E-1452-4B04-9B81-3BD18B2C2D39}"/>
                </a:ext>
              </a:extLst>
            </p:cNvPr>
            <p:cNvSpPr>
              <a:spLocks/>
            </p:cNvSpPr>
            <p:nvPr/>
          </p:nvSpPr>
          <p:spPr bwMode="auto">
            <a:xfrm>
              <a:off x="7183201" y="3259383"/>
              <a:ext cx="71961" cy="31943"/>
            </a:xfrm>
            <a:custGeom>
              <a:avLst/>
              <a:gdLst/>
              <a:ahLst/>
              <a:cxnLst>
                <a:cxn ang="0">
                  <a:pos x="45" y="23"/>
                </a:cxn>
                <a:cxn ang="0">
                  <a:pos x="55" y="17"/>
                </a:cxn>
                <a:cxn ang="0">
                  <a:pos x="39" y="0"/>
                </a:cxn>
                <a:cxn ang="0">
                  <a:pos x="23" y="6"/>
                </a:cxn>
                <a:cxn ang="0">
                  <a:pos x="0" y="0"/>
                </a:cxn>
                <a:cxn ang="0">
                  <a:pos x="0" y="17"/>
                </a:cxn>
                <a:cxn ang="0">
                  <a:pos x="23" y="10"/>
                </a:cxn>
                <a:cxn ang="0">
                  <a:pos x="45" y="23"/>
                </a:cxn>
                <a:cxn ang="0">
                  <a:pos x="45" y="23"/>
                </a:cxn>
              </a:cxnLst>
              <a:rect l="0" t="0" r="r" b="b"/>
              <a:pathLst>
                <a:path w="55" h="23">
                  <a:moveTo>
                    <a:pt x="45" y="23"/>
                  </a:moveTo>
                  <a:lnTo>
                    <a:pt x="55" y="17"/>
                  </a:lnTo>
                  <a:lnTo>
                    <a:pt x="39" y="0"/>
                  </a:lnTo>
                  <a:lnTo>
                    <a:pt x="23" y="6"/>
                  </a:lnTo>
                  <a:lnTo>
                    <a:pt x="0" y="0"/>
                  </a:lnTo>
                  <a:lnTo>
                    <a:pt x="0" y="17"/>
                  </a:lnTo>
                  <a:lnTo>
                    <a:pt x="23" y="10"/>
                  </a:lnTo>
                  <a:lnTo>
                    <a:pt x="45" y="23"/>
                  </a:lnTo>
                  <a:lnTo>
                    <a:pt x="45"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0" name="Freeform 264">
              <a:extLst>
                <a:ext uri="{FF2B5EF4-FFF2-40B4-BE49-F238E27FC236}">
                  <a16:creationId xmlns:a16="http://schemas.microsoft.com/office/drawing/2014/main" id="{34628D7E-0233-4F22-8EF6-3C78064A3D95}"/>
                </a:ext>
              </a:extLst>
            </p:cNvPr>
            <p:cNvSpPr>
              <a:spLocks/>
            </p:cNvSpPr>
            <p:nvPr/>
          </p:nvSpPr>
          <p:spPr bwMode="auto">
            <a:xfrm>
              <a:off x="7355909" y="3228828"/>
              <a:ext cx="30093" cy="13888"/>
            </a:xfrm>
            <a:custGeom>
              <a:avLst/>
              <a:gdLst/>
              <a:ahLst/>
              <a:cxnLst>
                <a:cxn ang="0">
                  <a:pos x="0" y="10"/>
                </a:cxn>
                <a:cxn ang="0">
                  <a:pos x="23" y="6"/>
                </a:cxn>
                <a:cxn ang="0">
                  <a:pos x="6" y="0"/>
                </a:cxn>
                <a:cxn ang="0">
                  <a:pos x="0" y="10"/>
                </a:cxn>
                <a:cxn ang="0">
                  <a:pos x="0" y="10"/>
                </a:cxn>
              </a:cxnLst>
              <a:rect l="0" t="0" r="r" b="b"/>
              <a:pathLst>
                <a:path w="23" h="10">
                  <a:moveTo>
                    <a:pt x="0" y="10"/>
                  </a:moveTo>
                  <a:lnTo>
                    <a:pt x="23" y="6"/>
                  </a:lnTo>
                  <a:lnTo>
                    <a:pt x="6" y="0"/>
                  </a:lnTo>
                  <a:lnTo>
                    <a:pt x="0" y="10"/>
                  </a:lnTo>
                  <a:lnTo>
                    <a:pt x="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1" name="Freeform 265">
              <a:extLst>
                <a:ext uri="{FF2B5EF4-FFF2-40B4-BE49-F238E27FC236}">
                  <a16:creationId xmlns:a16="http://schemas.microsoft.com/office/drawing/2014/main" id="{B6C79CE3-50A1-48E5-BDAD-58E54BBEE651}"/>
                </a:ext>
              </a:extLst>
            </p:cNvPr>
            <p:cNvSpPr>
              <a:spLocks/>
            </p:cNvSpPr>
            <p:nvPr/>
          </p:nvSpPr>
          <p:spPr bwMode="auto">
            <a:xfrm>
              <a:off x="7350676" y="3198273"/>
              <a:ext cx="30093" cy="13888"/>
            </a:xfrm>
            <a:custGeom>
              <a:avLst/>
              <a:gdLst/>
              <a:ahLst/>
              <a:cxnLst>
                <a:cxn ang="0">
                  <a:pos x="4" y="0"/>
                </a:cxn>
                <a:cxn ang="0">
                  <a:pos x="0" y="10"/>
                </a:cxn>
                <a:cxn ang="0">
                  <a:pos x="23" y="10"/>
                </a:cxn>
                <a:cxn ang="0">
                  <a:pos x="4" y="0"/>
                </a:cxn>
                <a:cxn ang="0">
                  <a:pos x="4" y="0"/>
                </a:cxn>
              </a:cxnLst>
              <a:rect l="0" t="0" r="r" b="b"/>
              <a:pathLst>
                <a:path w="23" h="10">
                  <a:moveTo>
                    <a:pt x="4" y="0"/>
                  </a:moveTo>
                  <a:lnTo>
                    <a:pt x="0" y="10"/>
                  </a:lnTo>
                  <a:lnTo>
                    <a:pt x="23" y="10"/>
                  </a:lnTo>
                  <a:lnTo>
                    <a:pt x="4" y="0"/>
                  </a:lnTo>
                  <a:lnTo>
                    <a:pt x="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2" name="Freeform 266">
              <a:extLst>
                <a:ext uri="{FF2B5EF4-FFF2-40B4-BE49-F238E27FC236}">
                  <a16:creationId xmlns:a16="http://schemas.microsoft.com/office/drawing/2014/main" id="{DC2D55F7-97EB-41FA-9257-23CD6B7F9F8B}"/>
                </a:ext>
              </a:extLst>
            </p:cNvPr>
            <p:cNvSpPr>
              <a:spLocks/>
            </p:cNvSpPr>
            <p:nvPr/>
          </p:nvSpPr>
          <p:spPr bwMode="auto">
            <a:xfrm>
              <a:off x="7167500" y="3113555"/>
              <a:ext cx="45793" cy="106939"/>
            </a:xfrm>
            <a:custGeom>
              <a:avLst/>
              <a:gdLst/>
              <a:ahLst/>
              <a:cxnLst>
                <a:cxn ang="0">
                  <a:pos x="35" y="55"/>
                </a:cxn>
                <a:cxn ang="0">
                  <a:pos x="29" y="22"/>
                </a:cxn>
                <a:cxn ang="0">
                  <a:pos x="23" y="0"/>
                </a:cxn>
                <a:cxn ang="0">
                  <a:pos x="16" y="16"/>
                </a:cxn>
                <a:cxn ang="0">
                  <a:pos x="16" y="32"/>
                </a:cxn>
                <a:cxn ang="0">
                  <a:pos x="0" y="22"/>
                </a:cxn>
                <a:cxn ang="0">
                  <a:pos x="0" y="67"/>
                </a:cxn>
                <a:cxn ang="0">
                  <a:pos x="16" y="77"/>
                </a:cxn>
                <a:cxn ang="0">
                  <a:pos x="23" y="48"/>
                </a:cxn>
                <a:cxn ang="0">
                  <a:pos x="35" y="55"/>
                </a:cxn>
                <a:cxn ang="0">
                  <a:pos x="35" y="55"/>
                </a:cxn>
              </a:cxnLst>
              <a:rect l="0" t="0" r="r" b="b"/>
              <a:pathLst>
                <a:path w="35" h="77">
                  <a:moveTo>
                    <a:pt x="35" y="55"/>
                  </a:moveTo>
                  <a:lnTo>
                    <a:pt x="29" y="22"/>
                  </a:lnTo>
                  <a:lnTo>
                    <a:pt x="23" y="0"/>
                  </a:lnTo>
                  <a:lnTo>
                    <a:pt x="16" y="16"/>
                  </a:lnTo>
                  <a:lnTo>
                    <a:pt x="16" y="32"/>
                  </a:lnTo>
                  <a:lnTo>
                    <a:pt x="0" y="22"/>
                  </a:lnTo>
                  <a:lnTo>
                    <a:pt x="0" y="67"/>
                  </a:lnTo>
                  <a:lnTo>
                    <a:pt x="16" y="77"/>
                  </a:lnTo>
                  <a:lnTo>
                    <a:pt x="23" y="48"/>
                  </a:lnTo>
                  <a:lnTo>
                    <a:pt x="35" y="55"/>
                  </a:lnTo>
                  <a:lnTo>
                    <a:pt x="35" y="5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3" name="Freeform 267">
              <a:extLst>
                <a:ext uri="{FF2B5EF4-FFF2-40B4-BE49-F238E27FC236}">
                  <a16:creationId xmlns:a16="http://schemas.microsoft.com/office/drawing/2014/main" id="{67003154-12F4-471A-B169-D834CF6C2EF8}"/>
                </a:ext>
              </a:extLst>
            </p:cNvPr>
            <p:cNvSpPr>
              <a:spLocks/>
            </p:cNvSpPr>
            <p:nvPr/>
          </p:nvSpPr>
          <p:spPr bwMode="auto">
            <a:xfrm>
              <a:off x="6966008" y="3144109"/>
              <a:ext cx="159625" cy="199990"/>
            </a:xfrm>
            <a:custGeom>
              <a:avLst/>
              <a:gdLst/>
              <a:ahLst/>
              <a:cxnLst>
                <a:cxn ang="0">
                  <a:pos x="43" y="22"/>
                </a:cxn>
                <a:cxn ang="0">
                  <a:pos x="77" y="26"/>
                </a:cxn>
                <a:cxn ang="0">
                  <a:pos x="83" y="33"/>
                </a:cxn>
                <a:cxn ang="0">
                  <a:pos x="99" y="33"/>
                </a:cxn>
                <a:cxn ang="0">
                  <a:pos x="122" y="10"/>
                </a:cxn>
                <a:cxn ang="0">
                  <a:pos x="116" y="0"/>
                </a:cxn>
                <a:cxn ang="0">
                  <a:pos x="99" y="16"/>
                </a:cxn>
                <a:cxn ang="0">
                  <a:pos x="83" y="16"/>
                </a:cxn>
                <a:cxn ang="0">
                  <a:pos x="55" y="10"/>
                </a:cxn>
                <a:cxn ang="0">
                  <a:pos x="38" y="10"/>
                </a:cxn>
                <a:cxn ang="0">
                  <a:pos x="22" y="26"/>
                </a:cxn>
                <a:cxn ang="0">
                  <a:pos x="16" y="49"/>
                </a:cxn>
                <a:cxn ang="0">
                  <a:pos x="10" y="61"/>
                </a:cxn>
                <a:cxn ang="0">
                  <a:pos x="10" y="77"/>
                </a:cxn>
                <a:cxn ang="0">
                  <a:pos x="0" y="93"/>
                </a:cxn>
                <a:cxn ang="0">
                  <a:pos x="16" y="106"/>
                </a:cxn>
                <a:cxn ang="0">
                  <a:pos x="16" y="144"/>
                </a:cxn>
                <a:cxn ang="0">
                  <a:pos x="38" y="122"/>
                </a:cxn>
                <a:cxn ang="0">
                  <a:pos x="26" y="83"/>
                </a:cxn>
                <a:cxn ang="0">
                  <a:pos x="43" y="83"/>
                </a:cxn>
                <a:cxn ang="0">
                  <a:pos x="61" y="134"/>
                </a:cxn>
                <a:cxn ang="0">
                  <a:pos x="83" y="138"/>
                </a:cxn>
                <a:cxn ang="0">
                  <a:pos x="77" y="116"/>
                </a:cxn>
                <a:cxn ang="0">
                  <a:pos x="65" y="112"/>
                </a:cxn>
                <a:cxn ang="0">
                  <a:pos x="71" y="93"/>
                </a:cxn>
                <a:cxn ang="0">
                  <a:pos x="55" y="71"/>
                </a:cxn>
                <a:cxn ang="0">
                  <a:pos x="65" y="61"/>
                </a:cxn>
                <a:cxn ang="0">
                  <a:pos x="87" y="67"/>
                </a:cxn>
                <a:cxn ang="0">
                  <a:pos x="77" y="45"/>
                </a:cxn>
                <a:cxn ang="0">
                  <a:pos x="49" y="49"/>
                </a:cxn>
                <a:cxn ang="0">
                  <a:pos x="43" y="61"/>
                </a:cxn>
                <a:cxn ang="0">
                  <a:pos x="26" y="45"/>
                </a:cxn>
                <a:cxn ang="0">
                  <a:pos x="43" y="22"/>
                </a:cxn>
                <a:cxn ang="0">
                  <a:pos x="43" y="22"/>
                </a:cxn>
              </a:cxnLst>
              <a:rect l="0" t="0" r="r" b="b"/>
              <a:pathLst>
                <a:path w="122" h="144">
                  <a:moveTo>
                    <a:pt x="43" y="22"/>
                  </a:moveTo>
                  <a:lnTo>
                    <a:pt x="77" y="26"/>
                  </a:lnTo>
                  <a:lnTo>
                    <a:pt x="83" y="33"/>
                  </a:lnTo>
                  <a:lnTo>
                    <a:pt x="99" y="33"/>
                  </a:lnTo>
                  <a:lnTo>
                    <a:pt x="122" y="10"/>
                  </a:lnTo>
                  <a:lnTo>
                    <a:pt x="116" y="0"/>
                  </a:lnTo>
                  <a:lnTo>
                    <a:pt x="99" y="16"/>
                  </a:lnTo>
                  <a:lnTo>
                    <a:pt x="83" y="16"/>
                  </a:lnTo>
                  <a:lnTo>
                    <a:pt x="55" y="10"/>
                  </a:lnTo>
                  <a:lnTo>
                    <a:pt x="38" y="10"/>
                  </a:lnTo>
                  <a:lnTo>
                    <a:pt x="22" y="26"/>
                  </a:lnTo>
                  <a:lnTo>
                    <a:pt x="16" y="49"/>
                  </a:lnTo>
                  <a:lnTo>
                    <a:pt x="10" y="61"/>
                  </a:lnTo>
                  <a:lnTo>
                    <a:pt x="10" y="77"/>
                  </a:lnTo>
                  <a:lnTo>
                    <a:pt x="0" y="93"/>
                  </a:lnTo>
                  <a:lnTo>
                    <a:pt x="16" y="106"/>
                  </a:lnTo>
                  <a:lnTo>
                    <a:pt x="16" y="144"/>
                  </a:lnTo>
                  <a:lnTo>
                    <a:pt x="38" y="122"/>
                  </a:lnTo>
                  <a:lnTo>
                    <a:pt x="26" y="83"/>
                  </a:lnTo>
                  <a:lnTo>
                    <a:pt x="43" y="83"/>
                  </a:lnTo>
                  <a:lnTo>
                    <a:pt x="61" y="134"/>
                  </a:lnTo>
                  <a:lnTo>
                    <a:pt x="83" y="138"/>
                  </a:lnTo>
                  <a:lnTo>
                    <a:pt x="77" y="116"/>
                  </a:lnTo>
                  <a:lnTo>
                    <a:pt x="65" y="112"/>
                  </a:lnTo>
                  <a:lnTo>
                    <a:pt x="71" y="93"/>
                  </a:lnTo>
                  <a:lnTo>
                    <a:pt x="55" y="71"/>
                  </a:lnTo>
                  <a:lnTo>
                    <a:pt x="65" y="61"/>
                  </a:lnTo>
                  <a:lnTo>
                    <a:pt x="87" y="67"/>
                  </a:lnTo>
                  <a:lnTo>
                    <a:pt x="77" y="45"/>
                  </a:lnTo>
                  <a:lnTo>
                    <a:pt x="49" y="49"/>
                  </a:lnTo>
                  <a:lnTo>
                    <a:pt x="43" y="61"/>
                  </a:lnTo>
                  <a:lnTo>
                    <a:pt x="26" y="45"/>
                  </a:lnTo>
                  <a:lnTo>
                    <a:pt x="43" y="22"/>
                  </a:lnTo>
                  <a:lnTo>
                    <a:pt x="43"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4" name="Freeform 268">
              <a:extLst>
                <a:ext uri="{FF2B5EF4-FFF2-40B4-BE49-F238E27FC236}">
                  <a16:creationId xmlns:a16="http://schemas.microsoft.com/office/drawing/2014/main" id="{42646F42-8D6B-4BCE-A781-35B57F65FA45}"/>
                </a:ext>
              </a:extLst>
            </p:cNvPr>
            <p:cNvSpPr>
              <a:spLocks/>
            </p:cNvSpPr>
            <p:nvPr/>
          </p:nvSpPr>
          <p:spPr bwMode="auto">
            <a:xfrm>
              <a:off x="7103389" y="3228828"/>
              <a:ext cx="51028" cy="22221"/>
            </a:xfrm>
            <a:custGeom>
              <a:avLst/>
              <a:gdLst/>
              <a:ahLst/>
              <a:cxnLst>
                <a:cxn ang="0">
                  <a:pos x="0" y="16"/>
                </a:cxn>
                <a:cxn ang="0">
                  <a:pos x="17" y="10"/>
                </a:cxn>
                <a:cxn ang="0">
                  <a:pos x="39" y="16"/>
                </a:cxn>
                <a:cxn ang="0">
                  <a:pos x="33" y="0"/>
                </a:cxn>
                <a:cxn ang="0">
                  <a:pos x="0" y="0"/>
                </a:cxn>
                <a:cxn ang="0">
                  <a:pos x="0" y="16"/>
                </a:cxn>
                <a:cxn ang="0">
                  <a:pos x="0" y="16"/>
                </a:cxn>
              </a:cxnLst>
              <a:rect l="0" t="0" r="r" b="b"/>
              <a:pathLst>
                <a:path w="39" h="16">
                  <a:moveTo>
                    <a:pt x="0" y="16"/>
                  </a:moveTo>
                  <a:lnTo>
                    <a:pt x="17" y="10"/>
                  </a:lnTo>
                  <a:lnTo>
                    <a:pt x="39" y="16"/>
                  </a:lnTo>
                  <a:lnTo>
                    <a:pt x="33" y="0"/>
                  </a:lnTo>
                  <a:lnTo>
                    <a:pt x="0"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5" name="Freeform 269">
              <a:extLst>
                <a:ext uri="{FF2B5EF4-FFF2-40B4-BE49-F238E27FC236}">
                  <a16:creationId xmlns:a16="http://schemas.microsoft.com/office/drawing/2014/main" id="{9B8EF406-FADF-4C92-ADC6-17CE9651B360}"/>
                </a:ext>
              </a:extLst>
            </p:cNvPr>
            <p:cNvSpPr>
              <a:spLocks/>
            </p:cNvSpPr>
            <p:nvPr/>
          </p:nvSpPr>
          <p:spPr bwMode="auto">
            <a:xfrm>
              <a:off x="7146566" y="3267715"/>
              <a:ext cx="20934" cy="23610"/>
            </a:xfrm>
            <a:custGeom>
              <a:avLst/>
              <a:gdLst/>
              <a:ahLst/>
              <a:cxnLst>
                <a:cxn ang="0">
                  <a:pos x="0" y="0"/>
                </a:cxn>
                <a:cxn ang="0">
                  <a:pos x="0" y="17"/>
                </a:cxn>
                <a:cxn ang="0">
                  <a:pos x="16" y="4"/>
                </a:cxn>
                <a:cxn ang="0">
                  <a:pos x="0" y="0"/>
                </a:cxn>
                <a:cxn ang="0">
                  <a:pos x="0" y="0"/>
                </a:cxn>
              </a:cxnLst>
              <a:rect l="0" t="0" r="r" b="b"/>
              <a:pathLst>
                <a:path w="16" h="17">
                  <a:moveTo>
                    <a:pt x="0" y="0"/>
                  </a:moveTo>
                  <a:lnTo>
                    <a:pt x="0" y="17"/>
                  </a:lnTo>
                  <a:lnTo>
                    <a:pt x="16" y="4"/>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6" name="Freeform 270">
              <a:extLst>
                <a:ext uri="{FF2B5EF4-FFF2-40B4-BE49-F238E27FC236}">
                  <a16:creationId xmlns:a16="http://schemas.microsoft.com/office/drawing/2014/main" id="{EDCECE3F-B454-4AEB-B5FA-47987D38E712}"/>
                </a:ext>
              </a:extLst>
            </p:cNvPr>
            <p:cNvSpPr>
              <a:spLocks/>
            </p:cNvSpPr>
            <p:nvPr/>
          </p:nvSpPr>
          <p:spPr bwMode="auto">
            <a:xfrm>
              <a:off x="7125632" y="3384376"/>
              <a:ext cx="34019" cy="22221"/>
            </a:xfrm>
            <a:custGeom>
              <a:avLst/>
              <a:gdLst/>
              <a:ahLst/>
              <a:cxnLst>
                <a:cxn ang="0">
                  <a:pos x="6" y="16"/>
                </a:cxn>
                <a:cxn ang="0">
                  <a:pos x="26" y="10"/>
                </a:cxn>
                <a:cxn ang="0">
                  <a:pos x="0" y="0"/>
                </a:cxn>
                <a:cxn ang="0">
                  <a:pos x="6" y="16"/>
                </a:cxn>
                <a:cxn ang="0">
                  <a:pos x="6" y="16"/>
                </a:cxn>
              </a:cxnLst>
              <a:rect l="0" t="0" r="r" b="b"/>
              <a:pathLst>
                <a:path w="26" h="16">
                  <a:moveTo>
                    <a:pt x="6" y="16"/>
                  </a:moveTo>
                  <a:lnTo>
                    <a:pt x="26" y="10"/>
                  </a:lnTo>
                  <a:lnTo>
                    <a:pt x="0" y="0"/>
                  </a:lnTo>
                  <a:lnTo>
                    <a:pt x="6" y="16"/>
                  </a:lnTo>
                  <a:lnTo>
                    <a:pt x="6"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7" name="Freeform 271">
              <a:extLst>
                <a:ext uri="{FF2B5EF4-FFF2-40B4-BE49-F238E27FC236}">
                  <a16:creationId xmlns:a16="http://schemas.microsoft.com/office/drawing/2014/main" id="{8CCA60E5-5117-4BEB-908B-60850CA91165}"/>
                </a:ext>
              </a:extLst>
            </p:cNvPr>
            <p:cNvSpPr>
              <a:spLocks/>
            </p:cNvSpPr>
            <p:nvPr/>
          </p:nvSpPr>
          <p:spPr bwMode="auto">
            <a:xfrm>
              <a:off x="7066754" y="3423264"/>
              <a:ext cx="87662" cy="45831"/>
            </a:xfrm>
            <a:custGeom>
              <a:avLst/>
              <a:gdLst/>
              <a:ahLst/>
              <a:cxnLst>
                <a:cxn ang="0">
                  <a:pos x="67" y="0"/>
                </a:cxn>
                <a:cxn ang="0">
                  <a:pos x="51" y="0"/>
                </a:cxn>
                <a:cxn ang="0">
                  <a:pos x="22" y="10"/>
                </a:cxn>
                <a:cxn ang="0">
                  <a:pos x="0" y="26"/>
                </a:cxn>
                <a:cxn ang="0">
                  <a:pos x="10" y="33"/>
                </a:cxn>
                <a:cxn ang="0">
                  <a:pos x="45" y="16"/>
                </a:cxn>
                <a:cxn ang="0">
                  <a:pos x="67" y="0"/>
                </a:cxn>
                <a:cxn ang="0">
                  <a:pos x="67" y="0"/>
                </a:cxn>
              </a:cxnLst>
              <a:rect l="0" t="0" r="r" b="b"/>
              <a:pathLst>
                <a:path w="67" h="33">
                  <a:moveTo>
                    <a:pt x="67" y="0"/>
                  </a:moveTo>
                  <a:lnTo>
                    <a:pt x="51" y="0"/>
                  </a:lnTo>
                  <a:lnTo>
                    <a:pt x="22" y="10"/>
                  </a:lnTo>
                  <a:lnTo>
                    <a:pt x="0" y="26"/>
                  </a:lnTo>
                  <a:lnTo>
                    <a:pt x="10" y="33"/>
                  </a:lnTo>
                  <a:lnTo>
                    <a:pt x="45" y="16"/>
                  </a:lnTo>
                  <a:lnTo>
                    <a:pt x="67" y="0"/>
                  </a:lnTo>
                  <a:lnTo>
                    <a:pt x="67"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8" name="Freeform 272">
              <a:extLst>
                <a:ext uri="{FF2B5EF4-FFF2-40B4-BE49-F238E27FC236}">
                  <a16:creationId xmlns:a16="http://schemas.microsoft.com/office/drawing/2014/main" id="{566CAE76-D5D1-4D73-A1ED-C0BD15074F5F}"/>
                </a:ext>
              </a:extLst>
            </p:cNvPr>
            <p:cNvSpPr>
              <a:spLocks/>
            </p:cNvSpPr>
            <p:nvPr/>
          </p:nvSpPr>
          <p:spPr bwMode="auto">
            <a:xfrm>
              <a:off x="6986943" y="3406596"/>
              <a:ext cx="35327" cy="30555"/>
            </a:xfrm>
            <a:custGeom>
              <a:avLst/>
              <a:gdLst/>
              <a:ahLst/>
              <a:cxnLst>
                <a:cxn ang="0">
                  <a:pos x="27" y="22"/>
                </a:cxn>
                <a:cxn ang="0">
                  <a:pos x="27" y="12"/>
                </a:cxn>
                <a:cxn ang="0">
                  <a:pos x="16" y="0"/>
                </a:cxn>
                <a:cxn ang="0">
                  <a:pos x="0" y="12"/>
                </a:cxn>
                <a:cxn ang="0">
                  <a:pos x="16" y="22"/>
                </a:cxn>
                <a:cxn ang="0">
                  <a:pos x="27" y="22"/>
                </a:cxn>
                <a:cxn ang="0">
                  <a:pos x="27" y="22"/>
                </a:cxn>
              </a:cxnLst>
              <a:rect l="0" t="0" r="r" b="b"/>
              <a:pathLst>
                <a:path w="27" h="22">
                  <a:moveTo>
                    <a:pt x="27" y="22"/>
                  </a:moveTo>
                  <a:lnTo>
                    <a:pt x="27" y="12"/>
                  </a:lnTo>
                  <a:lnTo>
                    <a:pt x="16" y="0"/>
                  </a:lnTo>
                  <a:lnTo>
                    <a:pt x="0" y="12"/>
                  </a:lnTo>
                  <a:lnTo>
                    <a:pt x="16" y="22"/>
                  </a:lnTo>
                  <a:lnTo>
                    <a:pt x="27" y="22"/>
                  </a:lnTo>
                  <a:lnTo>
                    <a:pt x="27"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69" name="Freeform 273">
              <a:extLst>
                <a:ext uri="{FF2B5EF4-FFF2-40B4-BE49-F238E27FC236}">
                  <a16:creationId xmlns:a16="http://schemas.microsoft.com/office/drawing/2014/main" id="{A479CB35-E5AE-4999-BEDB-0E4AF2EA36E7}"/>
                </a:ext>
              </a:extLst>
            </p:cNvPr>
            <p:cNvSpPr>
              <a:spLocks/>
            </p:cNvSpPr>
            <p:nvPr/>
          </p:nvSpPr>
          <p:spPr bwMode="auto">
            <a:xfrm>
              <a:off x="7030120" y="3406596"/>
              <a:ext cx="28784" cy="22221"/>
            </a:xfrm>
            <a:custGeom>
              <a:avLst/>
              <a:gdLst/>
              <a:ahLst/>
              <a:cxnLst>
                <a:cxn ang="0">
                  <a:pos x="22" y="6"/>
                </a:cxn>
                <a:cxn ang="0">
                  <a:pos x="0" y="0"/>
                </a:cxn>
                <a:cxn ang="0">
                  <a:pos x="6" y="16"/>
                </a:cxn>
                <a:cxn ang="0">
                  <a:pos x="22" y="6"/>
                </a:cxn>
                <a:cxn ang="0">
                  <a:pos x="22" y="6"/>
                </a:cxn>
              </a:cxnLst>
              <a:rect l="0" t="0" r="r" b="b"/>
              <a:pathLst>
                <a:path w="22" h="16">
                  <a:moveTo>
                    <a:pt x="22" y="6"/>
                  </a:moveTo>
                  <a:lnTo>
                    <a:pt x="0" y="0"/>
                  </a:lnTo>
                  <a:lnTo>
                    <a:pt x="6" y="16"/>
                  </a:lnTo>
                  <a:lnTo>
                    <a:pt x="22" y="6"/>
                  </a:lnTo>
                  <a:lnTo>
                    <a:pt x="22"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0" name="Freeform 274">
              <a:extLst>
                <a:ext uri="{FF2B5EF4-FFF2-40B4-BE49-F238E27FC236}">
                  <a16:creationId xmlns:a16="http://schemas.microsoft.com/office/drawing/2014/main" id="{9F2FEBDC-157D-49D5-BA22-50B609F453F4}"/>
                </a:ext>
              </a:extLst>
            </p:cNvPr>
            <p:cNvSpPr>
              <a:spLocks/>
            </p:cNvSpPr>
            <p:nvPr/>
          </p:nvSpPr>
          <p:spPr bwMode="auto">
            <a:xfrm>
              <a:off x="7045820" y="3469094"/>
              <a:ext cx="20934" cy="22221"/>
            </a:xfrm>
            <a:custGeom>
              <a:avLst/>
              <a:gdLst/>
              <a:ahLst/>
              <a:cxnLst>
                <a:cxn ang="0">
                  <a:pos x="16" y="6"/>
                </a:cxn>
                <a:cxn ang="0">
                  <a:pos x="0" y="0"/>
                </a:cxn>
                <a:cxn ang="0">
                  <a:pos x="4" y="16"/>
                </a:cxn>
                <a:cxn ang="0">
                  <a:pos x="16" y="6"/>
                </a:cxn>
                <a:cxn ang="0">
                  <a:pos x="16" y="6"/>
                </a:cxn>
              </a:cxnLst>
              <a:rect l="0" t="0" r="r" b="b"/>
              <a:pathLst>
                <a:path w="16" h="16">
                  <a:moveTo>
                    <a:pt x="16" y="6"/>
                  </a:moveTo>
                  <a:lnTo>
                    <a:pt x="0" y="0"/>
                  </a:lnTo>
                  <a:lnTo>
                    <a:pt x="4" y="16"/>
                  </a:lnTo>
                  <a:lnTo>
                    <a:pt x="16" y="6"/>
                  </a:lnTo>
                  <a:lnTo>
                    <a:pt x="16"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1" name="Freeform 275">
              <a:extLst>
                <a:ext uri="{FF2B5EF4-FFF2-40B4-BE49-F238E27FC236}">
                  <a16:creationId xmlns:a16="http://schemas.microsoft.com/office/drawing/2014/main" id="{89F0F9FF-26F2-429E-84A2-4B114B64E6D8}"/>
                </a:ext>
              </a:extLst>
            </p:cNvPr>
            <p:cNvSpPr>
              <a:spLocks/>
            </p:cNvSpPr>
            <p:nvPr/>
          </p:nvSpPr>
          <p:spPr bwMode="auto">
            <a:xfrm>
              <a:off x="7095539" y="3406596"/>
              <a:ext cx="14392" cy="16666"/>
            </a:xfrm>
            <a:custGeom>
              <a:avLst/>
              <a:gdLst/>
              <a:ahLst/>
              <a:cxnLst>
                <a:cxn ang="0">
                  <a:pos x="6" y="12"/>
                </a:cxn>
                <a:cxn ang="0">
                  <a:pos x="11" y="0"/>
                </a:cxn>
                <a:cxn ang="0">
                  <a:pos x="0" y="0"/>
                </a:cxn>
                <a:cxn ang="0">
                  <a:pos x="6" y="12"/>
                </a:cxn>
                <a:cxn ang="0">
                  <a:pos x="6" y="12"/>
                </a:cxn>
              </a:cxnLst>
              <a:rect l="0" t="0" r="r" b="b"/>
              <a:pathLst>
                <a:path w="11" h="12">
                  <a:moveTo>
                    <a:pt x="6" y="12"/>
                  </a:moveTo>
                  <a:lnTo>
                    <a:pt x="11" y="0"/>
                  </a:lnTo>
                  <a:lnTo>
                    <a:pt x="0" y="0"/>
                  </a:lnTo>
                  <a:lnTo>
                    <a:pt x="6" y="12"/>
                  </a:lnTo>
                  <a:lnTo>
                    <a:pt x="6"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2" name="Freeform 276">
              <a:extLst>
                <a:ext uri="{FF2B5EF4-FFF2-40B4-BE49-F238E27FC236}">
                  <a16:creationId xmlns:a16="http://schemas.microsoft.com/office/drawing/2014/main" id="{A1C9C0F8-48F7-48E5-8E29-43729C23C9FF}"/>
                </a:ext>
              </a:extLst>
            </p:cNvPr>
            <p:cNvSpPr>
              <a:spLocks/>
            </p:cNvSpPr>
            <p:nvPr/>
          </p:nvSpPr>
          <p:spPr bwMode="auto">
            <a:xfrm>
              <a:off x="7247312" y="3376043"/>
              <a:ext cx="20934" cy="30555"/>
            </a:xfrm>
            <a:custGeom>
              <a:avLst/>
              <a:gdLst/>
              <a:ahLst/>
              <a:cxnLst>
                <a:cxn ang="0">
                  <a:pos x="0" y="22"/>
                </a:cxn>
                <a:cxn ang="0">
                  <a:pos x="16" y="16"/>
                </a:cxn>
                <a:cxn ang="0">
                  <a:pos x="12" y="0"/>
                </a:cxn>
                <a:cxn ang="0">
                  <a:pos x="6" y="6"/>
                </a:cxn>
                <a:cxn ang="0">
                  <a:pos x="0" y="22"/>
                </a:cxn>
                <a:cxn ang="0">
                  <a:pos x="0" y="22"/>
                </a:cxn>
              </a:cxnLst>
              <a:rect l="0" t="0" r="r" b="b"/>
              <a:pathLst>
                <a:path w="16" h="22">
                  <a:moveTo>
                    <a:pt x="0" y="22"/>
                  </a:moveTo>
                  <a:lnTo>
                    <a:pt x="16" y="16"/>
                  </a:lnTo>
                  <a:lnTo>
                    <a:pt x="12" y="0"/>
                  </a:lnTo>
                  <a:lnTo>
                    <a:pt x="6" y="6"/>
                  </a:lnTo>
                  <a:lnTo>
                    <a:pt x="0" y="22"/>
                  </a:lnTo>
                  <a:lnTo>
                    <a:pt x="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3" name="Freeform 277">
              <a:extLst>
                <a:ext uri="{FF2B5EF4-FFF2-40B4-BE49-F238E27FC236}">
                  <a16:creationId xmlns:a16="http://schemas.microsoft.com/office/drawing/2014/main" id="{BC4208DF-A577-4CB2-B112-EA30902599C6}"/>
                </a:ext>
              </a:extLst>
            </p:cNvPr>
            <p:cNvSpPr>
              <a:spLocks/>
            </p:cNvSpPr>
            <p:nvPr/>
          </p:nvSpPr>
          <p:spPr bwMode="auto">
            <a:xfrm>
              <a:off x="7314041" y="3335767"/>
              <a:ext cx="36635" cy="48609"/>
            </a:xfrm>
            <a:custGeom>
              <a:avLst/>
              <a:gdLst/>
              <a:ahLst/>
              <a:cxnLst>
                <a:cxn ang="0">
                  <a:pos x="12" y="35"/>
                </a:cxn>
                <a:cxn ang="0">
                  <a:pos x="16" y="18"/>
                </a:cxn>
                <a:cxn ang="0">
                  <a:pos x="28" y="6"/>
                </a:cxn>
                <a:cxn ang="0">
                  <a:pos x="16" y="0"/>
                </a:cxn>
                <a:cxn ang="0">
                  <a:pos x="0" y="18"/>
                </a:cxn>
                <a:cxn ang="0">
                  <a:pos x="12" y="35"/>
                </a:cxn>
                <a:cxn ang="0">
                  <a:pos x="12" y="35"/>
                </a:cxn>
              </a:cxnLst>
              <a:rect l="0" t="0" r="r" b="b"/>
              <a:pathLst>
                <a:path w="28" h="35">
                  <a:moveTo>
                    <a:pt x="12" y="35"/>
                  </a:moveTo>
                  <a:lnTo>
                    <a:pt x="16" y="18"/>
                  </a:lnTo>
                  <a:lnTo>
                    <a:pt x="28" y="6"/>
                  </a:lnTo>
                  <a:lnTo>
                    <a:pt x="16" y="0"/>
                  </a:lnTo>
                  <a:lnTo>
                    <a:pt x="0" y="18"/>
                  </a:lnTo>
                  <a:lnTo>
                    <a:pt x="12" y="35"/>
                  </a:lnTo>
                  <a:lnTo>
                    <a:pt x="12" y="3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4" name="Freeform 278">
              <a:extLst>
                <a:ext uri="{FF2B5EF4-FFF2-40B4-BE49-F238E27FC236}">
                  <a16:creationId xmlns:a16="http://schemas.microsoft.com/office/drawing/2014/main" id="{BBDB196A-DD40-4A17-9511-26D4B0B23AD1}"/>
                </a:ext>
              </a:extLst>
            </p:cNvPr>
            <p:cNvSpPr>
              <a:spLocks/>
            </p:cNvSpPr>
            <p:nvPr/>
          </p:nvSpPr>
          <p:spPr bwMode="auto">
            <a:xfrm>
              <a:off x="6731806" y="3081611"/>
              <a:ext cx="239435" cy="218045"/>
            </a:xfrm>
            <a:custGeom>
              <a:avLst/>
              <a:gdLst/>
              <a:ahLst/>
              <a:cxnLst>
                <a:cxn ang="0">
                  <a:pos x="161" y="27"/>
                </a:cxn>
                <a:cxn ang="0">
                  <a:pos x="161" y="17"/>
                </a:cxn>
                <a:cxn ang="0">
                  <a:pos x="155" y="17"/>
                </a:cxn>
                <a:cxn ang="0">
                  <a:pos x="167" y="4"/>
                </a:cxn>
                <a:cxn ang="0">
                  <a:pos x="150" y="0"/>
                </a:cxn>
                <a:cxn ang="0">
                  <a:pos x="134" y="11"/>
                </a:cxn>
                <a:cxn ang="0">
                  <a:pos x="118" y="45"/>
                </a:cxn>
                <a:cxn ang="0">
                  <a:pos x="100" y="61"/>
                </a:cxn>
                <a:cxn ang="0">
                  <a:pos x="77" y="49"/>
                </a:cxn>
                <a:cxn ang="0">
                  <a:pos x="61" y="61"/>
                </a:cxn>
                <a:cxn ang="0">
                  <a:pos x="39" y="67"/>
                </a:cxn>
                <a:cxn ang="0">
                  <a:pos x="29" y="45"/>
                </a:cxn>
                <a:cxn ang="0">
                  <a:pos x="16" y="45"/>
                </a:cxn>
                <a:cxn ang="0">
                  <a:pos x="0" y="67"/>
                </a:cxn>
                <a:cxn ang="0">
                  <a:pos x="23" y="94"/>
                </a:cxn>
                <a:cxn ang="0">
                  <a:pos x="33" y="134"/>
                </a:cxn>
                <a:cxn ang="0">
                  <a:pos x="55" y="134"/>
                </a:cxn>
                <a:cxn ang="0">
                  <a:pos x="71" y="151"/>
                </a:cxn>
                <a:cxn ang="0">
                  <a:pos x="77" y="138"/>
                </a:cxn>
                <a:cxn ang="0">
                  <a:pos x="106" y="138"/>
                </a:cxn>
                <a:cxn ang="0">
                  <a:pos x="106" y="157"/>
                </a:cxn>
                <a:cxn ang="0">
                  <a:pos x="118" y="157"/>
                </a:cxn>
                <a:cxn ang="0">
                  <a:pos x="134" y="145"/>
                </a:cxn>
                <a:cxn ang="0">
                  <a:pos x="138" y="100"/>
                </a:cxn>
                <a:cxn ang="0">
                  <a:pos x="167" y="90"/>
                </a:cxn>
                <a:cxn ang="0">
                  <a:pos x="155" y="78"/>
                </a:cxn>
                <a:cxn ang="0">
                  <a:pos x="173" y="61"/>
                </a:cxn>
                <a:cxn ang="0">
                  <a:pos x="183" y="61"/>
                </a:cxn>
                <a:cxn ang="0">
                  <a:pos x="161" y="27"/>
                </a:cxn>
                <a:cxn ang="0">
                  <a:pos x="161" y="27"/>
                </a:cxn>
              </a:cxnLst>
              <a:rect l="0" t="0" r="r" b="b"/>
              <a:pathLst>
                <a:path w="183" h="157">
                  <a:moveTo>
                    <a:pt x="161" y="27"/>
                  </a:moveTo>
                  <a:lnTo>
                    <a:pt x="161" y="17"/>
                  </a:lnTo>
                  <a:lnTo>
                    <a:pt x="155" y="17"/>
                  </a:lnTo>
                  <a:lnTo>
                    <a:pt x="167" y="4"/>
                  </a:lnTo>
                  <a:lnTo>
                    <a:pt x="150" y="0"/>
                  </a:lnTo>
                  <a:lnTo>
                    <a:pt x="134" y="11"/>
                  </a:lnTo>
                  <a:lnTo>
                    <a:pt x="118" y="45"/>
                  </a:lnTo>
                  <a:lnTo>
                    <a:pt x="100" y="61"/>
                  </a:lnTo>
                  <a:lnTo>
                    <a:pt x="77" y="49"/>
                  </a:lnTo>
                  <a:lnTo>
                    <a:pt x="61" y="61"/>
                  </a:lnTo>
                  <a:lnTo>
                    <a:pt x="39" y="67"/>
                  </a:lnTo>
                  <a:lnTo>
                    <a:pt x="29" y="45"/>
                  </a:lnTo>
                  <a:lnTo>
                    <a:pt x="16" y="45"/>
                  </a:lnTo>
                  <a:lnTo>
                    <a:pt x="0" y="67"/>
                  </a:lnTo>
                  <a:lnTo>
                    <a:pt x="23" y="94"/>
                  </a:lnTo>
                  <a:lnTo>
                    <a:pt x="33" y="134"/>
                  </a:lnTo>
                  <a:lnTo>
                    <a:pt x="55" y="134"/>
                  </a:lnTo>
                  <a:lnTo>
                    <a:pt x="71" y="151"/>
                  </a:lnTo>
                  <a:lnTo>
                    <a:pt x="77" y="138"/>
                  </a:lnTo>
                  <a:lnTo>
                    <a:pt x="106" y="138"/>
                  </a:lnTo>
                  <a:lnTo>
                    <a:pt x="106" y="157"/>
                  </a:lnTo>
                  <a:lnTo>
                    <a:pt x="118" y="157"/>
                  </a:lnTo>
                  <a:lnTo>
                    <a:pt x="134" y="145"/>
                  </a:lnTo>
                  <a:lnTo>
                    <a:pt x="138" y="100"/>
                  </a:lnTo>
                  <a:lnTo>
                    <a:pt x="167" y="90"/>
                  </a:lnTo>
                  <a:lnTo>
                    <a:pt x="155" y="78"/>
                  </a:lnTo>
                  <a:lnTo>
                    <a:pt x="173" y="61"/>
                  </a:lnTo>
                  <a:lnTo>
                    <a:pt x="183" y="61"/>
                  </a:lnTo>
                  <a:lnTo>
                    <a:pt x="161" y="27"/>
                  </a:lnTo>
                  <a:lnTo>
                    <a:pt x="161" y="2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5" name="Freeform 279">
              <a:extLst>
                <a:ext uri="{FF2B5EF4-FFF2-40B4-BE49-F238E27FC236}">
                  <a16:creationId xmlns:a16="http://schemas.microsoft.com/office/drawing/2014/main" id="{B734F7D7-6F45-4F51-9928-4E365F7B334C}"/>
                </a:ext>
              </a:extLst>
            </p:cNvPr>
            <p:cNvSpPr>
              <a:spLocks/>
            </p:cNvSpPr>
            <p:nvPr/>
          </p:nvSpPr>
          <p:spPr bwMode="auto">
            <a:xfrm>
              <a:off x="6659845" y="3228828"/>
              <a:ext cx="27477" cy="38887"/>
            </a:xfrm>
            <a:custGeom>
              <a:avLst/>
              <a:gdLst/>
              <a:ahLst/>
              <a:cxnLst>
                <a:cxn ang="0">
                  <a:pos x="11" y="0"/>
                </a:cxn>
                <a:cxn ang="0">
                  <a:pos x="0" y="0"/>
                </a:cxn>
                <a:cxn ang="0">
                  <a:pos x="4" y="16"/>
                </a:cxn>
                <a:cxn ang="0">
                  <a:pos x="21" y="28"/>
                </a:cxn>
                <a:cxn ang="0">
                  <a:pos x="21" y="16"/>
                </a:cxn>
                <a:cxn ang="0">
                  <a:pos x="11" y="6"/>
                </a:cxn>
                <a:cxn ang="0">
                  <a:pos x="11" y="0"/>
                </a:cxn>
                <a:cxn ang="0">
                  <a:pos x="11" y="0"/>
                </a:cxn>
              </a:cxnLst>
              <a:rect l="0" t="0" r="r" b="b"/>
              <a:pathLst>
                <a:path w="21" h="28">
                  <a:moveTo>
                    <a:pt x="11" y="0"/>
                  </a:moveTo>
                  <a:lnTo>
                    <a:pt x="0" y="0"/>
                  </a:lnTo>
                  <a:lnTo>
                    <a:pt x="4" y="16"/>
                  </a:lnTo>
                  <a:lnTo>
                    <a:pt x="21" y="28"/>
                  </a:lnTo>
                  <a:lnTo>
                    <a:pt x="21" y="16"/>
                  </a:lnTo>
                  <a:lnTo>
                    <a:pt x="11" y="6"/>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6" name="Freeform 280">
              <a:extLst>
                <a:ext uri="{FF2B5EF4-FFF2-40B4-BE49-F238E27FC236}">
                  <a16:creationId xmlns:a16="http://schemas.microsoft.com/office/drawing/2014/main" id="{C5FA1E7C-BEBB-435B-9DD5-1239FE8B04E9}"/>
                </a:ext>
              </a:extLst>
            </p:cNvPr>
            <p:cNvSpPr>
              <a:spLocks/>
            </p:cNvSpPr>
            <p:nvPr/>
          </p:nvSpPr>
          <p:spPr bwMode="auto">
            <a:xfrm>
              <a:off x="6703022" y="3251048"/>
              <a:ext cx="28784" cy="22221"/>
            </a:xfrm>
            <a:custGeom>
              <a:avLst/>
              <a:gdLst/>
              <a:ahLst/>
              <a:cxnLst>
                <a:cxn ang="0">
                  <a:pos x="16" y="6"/>
                </a:cxn>
                <a:cxn ang="0">
                  <a:pos x="6" y="0"/>
                </a:cxn>
                <a:cxn ang="0">
                  <a:pos x="0" y="16"/>
                </a:cxn>
                <a:cxn ang="0">
                  <a:pos x="22" y="16"/>
                </a:cxn>
                <a:cxn ang="0">
                  <a:pos x="16" y="6"/>
                </a:cxn>
                <a:cxn ang="0">
                  <a:pos x="16" y="6"/>
                </a:cxn>
              </a:cxnLst>
              <a:rect l="0" t="0" r="r" b="b"/>
              <a:pathLst>
                <a:path w="22" h="16">
                  <a:moveTo>
                    <a:pt x="16" y="6"/>
                  </a:moveTo>
                  <a:lnTo>
                    <a:pt x="6" y="0"/>
                  </a:lnTo>
                  <a:lnTo>
                    <a:pt x="0" y="16"/>
                  </a:lnTo>
                  <a:lnTo>
                    <a:pt x="22" y="16"/>
                  </a:lnTo>
                  <a:lnTo>
                    <a:pt x="16" y="6"/>
                  </a:lnTo>
                  <a:lnTo>
                    <a:pt x="16"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7" name="Freeform 281">
              <a:extLst>
                <a:ext uri="{FF2B5EF4-FFF2-40B4-BE49-F238E27FC236}">
                  <a16:creationId xmlns:a16="http://schemas.microsoft.com/office/drawing/2014/main" id="{4E8BBCEF-5BD7-4E25-B7F6-F37BB45DAB5B}"/>
                </a:ext>
              </a:extLst>
            </p:cNvPr>
            <p:cNvSpPr>
              <a:spLocks/>
            </p:cNvSpPr>
            <p:nvPr/>
          </p:nvSpPr>
          <p:spPr bwMode="auto">
            <a:xfrm>
              <a:off x="6659845" y="3344099"/>
              <a:ext cx="231585" cy="84719"/>
            </a:xfrm>
            <a:custGeom>
              <a:avLst/>
              <a:gdLst/>
              <a:ahLst/>
              <a:cxnLst>
                <a:cxn ang="0">
                  <a:pos x="94" y="12"/>
                </a:cxn>
                <a:cxn ang="0">
                  <a:pos x="78" y="23"/>
                </a:cxn>
                <a:cxn ang="0">
                  <a:pos x="55" y="23"/>
                </a:cxn>
                <a:cxn ang="0">
                  <a:pos x="49" y="12"/>
                </a:cxn>
                <a:cxn ang="0">
                  <a:pos x="27" y="0"/>
                </a:cxn>
                <a:cxn ang="0">
                  <a:pos x="11" y="6"/>
                </a:cxn>
                <a:cxn ang="0">
                  <a:pos x="0" y="16"/>
                </a:cxn>
                <a:cxn ang="0">
                  <a:pos x="21" y="35"/>
                </a:cxn>
                <a:cxn ang="0">
                  <a:pos x="39" y="35"/>
                </a:cxn>
                <a:cxn ang="0">
                  <a:pos x="43" y="39"/>
                </a:cxn>
                <a:cxn ang="0">
                  <a:pos x="78" y="39"/>
                </a:cxn>
                <a:cxn ang="0">
                  <a:pos x="84" y="45"/>
                </a:cxn>
                <a:cxn ang="0">
                  <a:pos x="122" y="61"/>
                </a:cxn>
                <a:cxn ang="0">
                  <a:pos x="132" y="51"/>
                </a:cxn>
                <a:cxn ang="0">
                  <a:pos x="145" y="61"/>
                </a:cxn>
                <a:cxn ang="0">
                  <a:pos x="167" y="57"/>
                </a:cxn>
                <a:cxn ang="0">
                  <a:pos x="173" y="61"/>
                </a:cxn>
                <a:cxn ang="0">
                  <a:pos x="177" y="51"/>
                </a:cxn>
                <a:cxn ang="0">
                  <a:pos x="173" y="39"/>
                </a:cxn>
                <a:cxn ang="0">
                  <a:pos x="161" y="45"/>
                </a:cxn>
                <a:cxn ang="0">
                  <a:pos x="149" y="35"/>
                </a:cxn>
                <a:cxn ang="0">
                  <a:pos x="138" y="35"/>
                </a:cxn>
                <a:cxn ang="0">
                  <a:pos x="110" y="12"/>
                </a:cxn>
                <a:cxn ang="0">
                  <a:pos x="94" y="12"/>
                </a:cxn>
                <a:cxn ang="0">
                  <a:pos x="94" y="12"/>
                </a:cxn>
              </a:cxnLst>
              <a:rect l="0" t="0" r="r" b="b"/>
              <a:pathLst>
                <a:path w="177" h="61">
                  <a:moveTo>
                    <a:pt x="94" y="12"/>
                  </a:moveTo>
                  <a:lnTo>
                    <a:pt x="78" y="23"/>
                  </a:lnTo>
                  <a:lnTo>
                    <a:pt x="55" y="23"/>
                  </a:lnTo>
                  <a:lnTo>
                    <a:pt x="49" y="12"/>
                  </a:lnTo>
                  <a:lnTo>
                    <a:pt x="27" y="0"/>
                  </a:lnTo>
                  <a:lnTo>
                    <a:pt x="11" y="6"/>
                  </a:lnTo>
                  <a:lnTo>
                    <a:pt x="0" y="16"/>
                  </a:lnTo>
                  <a:lnTo>
                    <a:pt x="21" y="35"/>
                  </a:lnTo>
                  <a:lnTo>
                    <a:pt x="39" y="35"/>
                  </a:lnTo>
                  <a:lnTo>
                    <a:pt x="43" y="39"/>
                  </a:lnTo>
                  <a:lnTo>
                    <a:pt x="78" y="39"/>
                  </a:lnTo>
                  <a:lnTo>
                    <a:pt x="84" y="45"/>
                  </a:lnTo>
                  <a:lnTo>
                    <a:pt x="122" y="61"/>
                  </a:lnTo>
                  <a:lnTo>
                    <a:pt x="132" y="51"/>
                  </a:lnTo>
                  <a:lnTo>
                    <a:pt x="145" y="61"/>
                  </a:lnTo>
                  <a:lnTo>
                    <a:pt x="167" y="57"/>
                  </a:lnTo>
                  <a:lnTo>
                    <a:pt x="173" y="61"/>
                  </a:lnTo>
                  <a:lnTo>
                    <a:pt x="177" y="51"/>
                  </a:lnTo>
                  <a:lnTo>
                    <a:pt x="173" y="39"/>
                  </a:lnTo>
                  <a:lnTo>
                    <a:pt x="161" y="45"/>
                  </a:lnTo>
                  <a:lnTo>
                    <a:pt x="149" y="35"/>
                  </a:lnTo>
                  <a:lnTo>
                    <a:pt x="138" y="35"/>
                  </a:lnTo>
                  <a:lnTo>
                    <a:pt x="110" y="12"/>
                  </a:lnTo>
                  <a:lnTo>
                    <a:pt x="94" y="12"/>
                  </a:lnTo>
                  <a:lnTo>
                    <a:pt x="94"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8" name="Freeform 282">
              <a:extLst>
                <a:ext uri="{FF2B5EF4-FFF2-40B4-BE49-F238E27FC236}">
                  <a16:creationId xmlns:a16="http://schemas.microsoft.com/office/drawing/2014/main" id="{B60F6ED3-6EC6-4371-A0DC-2996FE4683AA}"/>
                </a:ext>
              </a:extLst>
            </p:cNvPr>
            <p:cNvSpPr>
              <a:spLocks/>
            </p:cNvSpPr>
            <p:nvPr/>
          </p:nvSpPr>
          <p:spPr bwMode="auto">
            <a:xfrm>
              <a:off x="6928065" y="3406596"/>
              <a:ext cx="43177" cy="22221"/>
            </a:xfrm>
            <a:custGeom>
              <a:avLst/>
              <a:gdLst/>
              <a:ahLst/>
              <a:cxnLst>
                <a:cxn ang="0">
                  <a:pos x="11" y="0"/>
                </a:cxn>
                <a:cxn ang="0">
                  <a:pos x="0" y="16"/>
                </a:cxn>
                <a:cxn ang="0">
                  <a:pos x="33" y="16"/>
                </a:cxn>
                <a:cxn ang="0">
                  <a:pos x="11" y="0"/>
                </a:cxn>
                <a:cxn ang="0">
                  <a:pos x="11" y="0"/>
                </a:cxn>
              </a:cxnLst>
              <a:rect l="0" t="0" r="r" b="b"/>
              <a:pathLst>
                <a:path w="33" h="16">
                  <a:moveTo>
                    <a:pt x="11" y="0"/>
                  </a:moveTo>
                  <a:lnTo>
                    <a:pt x="0" y="16"/>
                  </a:lnTo>
                  <a:lnTo>
                    <a:pt x="33" y="16"/>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79" name="Freeform 283">
              <a:extLst>
                <a:ext uri="{FF2B5EF4-FFF2-40B4-BE49-F238E27FC236}">
                  <a16:creationId xmlns:a16="http://schemas.microsoft.com/office/drawing/2014/main" id="{0117B2BC-3708-4876-959C-7BB7DFCD16A9}"/>
                </a:ext>
              </a:extLst>
            </p:cNvPr>
            <p:cNvSpPr>
              <a:spLocks/>
            </p:cNvSpPr>
            <p:nvPr/>
          </p:nvSpPr>
          <p:spPr bwMode="auto">
            <a:xfrm>
              <a:off x="6899281" y="3414930"/>
              <a:ext cx="28784" cy="13888"/>
            </a:xfrm>
            <a:custGeom>
              <a:avLst/>
              <a:gdLst/>
              <a:ahLst/>
              <a:cxnLst>
                <a:cxn ang="0">
                  <a:pos x="10" y="10"/>
                </a:cxn>
                <a:cxn ang="0">
                  <a:pos x="22" y="0"/>
                </a:cxn>
                <a:cxn ang="0">
                  <a:pos x="0" y="0"/>
                </a:cxn>
                <a:cxn ang="0">
                  <a:pos x="0" y="10"/>
                </a:cxn>
                <a:cxn ang="0">
                  <a:pos x="10" y="10"/>
                </a:cxn>
                <a:cxn ang="0">
                  <a:pos x="10" y="10"/>
                </a:cxn>
              </a:cxnLst>
              <a:rect l="0" t="0" r="r" b="b"/>
              <a:pathLst>
                <a:path w="22" h="10">
                  <a:moveTo>
                    <a:pt x="10" y="10"/>
                  </a:moveTo>
                  <a:lnTo>
                    <a:pt x="22" y="0"/>
                  </a:lnTo>
                  <a:lnTo>
                    <a:pt x="0" y="0"/>
                  </a:lnTo>
                  <a:lnTo>
                    <a:pt x="0" y="10"/>
                  </a:lnTo>
                  <a:lnTo>
                    <a:pt x="10" y="10"/>
                  </a:lnTo>
                  <a:lnTo>
                    <a:pt x="10"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0" name="Freeform 284">
              <a:extLst>
                <a:ext uri="{FF2B5EF4-FFF2-40B4-BE49-F238E27FC236}">
                  <a16:creationId xmlns:a16="http://schemas.microsoft.com/office/drawing/2014/main" id="{EA0662A7-0F38-466C-A910-C206FCD56E8D}"/>
                </a:ext>
              </a:extLst>
            </p:cNvPr>
            <p:cNvSpPr>
              <a:spLocks/>
            </p:cNvSpPr>
            <p:nvPr/>
          </p:nvSpPr>
          <p:spPr bwMode="auto">
            <a:xfrm>
              <a:off x="6958158" y="3437151"/>
              <a:ext cx="49719" cy="22221"/>
            </a:xfrm>
            <a:custGeom>
              <a:avLst/>
              <a:gdLst/>
              <a:ahLst/>
              <a:cxnLst>
                <a:cxn ang="0">
                  <a:pos x="38" y="10"/>
                </a:cxn>
                <a:cxn ang="0">
                  <a:pos x="16" y="0"/>
                </a:cxn>
                <a:cxn ang="0">
                  <a:pos x="0" y="6"/>
                </a:cxn>
                <a:cxn ang="0">
                  <a:pos x="22" y="16"/>
                </a:cxn>
                <a:cxn ang="0">
                  <a:pos x="38" y="10"/>
                </a:cxn>
                <a:cxn ang="0">
                  <a:pos x="38" y="10"/>
                </a:cxn>
              </a:cxnLst>
              <a:rect l="0" t="0" r="r" b="b"/>
              <a:pathLst>
                <a:path w="38" h="16">
                  <a:moveTo>
                    <a:pt x="38" y="10"/>
                  </a:moveTo>
                  <a:lnTo>
                    <a:pt x="16" y="0"/>
                  </a:lnTo>
                  <a:lnTo>
                    <a:pt x="0" y="6"/>
                  </a:lnTo>
                  <a:lnTo>
                    <a:pt x="22" y="16"/>
                  </a:lnTo>
                  <a:lnTo>
                    <a:pt x="38" y="10"/>
                  </a:lnTo>
                  <a:lnTo>
                    <a:pt x="38"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1" name="Freeform 285">
              <a:extLst>
                <a:ext uri="{FF2B5EF4-FFF2-40B4-BE49-F238E27FC236}">
                  <a16:creationId xmlns:a16="http://schemas.microsoft.com/office/drawing/2014/main" id="{5E4A4E94-5716-4177-A46D-6AE59300C69A}"/>
                </a:ext>
              </a:extLst>
            </p:cNvPr>
            <p:cNvSpPr>
              <a:spLocks/>
            </p:cNvSpPr>
            <p:nvPr/>
          </p:nvSpPr>
          <p:spPr bwMode="auto">
            <a:xfrm>
              <a:off x="6426951" y="3119111"/>
              <a:ext cx="36635" cy="16666"/>
            </a:xfrm>
            <a:custGeom>
              <a:avLst/>
              <a:gdLst/>
              <a:ahLst/>
              <a:cxnLst>
                <a:cxn ang="0">
                  <a:pos x="22" y="12"/>
                </a:cxn>
                <a:cxn ang="0">
                  <a:pos x="28" y="0"/>
                </a:cxn>
                <a:cxn ang="0">
                  <a:pos x="0" y="0"/>
                </a:cxn>
                <a:cxn ang="0">
                  <a:pos x="22" y="12"/>
                </a:cxn>
                <a:cxn ang="0">
                  <a:pos x="22" y="12"/>
                </a:cxn>
              </a:cxnLst>
              <a:rect l="0" t="0" r="r" b="b"/>
              <a:pathLst>
                <a:path w="28" h="12">
                  <a:moveTo>
                    <a:pt x="22" y="12"/>
                  </a:moveTo>
                  <a:lnTo>
                    <a:pt x="28" y="0"/>
                  </a:lnTo>
                  <a:lnTo>
                    <a:pt x="0" y="0"/>
                  </a:lnTo>
                  <a:lnTo>
                    <a:pt x="22" y="12"/>
                  </a:lnTo>
                  <a:lnTo>
                    <a:pt x="22"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2" name="Freeform 286">
              <a:extLst>
                <a:ext uri="{FF2B5EF4-FFF2-40B4-BE49-F238E27FC236}">
                  <a16:creationId xmlns:a16="http://schemas.microsoft.com/office/drawing/2014/main" id="{EF32E670-323A-4402-9B87-25F767427926}"/>
                </a:ext>
              </a:extLst>
            </p:cNvPr>
            <p:cNvSpPr>
              <a:spLocks/>
            </p:cNvSpPr>
            <p:nvPr/>
          </p:nvSpPr>
          <p:spPr bwMode="auto">
            <a:xfrm>
              <a:off x="6498913" y="3212160"/>
              <a:ext cx="23551" cy="38887"/>
            </a:xfrm>
            <a:custGeom>
              <a:avLst/>
              <a:gdLst/>
              <a:ahLst/>
              <a:cxnLst>
                <a:cxn ang="0">
                  <a:pos x="6" y="0"/>
                </a:cxn>
                <a:cxn ang="0">
                  <a:pos x="0" y="6"/>
                </a:cxn>
                <a:cxn ang="0">
                  <a:pos x="12" y="28"/>
                </a:cxn>
                <a:cxn ang="0">
                  <a:pos x="18" y="18"/>
                </a:cxn>
                <a:cxn ang="0">
                  <a:pos x="6" y="0"/>
                </a:cxn>
                <a:cxn ang="0">
                  <a:pos x="6" y="0"/>
                </a:cxn>
              </a:cxnLst>
              <a:rect l="0" t="0" r="r" b="b"/>
              <a:pathLst>
                <a:path w="18" h="28">
                  <a:moveTo>
                    <a:pt x="6" y="0"/>
                  </a:moveTo>
                  <a:lnTo>
                    <a:pt x="0" y="6"/>
                  </a:lnTo>
                  <a:lnTo>
                    <a:pt x="12" y="28"/>
                  </a:lnTo>
                  <a:lnTo>
                    <a:pt x="18" y="18"/>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3" name="Freeform 287">
              <a:extLst>
                <a:ext uri="{FF2B5EF4-FFF2-40B4-BE49-F238E27FC236}">
                  <a16:creationId xmlns:a16="http://schemas.microsoft.com/office/drawing/2014/main" id="{1C8B7D0A-3CC3-4AE9-92F9-E3551352B7E5}"/>
                </a:ext>
              </a:extLst>
            </p:cNvPr>
            <p:cNvSpPr>
              <a:spLocks/>
            </p:cNvSpPr>
            <p:nvPr/>
          </p:nvSpPr>
          <p:spPr bwMode="auto">
            <a:xfrm>
              <a:off x="6769749" y="2994115"/>
              <a:ext cx="201492" cy="180547"/>
            </a:xfrm>
            <a:custGeom>
              <a:avLst/>
              <a:gdLst/>
              <a:ahLst/>
              <a:cxnLst>
                <a:cxn ang="0">
                  <a:pos x="121" y="0"/>
                </a:cxn>
                <a:cxn ang="0">
                  <a:pos x="89" y="41"/>
                </a:cxn>
                <a:cxn ang="0">
                  <a:pos x="99" y="63"/>
                </a:cxn>
                <a:cxn ang="0">
                  <a:pos x="83" y="67"/>
                </a:cxn>
                <a:cxn ang="0">
                  <a:pos x="65" y="51"/>
                </a:cxn>
                <a:cxn ang="0">
                  <a:pos x="61" y="67"/>
                </a:cxn>
                <a:cxn ang="0">
                  <a:pos x="26" y="86"/>
                </a:cxn>
                <a:cxn ang="0">
                  <a:pos x="16" y="96"/>
                </a:cxn>
                <a:cxn ang="0">
                  <a:pos x="16" y="108"/>
                </a:cxn>
                <a:cxn ang="0">
                  <a:pos x="0" y="108"/>
                </a:cxn>
                <a:cxn ang="0">
                  <a:pos x="10" y="130"/>
                </a:cxn>
                <a:cxn ang="0">
                  <a:pos x="32" y="124"/>
                </a:cxn>
                <a:cxn ang="0">
                  <a:pos x="48" y="112"/>
                </a:cxn>
                <a:cxn ang="0">
                  <a:pos x="71" y="124"/>
                </a:cxn>
                <a:cxn ang="0">
                  <a:pos x="89" y="108"/>
                </a:cxn>
                <a:cxn ang="0">
                  <a:pos x="105" y="74"/>
                </a:cxn>
                <a:cxn ang="0">
                  <a:pos x="121" y="63"/>
                </a:cxn>
                <a:cxn ang="0">
                  <a:pos x="138" y="67"/>
                </a:cxn>
                <a:cxn ang="0">
                  <a:pos x="154" y="45"/>
                </a:cxn>
                <a:cxn ang="0">
                  <a:pos x="121" y="0"/>
                </a:cxn>
                <a:cxn ang="0">
                  <a:pos x="121" y="0"/>
                </a:cxn>
              </a:cxnLst>
              <a:rect l="0" t="0" r="r" b="b"/>
              <a:pathLst>
                <a:path w="154" h="130">
                  <a:moveTo>
                    <a:pt x="121" y="0"/>
                  </a:moveTo>
                  <a:lnTo>
                    <a:pt x="89" y="41"/>
                  </a:lnTo>
                  <a:lnTo>
                    <a:pt x="99" y="63"/>
                  </a:lnTo>
                  <a:lnTo>
                    <a:pt x="83" y="67"/>
                  </a:lnTo>
                  <a:lnTo>
                    <a:pt x="65" y="51"/>
                  </a:lnTo>
                  <a:lnTo>
                    <a:pt x="61" y="67"/>
                  </a:lnTo>
                  <a:lnTo>
                    <a:pt x="26" y="86"/>
                  </a:lnTo>
                  <a:lnTo>
                    <a:pt x="16" y="96"/>
                  </a:lnTo>
                  <a:lnTo>
                    <a:pt x="16" y="108"/>
                  </a:lnTo>
                  <a:lnTo>
                    <a:pt x="0" y="108"/>
                  </a:lnTo>
                  <a:lnTo>
                    <a:pt x="10" y="130"/>
                  </a:lnTo>
                  <a:lnTo>
                    <a:pt x="32" y="124"/>
                  </a:lnTo>
                  <a:lnTo>
                    <a:pt x="48" y="112"/>
                  </a:lnTo>
                  <a:lnTo>
                    <a:pt x="71" y="124"/>
                  </a:lnTo>
                  <a:lnTo>
                    <a:pt x="89" y="108"/>
                  </a:lnTo>
                  <a:lnTo>
                    <a:pt x="105" y="74"/>
                  </a:lnTo>
                  <a:lnTo>
                    <a:pt x="121" y="63"/>
                  </a:lnTo>
                  <a:lnTo>
                    <a:pt x="138" y="67"/>
                  </a:lnTo>
                  <a:lnTo>
                    <a:pt x="154" y="45"/>
                  </a:lnTo>
                  <a:lnTo>
                    <a:pt x="121" y="0"/>
                  </a:lnTo>
                  <a:lnTo>
                    <a:pt x="12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4" name="Freeform 288">
              <a:extLst>
                <a:ext uri="{FF2B5EF4-FFF2-40B4-BE49-F238E27FC236}">
                  <a16:creationId xmlns:a16="http://schemas.microsoft.com/office/drawing/2014/main" id="{085558D3-0F57-4378-90D3-54CB992618A9}"/>
                </a:ext>
              </a:extLst>
            </p:cNvPr>
            <p:cNvSpPr>
              <a:spLocks/>
            </p:cNvSpPr>
            <p:nvPr/>
          </p:nvSpPr>
          <p:spPr bwMode="auto">
            <a:xfrm>
              <a:off x="6966008" y="2701075"/>
              <a:ext cx="113831" cy="155548"/>
            </a:xfrm>
            <a:custGeom>
              <a:avLst/>
              <a:gdLst/>
              <a:ahLst/>
              <a:cxnLst>
                <a:cxn ang="0">
                  <a:pos x="16" y="0"/>
                </a:cxn>
                <a:cxn ang="0">
                  <a:pos x="4" y="0"/>
                </a:cxn>
                <a:cxn ang="0">
                  <a:pos x="10" y="35"/>
                </a:cxn>
                <a:cxn ang="0">
                  <a:pos x="0" y="39"/>
                </a:cxn>
                <a:cxn ang="0">
                  <a:pos x="0" y="63"/>
                </a:cxn>
                <a:cxn ang="0">
                  <a:pos x="22" y="79"/>
                </a:cxn>
                <a:cxn ang="0">
                  <a:pos x="16" y="83"/>
                </a:cxn>
                <a:cxn ang="0">
                  <a:pos x="32" y="90"/>
                </a:cxn>
                <a:cxn ang="0">
                  <a:pos x="43" y="90"/>
                </a:cxn>
                <a:cxn ang="0">
                  <a:pos x="43" y="102"/>
                </a:cxn>
                <a:cxn ang="0">
                  <a:pos x="61" y="102"/>
                </a:cxn>
                <a:cxn ang="0">
                  <a:pos x="65" y="106"/>
                </a:cxn>
                <a:cxn ang="0">
                  <a:pos x="73" y="104"/>
                </a:cxn>
                <a:cxn ang="0">
                  <a:pos x="87" y="112"/>
                </a:cxn>
                <a:cxn ang="0">
                  <a:pos x="87" y="102"/>
                </a:cxn>
                <a:cxn ang="0">
                  <a:pos x="83" y="102"/>
                </a:cxn>
                <a:cxn ang="0">
                  <a:pos x="71" y="96"/>
                </a:cxn>
                <a:cxn ang="0">
                  <a:pos x="71" y="90"/>
                </a:cxn>
                <a:cxn ang="0">
                  <a:pos x="65" y="90"/>
                </a:cxn>
                <a:cxn ang="0">
                  <a:pos x="61" y="83"/>
                </a:cxn>
                <a:cxn ang="0">
                  <a:pos x="43" y="83"/>
                </a:cxn>
                <a:cxn ang="0">
                  <a:pos x="43" y="67"/>
                </a:cxn>
                <a:cxn ang="0">
                  <a:pos x="32" y="67"/>
                </a:cxn>
                <a:cxn ang="0">
                  <a:pos x="32" y="45"/>
                </a:cxn>
                <a:cxn ang="0">
                  <a:pos x="43" y="29"/>
                </a:cxn>
                <a:cxn ang="0">
                  <a:pos x="32" y="0"/>
                </a:cxn>
                <a:cxn ang="0">
                  <a:pos x="22" y="6"/>
                </a:cxn>
                <a:cxn ang="0">
                  <a:pos x="16" y="0"/>
                </a:cxn>
                <a:cxn ang="0">
                  <a:pos x="16" y="0"/>
                </a:cxn>
              </a:cxnLst>
              <a:rect l="0" t="0" r="r" b="b"/>
              <a:pathLst>
                <a:path w="87" h="112">
                  <a:moveTo>
                    <a:pt x="16" y="0"/>
                  </a:moveTo>
                  <a:lnTo>
                    <a:pt x="4" y="0"/>
                  </a:lnTo>
                  <a:lnTo>
                    <a:pt x="10" y="35"/>
                  </a:lnTo>
                  <a:lnTo>
                    <a:pt x="0" y="39"/>
                  </a:lnTo>
                  <a:lnTo>
                    <a:pt x="0" y="63"/>
                  </a:lnTo>
                  <a:lnTo>
                    <a:pt x="22" y="79"/>
                  </a:lnTo>
                  <a:lnTo>
                    <a:pt x="16" y="83"/>
                  </a:lnTo>
                  <a:lnTo>
                    <a:pt x="32" y="90"/>
                  </a:lnTo>
                  <a:lnTo>
                    <a:pt x="43" y="90"/>
                  </a:lnTo>
                  <a:lnTo>
                    <a:pt x="43" y="102"/>
                  </a:lnTo>
                  <a:lnTo>
                    <a:pt x="61" y="102"/>
                  </a:lnTo>
                  <a:lnTo>
                    <a:pt x="65" y="106"/>
                  </a:lnTo>
                  <a:lnTo>
                    <a:pt x="73" y="104"/>
                  </a:lnTo>
                  <a:lnTo>
                    <a:pt x="87" y="112"/>
                  </a:lnTo>
                  <a:lnTo>
                    <a:pt x="87" y="102"/>
                  </a:lnTo>
                  <a:lnTo>
                    <a:pt x="83" y="102"/>
                  </a:lnTo>
                  <a:lnTo>
                    <a:pt x="71" y="96"/>
                  </a:lnTo>
                  <a:lnTo>
                    <a:pt x="71" y="90"/>
                  </a:lnTo>
                  <a:lnTo>
                    <a:pt x="65" y="90"/>
                  </a:lnTo>
                  <a:lnTo>
                    <a:pt x="61" y="83"/>
                  </a:lnTo>
                  <a:lnTo>
                    <a:pt x="43" y="83"/>
                  </a:lnTo>
                  <a:lnTo>
                    <a:pt x="43" y="67"/>
                  </a:lnTo>
                  <a:lnTo>
                    <a:pt x="32" y="67"/>
                  </a:lnTo>
                  <a:lnTo>
                    <a:pt x="32" y="45"/>
                  </a:lnTo>
                  <a:lnTo>
                    <a:pt x="43" y="29"/>
                  </a:lnTo>
                  <a:lnTo>
                    <a:pt x="32" y="0"/>
                  </a:lnTo>
                  <a:lnTo>
                    <a:pt x="22" y="6"/>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5" name="Freeform 289">
              <a:extLst>
                <a:ext uri="{FF2B5EF4-FFF2-40B4-BE49-F238E27FC236}">
                  <a16:creationId xmlns:a16="http://schemas.microsoft.com/office/drawing/2014/main" id="{78D30B6D-901A-4018-8970-9A25CC95E2B3}"/>
                </a:ext>
              </a:extLst>
            </p:cNvPr>
            <p:cNvSpPr>
              <a:spLocks/>
            </p:cNvSpPr>
            <p:nvPr/>
          </p:nvSpPr>
          <p:spPr bwMode="auto">
            <a:xfrm>
              <a:off x="6928065" y="2887176"/>
              <a:ext cx="58878" cy="84719"/>
            </a:xfrm>
            <a:custGeom>
              <a:avLst/>
              <a:gdLst/>
              <a:ahLst/>
              <a:cxnLst>
                <a:cxn ang="0">
                  <a:pos x="45" y="12"/>
                </a:cxn>
                <a:cxn ang="0">
                  <a:pos x="33" y="0"/>
                </a:cxn>
                <a:cxn ang="0">
                  <a:pos x="17" y="35"/>
                </a:cxn>
                <a:cxn ang="0">
                  <a:pos x="0" y="45"/>
                </a:cxn>
                <a:cxn ang="0">
                  <a:pos x="0" y="61"/>
                </a:cxn>
                <a:cxn ang="0">
                  <a:pos x="17" y="51"/>
                </a:cxn>
                <a:cxn ang="0">
                  <a:pos x="45" y="12"/>
                </a:cxn>
                <a:cxn ang="0">
                  <a:pos x="45" y="12"/>
                </a:cxn>
              </a:cxnLst>
              <a:rect l="0" t="0" r="r" b="b"/>
              <a:pathLst>
                <a:path w="45" h="61">
                  <a:moveTo>
                    <a:pt x="45" y="12"/>
                  </a:moveTo>
                  <a:lnTo>
                    <a:pt x="33" y="0"/>
                  </a:lnTo>
                  <a:lnTo>
                    <a:pt x="17" y="35"/>
                  </a:lnTo>
                  <a:lnTo>
                    <a:pt x="0" y="45"/>
                  </a:lnTo>
                  <a:lnTo>
                    <a:pt x="0" y="61"/>
                  </a:lnTo>
                  <a:lnTo>
                    <a:pt x="17" y="51"/>
                  </a:lnTo>
                  <a:lnTo>
                    <a:pt x="45" y="12"/>
                  </a:lnTo>
                  <a:lnTo>
                    <a:pt x="45"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6" name="Freeform 290">
              <a:extLst>
                <a:ext uri="{FF2B5EF4-FFF2-40B4-BE49-F238E27FC236}">
                  <a16:creationId xmlns:a16="http://schemas.microsoft.com/office/drawing/2014/main" id="{83C70B32-29C8-4E3D-824C-9B728E58A326}"/>
                </a:ext>
              </a:extLst>
            </p:cNvPr>
            <p:cNvSpPr>
              <a:spLocks/>
            </p:cNvSpPr>
            <p:nvPr/>
          </p:nvSpPr>
          <p:spPr bwMode="auto">
            <a:xfrm>
              <a:off x="6979093" y="2834401"/>
              <a:ext cx="36635" cy="38887"/>
            </a:xfrm>
            <a:custGeom>
              <a:avLst/>
              <a:gdLst/>
              <a:ahLst/>
              <a:cxnLst>
                <a:cxn ang="0">
                  <a:pos x="28" y="10"/>
                </a:cxn>
                <a:cxn ang="0">
                  <a:pos x="0" y="0"/>
                </a:cxn>
                <a:cxn ang="0">
                  <a:pos x="12" y="16"/>
                </a:cxn>
                <a:cxn ang="0">
                  <a:pos x="22" y="28"/>
                </a:cxn>
                <a:cxn ang="0">
                  <a:pos x="28" y="10"/>
                </a:cxn>
                <a:cxn ang="0">
                  <a:pos x="28" y="10"/>
                </a:cxn>
              </a:cxnLst>
              <a:rect l="0" t="0" r="r" b="b"/>
              <a:pathLst>
                <a:path w="28" h="28">
                  <a:moveTo>
                    <a:pt x="28" y="10"/>
                  </a:moveTo>
                  <a:lnTo>
                    <a:pt x="0" y="0"/>
                  </a:lnTo>
                  <a:lnTo>
                    <a:pt x="12" y="16"/>
                  </a:lnTo>
                  <a:lnTo>
                    <a:pt x="22" y="28"/>
                  </a:lnTo>
                  <a:lnTo>
                    <a:pt x="28" y="10"/>
                  </a:lnTo>
                  <a:lnTo>
                    <a:pt x="28"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7" name="Freeform 291">
              <a:extLst>
                <a:ext uri="{FF2B5EF4-FFF2-40B4-BE49-F238E27FC236}">
                  <a16:creationId xmlns:a16="http://schemas.microsoft.com/office/drawing/2014/main" id="{59D21590-D53A-4F86-9F02-93AAE4F2F172}"/>
                </a:ext>
              </a:extLst>
            </p:cNvPr>
            <p:cNvSpPr>
              <a:spLocks/>
            </p:cNvSpPr>
            <p:nvPr/>
          </p:nvSpPr>
          <p:spPr bwMode="auto">
            <a:xfrm>
              <a:off x="7037970" y="2903842"/>
              <a:ext cx="28784" cy="45831"/>
            </a:xfrm>
            <a:custGeom>
              <a:avLst/>
              <a:gdLst/>
              <a:ahLst/>
              <a:cxnLst>
                <a:cxn ang="0">
                  <a:pos x="22" y="4"/>
                </a:cxn>
                <a:cxn ang="0">
                  <a:pos x="16" y="0"/>
                </a:cxn>
                <a:cxn ang="0">
                  <a:pos x="0" y="23"/>
                </a:cxn>
                <a:cxn ang="0">
                  <a:pos x="16" y="33"/>
                </a:cxn>
                <a:cxn ang="0">
                  <a:pos x="16" y="23"/>
                </a:cxn>
                <a:cxn ang="0">
                  <a:pos x="22" y="4"/>
                </a:cxn>
                <a:cxn ang="0">
                  <a:pos x="22" y="4"/>
                </a:cxn>
              </a:cxnLst>
              <a:rect l="0" t="0" r="r" b="b"/>
              <a:pathLst>
                <a:path w="22" h="33">
                  <a:moveTo>
                    <a:pt x="22" y="4"/>
                  </a:moveTo>
                  <a:lnTo>
                    <a:pt x="16" y="0"/>
                  </a:lnTo>
                  <a:lnTo>
                    <a:pt x="0" y="23"/>
                  </a:lnTo>
                  <a:lnTo>
                    <a:pt x="16" y="33"/>
                  </a:lnTo>
                  <a:lnTo>
                    <a:pt x="16" y="23"/>
                  </a:lnTo>
                  <a:lnTo>
                    <a:pt x="22" y="4"/>
                  </a:lnTo>
                  <a:lnTo>
                    <a:pt x="22"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8" name="Freeform 292">
              <a:extLst>
                <a:ext uri="{FF2B5EF4-FFF2-40B4-BE49-F238E27FC236}">
                  <a16:creationId xmlns:a16="http://schemas.microsoft.com/office/drawing/2014/main" id="{999E99A0-326C-4559-941E-60171ED062B4}"/>
                </a:ext>
              </a:extLst>
            </p:cNvPr>
            <p:cNvSpPr>
              <a:spLocks/>
            </p:cNvSpPr>
            <p:nvPr/>
          </p:nvSpPr>
          <p:spPr bwMode="auto">
            <a:xfrm>
              <a:off x="7015726" y="2881621"/>
              <a:ext cx="35327" cy="27777"/>
            </a:xfrm>
            <a:custGeom>
              <a:avLst/>
              <a:gdLst/>
              <a:ahLst/>
              <a:cxnLst>
                <a:cxn ang="0">
                  <a:pos x="11" y="20"/>
                </a:cxn>
                <a:cxn ang="0">
                  <a:pos x="23" y="20"/>
                </a:cxn>
                <a:cxn ang="0">
                  <a:pos x="27" y="0"/>
                </a:cxn>
                <a:cxn ang="0">
                  <a:pos x="11" y="4"/>
                </a:cxn>
                <a:cxn ang="0">
                  <a:pos x="0" y="0"/>
                </a:cxn>
                <a:cxn ang="0">
                  <a:pos x="11" y="20"/>
                </a:cxn>
                <a:cxn ang="0">
                  <a:pos x="11" y="20"/>
                </a:cxn>
              </a:cxnLst>
              <a:rect l="0" t="0" r="r" b="b"/>
              <a:pathLst>
                <a:path w="27" h="20">
                  <a:moveTo>
                    <a:pt x="11" y="20"/>
                  </a:moveTo>
                  <a:lnTo>
                    <a:pt x="23" y="20"/>
                  </a:lnTo>
                  <a:lnTo>
                    <a:pt x="27" y="0"/>
                  </a:lnTo>
                  <a:lnTo>
                    <a:pt x="11" y="4"/>
                  </a:lnTo>
                  <a:lnTo>
                    <a:pt x="0" y="0"/>
                  </a:lnTo>
                  <a:lnTo>
                    <a:pt x="11" y="20"/>
                  </a:lnTo>
                  <a:lnTo>
                    <a:pt x="11" y="2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89" name="Freeform 293">
              <a:extLst>
                <a:ext uri="{FF2B5EF4-FFF2-40B4-BE49-F238E27FC236}">
                  <a16:creationId xmlns:a16="http://schemas.microsoft.com/office/drawing/2014/main" id="{CC6EFF82-D50B-4043-94B1-E058BE5361C4}"/>
                </a:ext>
              </a:extLst>
            </p:cNvPr>
            <p:cNvSpPr>
              <a:spLocks/>
            </p:cNvSpPr>
            <p:nvPr/>
          </p:nvSpPr>
          <p:spPr bwMode="auto">
            <a:xfrm>
              <a:off x="7015726" y="2856624"/>
              <a:ext cx="22243" cy="24999"/>
            </a:xfrm>
            <a:custGeom>
              <a:avLst/>
              <a:gdLst/>
              <a:ahLst/>
              <a:cxnLst>
                <a:cxn ang="0">
                  <a:pos x="17" y="18"/>
                </a:cxn>
                <a:cxn ang="0">
                  <a:pos x="17" y="0"/>
                </a:cxn>
                <a:cxn ang="0">
                  <a:pos x="0" y="6"/>
                </a:cxn>
                <a:cxn ang="0">
                  <a:pos x="17" y="18"/>
                </a:cxn>
                <a:cxn ang="0">
                  <a:pos x="17" y="18"/>
                </a:cxn>
              </a:cxnLst>
              <a:rect l="0" t="0" r="r" b="b"/>
              <a:pathLst>
                <a:path w="17" h="18">
                  <a:moveTo>
                    <a:pt x="17" y="18"/>
                  </a:moveTo>
                  <a:lnTo>
                    <a:pt x="17" y="0"/>
                  </a:lnTo>
                  <a:lnTo>
                    <a:pt x="0" y="6"/>
                  </a:lnTo>
                  <a:lnTo>
                    <a:pt x="17" y="18"/>
                  </a:lnTo>
                  <a:lnTo>
                    <a:pt x="17"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0" name="Freeform 294">
              <a:extLst>
                <a:ext uri="{FF2B5EF4-FFF2-40B4-BE49-F238E27FC236}">
                  <a16:creationId xmlns:a16="http://schemas.microsoft.com/office/drawing/2014/main" id="{36A0B9AB-55C3-4BAF-AA67-C4909753A6F0}"/>
                </a:ext>
              </a:extLst>
            </p:cNvPr>
            <p:cNvSpPr>
              <a:spLocks/>
            </p:cNvSpPr>
            <p:nvPr/>
          </p:nvSpPr>
          <p:spPr bwMode="auto">
            <a:xfrm>
              <a:off x="7051053" y="2856624"/>
              <a:ext cx="23551" cy="24999"/>
            </a:xfrm>
            <a:custGeom>
              <a:avLst/>
              <a:gdLst/>
              <a:ahLst/>
              <a:cxnLst>
                <a:cxn ang="0">
                  <a:pos x="12" y="0"/>
                </a:cxn>
                <a:cxn ang="0">
                  <a:pos x="0" y="12"/>
                </a:cxn>
                <a:cxn ang="0">
                  <a:pos x="18" y="18"/>
                </a:cxn>
                <a:cxn ang="0">
                  <a:pos x="12" y="0"/>
                </a:cxn>
                <a:cxn ang="0">
                  <a:pos x="12" y="0"/>
                </a:cxn>
              </a:cxnLst>
              <a:rect l="0" t="0" r="r" b="b"/>
              <a:pathLst>
                <a:path w="18" h="18">
                  <a:moveTo>
                    <a:pt x="12" y="0"/>
                  </a:moveTo>
                  <a:lnTo>
                    <a:pt x="0" y="12"/>
                  </a:lnTo>
                  <a:lnTo>
                    <a:pt x="18" y="18"/>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1" name="Freeform 295">
              <a:extLst>
                <a:ext uri="{FF2B5EF4-FFF2-40B4-BE49-F238E27FC236}">
                  <a16:creationId xmlns:a16="http://schemas.microsoft.com/office/drawing/2014/main" id="{FC1D202F-B58A-4E01-AC0E-5F49F814B256}"/>
                </a:ext>
              </a:extLst>
            </p:cNvPr>
            <p:cNvSpPr>
              <a:spLocks/>
            </p:cNvSpPr>
            <p:nvPr/>
          </p:nvSpPr>
          <p:spPr bwMode="auto">
            <a:xfrm>
              <a:off x="7079838" y="2887176"/>
              <a:ext cx="15701" cy="22221"/>
            </a:xfrm>
            <a:custGeom>
              <a:avLst/>
              <a:gdLst/>
              <a:ahLst/>
              <a:cxnLst>
                <a:cxn ang="0">
                  <a:pos x="12" y="16"/>
                </a:cxn>
                <a:cxn ang="0">
                  <a:pos x="6" y="0"/>
                </a:cxn>
                <a:cxn ang="0">
                  <a:pos x="0" y="6"/>
                </a:cxn>
                <a:cxn ang="0">
                  <a:pos x="12" y="16"/>
                </a:cxn>
                <a:cxn ang="0">
                  <a:pos x="12" y="16"/>
                </a:cxn>
              </a:cxnLst>
              <a:rect l="0" t="0" r="r" b="b"/>
              <a:pathLst>
                <a:path w="12" h="16">
                  <a:moveTo>
                    <a:pt x="12" y="16"/>
                  </a:moveTo>
                  <a:lnTo>
                    <a:pt x="6" y="0"/>
                  </a:lnTo>
                  <a:lnTo>
                    <a:pt x="0" y="6"/>
                  </a:lnTo>
                  <a:lnTo>
                    <a:pt x="12" y="16"/>
                  </a:lnTo>
                  <a:lnTo>
                    <a:pt x="1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2" name="Freeform 296">
              <a:extLst>
                <a:ext uri="{FF2B5EF4-FFF2-40B4-BE49-F238E27FC236}">
                  <a16:creationId xmlns:a16="http://schemas.microsoft.com/office/drawing/2014/main" id="{22257B2A-2F13-4B82-AABB-EAB3C58E75EF}"/>
                </a:ext>
              </a:extLst>
            </p:cNvPr>
            <p:cNvSpPr>
              <a:spLocks/>
            </p:cNvSpPr>
            <p:nvPr/>
          </p:nvSpPr>
          <p:spPr bwMode="auto">
            <a:xfrm>
              <a:off x="7087689" y="2864956"/>
              <a:ext cx="30093" cy="30555"/>
            </a:xfrm>
            <a:custGeom>
              <a:avLst/>
              <a:gdLst/>
              <a:ahLst/>
              <a:cxnLst>
                <a:cxn ang="0">
                  <a:pos x="17" y="12"/>
                </a:cxn>
                <a:cxn ang="0">
                  <a:pos x="23" y="0"/>
                </a:cxn>
                <a:cxn ang="0">
                  <a:pos x="0" y="0"/>
                </a:cxn>
                <a:cxn ang="0">
                  <a:pos x="12" y="22"/>
                </a:cxn>
                <a:cxn ang="0">
                  <a:pos x="23" y="22"/>
                </a:cxn>
                <a:cxn ang="0">
                  <a:pos x="17" y="12"/>
                </a:cxn>
                <a:cxn ang="0">
                  <a:pos x="17" y="12"/>
                </a:cxn>
              </a:cxnLst>
              <a:rect l="0" t="0" r="r" b="b"/>
              <a:pathLst>
                <a:path w="23" h="22">
                  <a:moveTo>
                    <a:pt x="17" y="12"/>
                  </a:moveTo>
                  <a:lnTo>
                    <a:pt x="23" y="0"/>
                  </a:lnTo>
                  <a:lnTo>
                    <a:pt x="0" y="0"/>
                  </a:lnTo>
                  <a:lnTo>
                    <a:pt x="12" y="22"/>
                  </a:lnTo>
                  <a:lnTo>
                    <a:pt x="23" y="22"/>
                  </a:lnTo>
                  <a:lnTo>
                    <a:pt x="17" y="12"/>
                  </a:lnTo>
                  <a:lnTo>
                    <a:pt x="17"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3" name="Freeform 297">
              <a:extLst>
                <a:ext uri="{FF2B5EF4-FFF2-40B4-BE49-F238E27FC236}">
                  <a16:creationId xmlns:a16="http://schemas.microsoft.com/office/drawing/2014/main" id="{3D8311B2-225B-400D-A1AA-379470C3EBF6}"/>
                </a:ext>
              </a:extLst>
            </p:cNvPr>
            <p:cNvSpPr>
              <a:spLocks/>
            </p:cNvSpPr>
            <p:nvPr/>
          </p:nvSpPr>
          <p:spPr bwMode="auto">
            <a:xfrm>
              <a:off x="7022269" y="2919120"/>
              <a:ext cx="132148" cy="115272"/>
            </a:xfrm>
            <a:custGeom>
              <a:avLst/>
              <a:gdLst/>
              <a:ahLst/>
              <a:cxnLst>
                <a:cxn ang="0">
                  <a:pos x="50" y="32"/>
                </a:cxn>
                <a:cxn ang="0">
                  <a:pos x="44" y="28"/>
                </a:cxn>
                <a:cxn ang="0">
                  <a:pos x="34" y="28"/>
                </a:cxn>
                <a:cxn ang="0">
                  <a:pos x="12" y="44"/>
                </a:cxn>
                <a:cxn ang="0">
                  <a:pos x="12" y="60"/>
                </a:cxn>
                <a:cxn ang="0">
                  <a:pos x="0" y="67"/>
                </a:cxn>
                <a:cxn ang="0">
                  <a:pos x="12" y="77"/>
                </a:cxn>
                <a:cxn ang="0">
                  <a:pos x="22" y="83"/>
                </a:cxn>
                <a:cxn ang="0">
                  <a:pos x="22" y="50"/>
                </a:cxn>
                <a:cxn ang="0">
                  <a:pos x="50" y="50"/>
                </a:cxn>
                <a:cxn ang="0">
                  <a:pos x="44" y="67"/>
                </a:cxn>
                <a:cxn ang="0">
                  <a:pos x="62" y="83"/>
                </a:cxn>
                <a:cxn ang="0">
                  <a:pos x="79" y="83"/>
                </a:cxn>
                <a:cxn ang="0">
                  <a:pos x="73" y="60"/>
                </a:cxn>
                <a:cxn ang="0">
                  <a:pos x="85" y="60"/>
                </a:cxn>
                <a:cxn ang="0">
                  <a:pos x="89" y="77"/>
                </a:cxn>
                <a:cxn ang="0">
                  <a:pos x="101" y="60"/>
                </a:cxn>
                <a:cxn ang="0">
                  <a:pos x="89" y="32"/>
                </a:cxn>
                <a:cxn ang="0">
                  <a:pos x="89" y="22"/>
                </a:cxn>
                <a:cxn ang="0">
                  <a:pos x="79" y="0"/>
                </a:cxn>
                <a:cxn ang="0">
                  <a:pos x="62" y="32"/>
                </a:cxn>
                <a:cxn ang="0">
                  <a:pos x="50" y="32"/>
                </a:cxn>
                <a:cxn ang="0">
                  <a:pos x="50" y="32"/>
                </a:cxn>
              </a:cxnLst>
              <a:rect l="0" t="0" r="r" b="b"/>
              <a:pathLst>
                <a:path w="101" h="83">
                  <a:moveTo>
                    <a:pt x="50" y="32"/>
                  </a:moveTo>
                  <a:lnTo>
                    <a:pt x="44" y="28"/>
                  </a:lnTo>
                  <a:lnTo>
                    <a:pt x="34" y="28"/>
                  </a:lnTo>
                  <a:lnTo>
                    <a:pt x="12" y="44"/>
                  </a:lnTo>
                  <a:lnTo>
                    <a:pt x="12" y="60"/>
                  </a:lnTo>
                  <a:lnTo>
                    <a:pt x="0" y="67"/>
                  </a:lnTo>
                  <a:lnTo>
                    <a:pt x="12" y="77"/>
                  </a:lnTo>
                  <a:lnTo>
                    <a:pt x="22" y="83"/>
                  </a:lnTo>
                  <a:lnTo>
                    <a:pt x="22" y="50"/>
                  </a:lnTo>
                  <a:lnTo>
                    <a:pt x="50" y="50"/>
                  </a:lnTo>
                  <a:lnTo>
                    <a:pt x="44" y="67"/>
                  </a:lnTo>
                  <a:lnTo>
                    <a:pt x="62" y="83"/>
                  </a:lnTo>
                  <a:lnTo>
                    <a:pt x="79" y="83"/>
                  </a:lnTo>
                  <a:lnTo>
                    <a:pt x="73" y="60"/>
                  </a:lnTo>
                  <a:lnTo>
                    <a:pt x="85" y="60"/>
                  </a:lnTo>
                  <a:lnTo>
                    <a:pt x="89" y="77"/>
                  </a:lnTo>
                  <a:lnTo>
                    <a:pt x="101" y="60"/>
                  </a:lnTo>
                  <a:lnTo>
                    <a:pt x="89" y="32"/>
                  </a:lnTo>
                  <a:lnTo>
                    <a:pt x="89" y="22"/>
                  </a:lnTo>
                  <a:lnTo>
                    <a:pt x="79" y="0"/>
                  </a:lnTo>
                  <a:lnTo>
                    <a:pt x="62" y="32"/>
                  </a:lnTo>
                  <a:lnTo>
                    <a:pt x="50" y="32"/>
                  </a:lnTo>
                  <a:lnTo>
                    <a:pt x="50" y="3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4" name="Freeform 298">
              <a:extLst>
                <a:ext uri="{FF2B5EF4-FFF2-40B4-BE49-F238E27FC236}">
                  <a16:creationId xmlns:a16="http://schemas.microsoft.com/office/drawing/2014/main" id="{4C7D88EF-A479-448A-949D-FDF48844D881}"/>
                </a:ext>
              </a:extLst>
            </p:cNvPr>
            <p:cNvSpPr>
              <a:spLocks/>
            </p:cNvSpPr>
            <p:nvPr/>
          </p:nvSpPr>
          <p:spPr bwMode="auto">
            <a:xfrm>
              <a:off x="7074604" y="2919120"/>
              <a:ext cx="20934" cy="22221"/>
            </a:xfrm>
            <a:custGeom>
              <a:avLst/>
              <a:gdLst/>
              <a:ahLst/>
              <a:cxnLst>
                <a:cxn ang="0">
                  <a:pos x="16" y="12"/>
                </a:cxn>
                <a:cxn ang="0">
                  <a:pos x="10" y="0"/>
                </a:cxn>
                <a:cxn ang="0">
                  <a:pos x="0" y="16"/>
                </a:cxn>
                <a:cxn ang="0">
                  <a:pos x="16" y="12"/>
                </a:cxn>
                <a:cxn ang="0">
                  <a:pos x="16" y="12"/>
                </a:cxn>
              </a:cxnLst>
              <a:rect l="0" t="0" r="r" b="b"/>
              <a:pathLst>
                <a:path w="16" h="16">
                  <a:moveTo>
                    <a:pt x="16" y="12"/>
                  </a:moveTo>
                  <a:lnTo>
                    <a:pt x="10" y="0"/>
                  </a:lnTo>
                  <a:lnTo>
                    <a:pt x="0" y="16"/>
                  </a:lnTo>
                  <a:lnTo>
                    <a:pt x="16" y="12"/>
                  </a:lnTo>
                  <a:lnTo>
                    <a:pt x="16"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5" name="Freeform 299">
              <a:extLst>
                <a:ext uri="{FF2B5EF4-FFF2-40B4-BE49-F238E27FC236}">
                  <a16:creationId xmlns:a16="http://schemas.microsoft.com/office/drawing/2014/main" id="{C65909A9-6934-4147-B7A1-EEE4939A4F96}"/>
                </a:ext>
              </a:extLst>
            </p:cNvPr>
            <p:cNvSpPr>
              <a:spLocks/>
            </p:cNvSpPr>
            <p:nvPr/>
          </p:nvSpPr>
          <p:spPr bwMode="auto">
            <a:xfrm>
              <a:off x="7000025" y="3026059"/>
              <a:ext cx="22243" cy="30555"/>
            </a:xfrm>
            <a:custGeom>
              <a:avLst/>
              <a:gdLst/>
              <a:ahLst/>
              <a:cxnLst>
                <a:cxn ang="0">
                  <a:pos x="17" y="18"/>
                </a:cxn>
                <a:cxn ang="0">
                  <a:pos x="17" y="0"/>
                </a:cxn>
                <a:cxn ang="0">
                  <a:pos x="0" y="0"/>
                </a:cxn>
                <a:cxn ang="0">
                  <a:pos x="12" y="22"/>
                </a:cxn>
                <a:cxn ang="0">
                  <a:pos x="17" y="18"/>
                </a:cxn>
                <a:cxn ang="0">
                  <a:pos x="17" y="18"/>
                </a:cxn>
              </a:cxnLst>
              <a:rect l="0" t="0" r="r" b="b"/>
              <a:pathLst>
                <a:path w="17" h="22">
                  <a:moveTo>
                    <a:pt x="17" y="18"/>
                  </a:moveTo>
                  <a:lnTo>
                    <a:pt x="17" y="0"/>
                  </a:lnTo>
                  <a:lnTo>
                    <a:pt x="0" y="0"/>
                  </a:lnTo>
                  <a:lnTo>
                    <a:pt x="12" y="22"/>
                  </a:lnTo>
                  <a:lnTo>
                    <a:pt x="17" y="18"/>
                  </a:lnTo>
                  <a:lnTo>
                    <a:pt x="17"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6" name="Freeform 300">
              <a:extLst>
                <a:ext uri="{FF2B5EF4-FFF2-40B4-BE49-F238E27FC236}">
                  <a16:creationId xmlns:a16="http://schemas.microsoft.com/office/drawing/2014/main" id="{00A8EDEC-50A8-4266-8BBA-7B2B70F40DB9}"/>
                </a:ext>
              </a:extLst>
            </p:cNvPr>
            <p:cNvSpPr>
              <a:spLocks/>
            </p:cNvSpPr>
            <p:nvPr/>
          </p:nvSpPr>
          <p:spPr bwMode="auto">
            <a:xfrm>
              <a:off x="7481515" y="3259383"/>
              <a:ext cx="239435" cy="218045"/>
            </a:xfrm>
            <a:custGeom>
              <a:avLst/>
              <a:gdLst/>
              <a:ahLst/>
              <a:cxnLst>
                <a:cxn ang="0">
                  <a:pos x="89" y="51"/>
                </a:cxn>
                <a:cxn ang="0">
                  <a:pos x="89" y="39"/>
                </a:cxn>
                <a:cxn ang="0">
                  <a:pos x="51" y="10"/>
                </a:cxn>
                <a:cxn ang="0">
                  <a:pos x="6" y="0"/>
                </a:cxn>
                <a:cxn ang="0">
                  <a:pos x="6" y="61"/>
                </a:cxn>
                <a:cxn ang="0">
                  <a:pos x="0" y="73"/>
                </a:cxn>
                <a:cxn ang="0">
                  <a:pos x="6" y="84"/>
                </a:cxn>
                <a:cxn ang="0">
                  <a:pos x="6" y="128"/>
                </a:cxn>
                <a:cxn ang="0">
                  <a:pos x="28" y="122"/>
                </a:cxn>
                <a:cxn ang="0">
                  <a:pos x="32" y="128"/>
                </a:cxn>
                <a:cxn ang="0">
                  <a:pos x="44" y="118"/>
                </a:cxn>
                <a:cxn ang="0">
                  <a:pos x="32" y="112"/>
                </a:cxn>
                <a:cxn ang="0">
                  <a:pos x="51" y="100"/>
                </a:cxn>
                <a:cxn ang="0">
                  <a:pos x="73" y="100"/>
                </a:cxn>
                <a:cxn ang="0">
                  <a:pos x="111" y="134"/>
                </a:cxn>
                <a:cxn ang="0">
                  <a:pos x="150" y="157"/>
                </a:cxn>
                <a:cxn ang="0">
                  <a:pos x="166" y="151"/>
                </a:cxn>
                <a:cxn ang="0">
                  <a:pos x="183" y="151"/>
                </a:cxn>
                <a:cxn ang="0">
                  <a:pos x="178" y="144"/>
                </a:cxn>
                <a:cxn ang="0">
                  <a:pos x="160" y="138"/>
                </a:cxn>
                <a:cxn ang="0">
                  <a:pos x="150" y="128"/>
                </a:cxn>
                <a:cxn ang="0">
                  <a:pos x="134" y="118"/>
                </a:cxn>
                <a:cxn ang="0">
                  <a:pos x="111" y="96"/>
                </a:cxn>
                <a:cxn ang="0">
                  <a:pos x="116" y="73"/>
                </a:cxn>
                <a:cxn ang="0">
                  <a:pos x="89" y="51"/>
                </a:cxn>
                <a:cxn ang="0">
                  <a:pos x="89" y="51"/>
                </a:cxn>
              </a:cxnLst>
              <a:rect l="0" t="0" r="r" b="b"/>
              <a:pathLst>
                <a:path w="183" h="157">
                  <a:moveTo>
                    <a:pt x="89" y="51"/>
                  </a:moveTo>
                  <a:lnTo>
                    <a:pt x="89" y="39"/>
                  </a:lnTo>
                  <a:lnTo>
                    <a:pt x="51" y="10"/>
                  </a:lnTo>
                  <a:lnTo>
                    <a:pt x="6" y="0"/>
                  </a:lnTo>
                  <a:lnTo>
                    <a:pt x="6" y="61"/>
                  </a:lnTo>
                  <a:lnTo>
                    <a:pt x="0" y="73"/>
                  </a:lnTo>
                  <a:lnTo>
                    <a:pt x="6" y="84"/>
                  </a:lnTo>
                  <a:lnTo>
                    <a:pt x="6" y="128"/>
                  </a:lnTo>
                  <a:lnTo>
                    <a:pt x="28" y="122"/>
                  </a:lnTo>
                  <a:lnTo>
                    <a:pt x="32" y="128"/>
                  </a:lnTo>
                  <a:lnTo>
                    <a:pt x="44" y="118"/>
                  </a:lnTo>
                  <a:lnTo>
                    <a:pt x="32" y="112"/>
                  </a:lnTo>
                  <a:lnTo>
                    <a:pt x="51" y="100"/>
                  </a:lnTo>
                  <a:lnTo>
                    <a:pt x="73" y="100"/>
                  </a:lnTo>
                  <a:lnTo>
                    <a:pt x="111" y="134"/>
                  </a:lnTo>
                  <a:lnTo>
                    <a:pt x="150" y="157"/>
                  </a:lnTo>
                  <a:lnTo>
                    <a:pt x="166" y="151"/>
                  </a:lnTo>
                  <a:lnTo>
                    <a:pt x="183" y="151"/>
                  </a:lnTo>
                  <a:lnTo>
                    <a:pt x="178" y="144"/>
                  </a:lnTo>
                  <a:lnTo>
                    <a:pt x="160" y="138"/>
                  </a:lnTo>
                  <a:lnTo>
                    <a:pt x="150" y="128"/>
                  </a:lnTo>
                  <a:lnTo>
                    <a:pt x="134" y="118"/>
                  </a:lnTo>
                  <a:lnTo>
                    <a:pt x="111" y="96"/>
                  </a:lnTo>
                  <a:lnTo>
                    <a:pt x="116" y="73"/>
                  </a:lnTo>
                  <a:lnTo>
                    <a:pt x="89" y="51"/>
                  </a:lnTo>
                  <a:lnTo>
                    <a:pt x="89" y="51"/>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7" name="Freeform 301">
              <a:extLst>
                <a:ext uri="{FF2B5EF4-FFF2-40B4-BE49-F238E27FC236}">
                  <a16:creationId xmlns:a16="http://schemas.microsoft.com/office/drawing/2014/main" id="{377D688B-536C-4125-B153-6222A16B2BDB}"/>
                </a:ext>
              </a:extLst>
            </p:cNvPr>
            <p:cNvSpPr>
              <a:spLocks/>
            </p:cNvSpPr>
            <p:nvPr/>
          </p:nvSpPr>
          <p:spPr bwMode="auto">
            <a:xfrm>
              <a:off x="7938142" y="4103787"/>
              <a:ext cx="154391" cy="194436"/>
            </a:xfrm>
            <a:custGeom>
              <a:avLst/>
              <a:gdLst/>
              <a:ahLst/>
              <a:cxnLst>
                <a:cxn ang="0">
                  <a:pos x="73" y="44"/>
                </a:cxn>
                <a:cxn ang="0">
                  <a:pos x="63" y="40"/>
                </a:cxn>
                <a:cxn ang="0">
                  <a:pos x="73" y="28"/>
                </a:cxn>
                <a:cxn ang="0">
                  <a:pos x="51" y="0"/>
                </a:cxn>
                <a:cxn ang="0">
                  <a:pos x="45" y="12"/>
                </a:cxn>
                <a:cxn ang="0">
                  <a:pos x="57" y="24"/>
                </a:cxn>
                <a:cxn ang="0">
                  <a:pos x="51" y="44"/>
                </a:cxn>
                <a:cxn ang="0">
                  <a:pos x="51" y="62"/>
                </a:cxn>
                <a:cxn ang="0">
                  <a:pos x="28" y="91"/>
                </a:cxn>
                <a:cxn ang="0">
                  <a:pos x="12" y="91"/>
                </a:cxn>
                <a:cxn ang="0">
                  <a:pos x="6" y="101"/>
                </a:cxn>
                <a:cxn ang="0">
                  <a:pos x="22" y="101"/>
                </a:cxn>
                <a:cxn ang="0">
                  <a:pos x="22" y="117"/>
                </a:cxn>
                <a:cxn ang="0">
                  <a:pos x="0" y="123"/>
                </a:cxn>
                <a:cxn ang="0">
                  <a:pos x="0" y="140"/>
                </a:cxn>
                <a:cxn ang="0">
                  <a:pos x="35" y="129"/>
                </a:cxn>
                <a:cxn ang="0">
                  <a:pos x="57" y="101"/>
                </a:cxn>
                <a:cxn ang="0">
                  <a:pos x="102" y="91"/>
                </a:cxn>
                <a:cxn ang="0">
                  <a:pos x="118" y="67"/>
                </a:cxn>
                <a:cxn ang="0">
                  <a:pos x="95" y="67"/>
                </a:cxn>
                <a:cxn ang="0">
                  <a:pos x="73" y="44"/>
                </a:cxn>
                <a:cxn ang="0">
                  <a:pos x="73" y="44"/>
                </a:cxn>
              </a:cxnLst>
              <a:rect l="0" t="0" r="r" b="b"/>
              <a:pathLst>
                <a:path w="118" h="140">
                  <a:moveTo>
                    <a:pt x="73" y="44"/>
                  </a:moveTo>
                  <a:lnTo>
                    <a:pt x="63" y="40"/>
                  </a:lnTo>
                  <a:lnTo>
                    <a:pt x="73" y="28"/>
                  </a:lnTo>
                  <a:lnTo>
                    <a:pt x="51" y="0"/>
                  </a:lnTo>
                  <a:lnTo>
                    <a:pt x="45" y="12"/>
                  </a:lnTo>
                  <a:lnTo>
                    <a:pt x="57" y="24"/>
                  </a:lnTo>
                  <a:lnTo>
                    <a:pt x="51" y="44"/>
                  </a:lnTo>
                  <a:lnTo>
                    <a:pt x="51" y="62"/>
                  </a:lnTo>
                  <a:lnTo>
                    <a:pt x="28" y="91"/>
                  </a:lnTo>
                  <a:lnTo>
                    <a:pt x="12" y="91"/>
                  </a:lnTo>
                  <a:lnTo>
                    <a:pt x="6" y="101"/>
                  </a:lnTo>
                  <a:lnTo>
                    <a:pt x="22" y="101"/>
                  </a:lnTo>
                  <a:lnTo>
                    <a:pt x="22" y="117"/>
                  </a:lnTo>
                  <a:lnTo>
                    <a:pt x="0" y="123"/>
                  </a:lnTo>
                  <a:lnTo>
                    <a:pt x="0" y="140"/>
                  </a:lnTo>
                  <a:lnTo>
                    <a:pt x="35" y="129"/>
                  </a:lnTo>
                  <a:lnTo>
                    <a:pt x="57" y="101"/>
                  </a:lnTo>
                  <a:lnTo>
                    <a:pt x="102" y="91"/>
                  </a:lnTo>
                  <a:lnTo>
                    <a:pt x="118" y="67"/>
                  </a:lnTo>
                  <a:lnTo>
                    <a:pt x="95" y="67"/>
                  </a:lnTo>
                  <a:lnTo>
                    <a:pt x="73" y="44"/>
                  </a:lnTo>
                  <a:lnTo>
                    <a:pt x="73" y="4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8" name="Freeform 302">
              <a:extLst>
                <a:ext uri="{FF2B5EF4-FFF2-40B4-BE49-F238E27FC236}">
                  <a16:creationId xmlns:a16="http://schemas.microsoft.com/office/drawing/2014/main" id="{4E525580-44F8-4D56-8460-828A1789A917}"/>
                </a:ext>
              </a:extLst>
            </p:cNvPr>
            <p:cNvSpPr>
              <a:spLocks/>
            </p:cNvSpPr>
            <p:nvPr/>
          </p:nvSpPr>
          <p:spPr bwMode="auto">
            <a:xfrm>
              <a:off x="7669922" y="4266277"/>
              <a:ext cx="247286" cy="155548"/>
            </a:xfrm>
            <a:custGeom>
              <a:avLst/>
              <a:gdLst/>
              <a:ahLst/>
              <a:cxnLst>
                <a:cxn ang="0">
                  <a:pos x="189" y="12"/>
                </a:cxn>
                <a:cxn ang="0">
                  <a:pos x="177" y="6"/>
                </a:cxn>
                <a:cxn ang="0">
                  <a:pos x="173" y="0"/>
                </a:cxn>
                <a:cxn ang="0">
                  <a:pos x="150" y="23"/>
                </a:cxn>
                <a:cxn ang="0">
                  <a:pos x="116" y="45"/>
                </a:cxn>
                <a:cxn ang="0">
                  <a:pos x="67" y="61"/>
                </a:cxn>
                <a:cxn ang="0">
                  <a:pos x="39" y="80"/>
                </a:cxn>
                <a:cxn ang="0">
                  <a:pos x="22" y="84"/>
                </a:cxn>
                <a:cxn ang="0">
                  <a:pos x="0" y="96"/>
                </a:cxn>
                <a:cxn ang="0">
                  <a:pos x="0" y="106"/>
                </a:cxn>
                <a:cxn ang="0">
                  <a:pos x="22" y="112"/>
                </a:cxn>
                <a:cxn ang="0">
                  <a:pos x="61" y="106"/>
                </a:cxn>
                <a:cxn ang="0">
                  <a:pos x="99" y="67"/>
                </a:cxn>
                <a:cxn ang="0">
                  <a:pos x="128" y="67"/>
                </a:cxn>
                <a:cxn ang="0">
                  <a:pos x="134" y="57"/>
                </a:cxn>
                <a:cxn ang="0">
                  <a:pos x="156" y="51"/>
                </a:cxn>
                <a:cxn ang="0">
                  <a:pos x="189" y="12"/>
                </a:cxn>
                <a:cxn ang="0">
                  <a:pos x="189" y="12"/>
                </a:cxn>
              </a:cxnLst>
              <a:rect l="0" t="0" r="r" b="b"/>
              <a:pathLst>
                <a:path w="189" h="112">
                  <a:moveTo>
                    <a:pt x="189" y="12"/>
                  </a:moveTo>
                  <a:lnTo>
                    <a:pt x="177" y="6"/>
                  </a:lnTo>
                  <a:lnTo>
                    <a:pt x="173" y="0"/>
                  </a:lnTo>
                  <a:lnTo>
                    <a:pt x="150" y="23"/>
                  </a:lnTo>
                  <a:lnTo>
                    <a:pt x="116" y="45"/>
                  </a:lnTo>
                  <a:lnTo>
                    <a:pt x="67" y="61"/>
                  </a:lnTo>
                  <a:lnTo>
                    <a:pt x="39" y="80"/>
                  </a:lnTo>
                  <a:lnTo>
                    <a:pt x="22" y="84"/>
                  </a:lnTo>
                  <a:lnTo>
                    <a:pt x="0" y="96"/>
                  </a:lnTo>
                  <a:lnTo>
                    <a:pt x="0" y="106"/>
                  </a:lnTo>
                  <a:lnTo>
                    <a:pt x="22" y="112"/>
                  </a:lnTo>
                  <a:lnTo>
                    <a:pt x="61" y="106"/>
                  </a:lnTo>
                  <a:lnTo>
                    <a:pt x="99" y="67"/>
                  </a:lnTo>
                  <a:lnTo>
                    <a:pt x="128" y="67"/>
                  </a:lnTo>
                  <a:lnTo>
                    <a:pt x="134" y="57"/>
                  </a:lnTo>
                  <a:lnTo>
                    <a:pt x="156" y="51"/>
                  </a:lnTo>
                  <a:lnTo>
                    <a:pt x="189" y="12"/>
                  </a:lnTo>
                  <a:lnTo>
                    <a:pt x="189"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399" name="Freeform 303">
              <a:extLst>
                <a:ext uri="{FF2B5EF4-FFF2-40B4-BE49-F238E27FC236}">
                  <a16:creationId xmlns:a16="http://schemas.microsoft.com/office/drawing/2014/main" id="{21FD04AC-8F7A-485C-9FA7-E040FA54ED4C}"/>
                </a:ext>
              </a:extLst>
            </p:cNvPr>
            <p:cNvSpPr>
              <a:spLocks/>
            </p:cNvSpPr>
            <p:nvPr/>
          </p:nvSpPr>
          <p:spPr bwMode="auto">
            <a:xfrm>
              <a:off x="7940759" y="3685750"/>
              <a:ext cx="79812" cy="115272"/>
            </a:xfrm>
            <a:custGeom>
              <a:avLst/>
              <a:gdLst/>
              <a:ahLst/>
              <a:cxnLst>
                <a:cxn ang="0">
                  <a:pos x="4" y="0"/>
                </a:cxn>
                <a:cxn ang="0">
                  <a:pos x="0" y="10"/>
                </a:cxn>
                <a:cxn ang="0">
                  <a:pos x="4" y="32"/>
                </a:cxn>
                <a:cxn ang="0">
                  <a:pos x="49" y="83"/>
                </a:cxn>
                <a:cxn ang="0">
                  <a:pos x="61" y="73"/>
                </a:cxn>
                <a:cxn ang="0">
                  <a:pos x="43" y="51"/>
                </a:cxn>
                <a:cxn ang="0">
                  <a:pos x="20" y="32"/>
                </a:cxn>
                <a:cxn ang="0">
                  <a:pos x="16" y="10"/>
                </a:cxn>
                <a:cxn ang="0">
                  <a:pos x="4" y="0"/>
                </a:cxn>
                <a:cxn ang="0">
                  <a:pos x="4" y="0"/>
                </a:cxn>
              </a:cxnLst>
              <a:rect l="0" t="0" r="r" b="b"/>
              <a:pathLst>
                <a:path w="61" h="83">
                  <a:moveTo>
                    <a:pt x="4" y="0"/>
                  </a:moveTo>
                  <a:lnTo>
                    <a:pt x="0" y="10"/>
                  </a:lnTo>
                  <a:lnTo>
                    <a:pt x="4" y="32"/>
                  </a:lnTo>
                  <a:lnTo>
                    <a:pt x="49" y="83"/>
                  </a:lnTo>
                  <a:lnTo>
                    <a:pt x="61" y="73"/>
                  </a:lnTo>
                  <a:lnTo>
                    <a:pt x="43" y="51"/>
                  </a:lnTo>
                  <a:lnTo>
                    <a:pt x="20" y="32"/>
                  </a:lnTo>
                  <a:lnTo>
                    <a:pt x="16" y="10"/>
                  </a:lnTo>
                  <a:lnTo>
                    <a:pt x="4" y="0"/>
                  </a:lnTo>
                  <a:lnTo>
                    <a:pt x="4"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0" name="Freeform 304">
              <a:extLst>
                <a:ext uri="{FF2B5EF4-FFF2-40B4-BE49-F238E27FC236}">
                  <a16:creationId xmlns:a16="http://schemas.microsoft.com/office/drawing/2014/main" id="{D6D6A574-8FA8-4082-92E5-63195E0D9DD1}"/>
                </a:ext>
              </a:extLst>
            </p:cNvPr>
            <p:cNvSpPr>
              <a:spLocks/>
            </p:cNvSpPr>
            <p:nvPr/>
          </p:nvSpPr>
          <p:spPr bwMode="auto">
            <a:xfrm>
              <a:off x="6886197" y="2044162"/>
              <a:ext cx="100746" cy="152771"/>
            </a:xfrm>
            <a:custGeom>
              <a:avLst/>
              <a:gdLst/>
              <a:ahLst/>
              <a:cxnLst>
                <a:cxn ang="0">
                  <a:pos x="71" y="22"/>
                </a:cxn>
                <a:cxn ang="0">
                  <a:pos x="65" y="16"/>
                </a:cxn>
                <a:cxn ang="0">
                  <a:pos x="77" y="10"/>
                </a:cxn>
                <a:cxn ang="0">
                  <a:pos x="71" y="0"/>
                </a:cxn>
                <a:cxn ang="0">
                  <a:pos x="55" y="10"/>
                </a:cxn>
                <a:cxn ang="0">
                  <a:pos x="43" y="26"/>
                </a:cxn>
                <a:cxn ang="0">
                  <a:pos x="20" y="39"/>
                </a:cxn>
                <a:cxn ang="0">
                  <a:pos x="0" y="61"/>
                </a:cxn>
                <a:cxn ang="0">
                  <a:pos x="16" y="83"/>
                </a:cxn>
                <a:cxn ang="0">
                  <a:pos x="10" y="93"/>
                </a:cxn>
                <a:cxn ang="0">
                  <a:pos x="49" y="110"/>
                </a:cxn>
                <a:cxn ang="0">
                  <a:pos x="61" y="100"/>
                </a:cxn>
                <a:cxn ang="0">
                  <a:pos x="77" y="93"/>
                </a:cxn>
                <a:cxn ang="0">
                  <a:pos x="65" y="77"/>
                </a:cxn>
                <a:cxn ang="0">
                  <a:pos x="49" y="71"/>
                </a:cxn>
                <a:cxn ang="0">
                  <a:pos x="49" y="61"/>
                </a:cxn>
                <a:cxn ang="0">
                  <a:pos x="65" y="55"/>
                </a:cxn>
                <a:cxn ang="0">
                  <a:pos x="65" y="43"/>
                </a:cxn>
                <a:cxn ang="0">
                  <a:pos x="61" y="39"/>
                </a:cxn>
                <a:cxn ang="0">
                  <a:pos x="61" y="26"/>
                </a:cxn>
                <a:cxn ang="0">
                  <a:pos x="71" y="22"/>
                </a:cxn>
                <a:cxn ang="0">
                  <a:pos x="71" y="22"/>
                </a:cxn>
              </a:cxnLst>
              <a:rect l="0" t="0" r="r" b="b"/>
              <a:pathLst>
                <a:path w="77" h="110">
                  <a:moveTo>
                    <a:pt x="71" y="22"/>
                  </a:moveTo>
                  <a:lnTo>
                    <a:pt x="65" y="16"/>
                  </a:lnTo>
                  <a:lnTo>
                    <a:pt x="77" y="10"/>
                  </a:lnTo>
                  <a:lnTo>
                    <a:pt x="71" y="0"/>
                  </a:lnTo>
                  <a:lnTo>
                    <a:pt x="55" y="10"/>
                  </a:lnTo>
                  <a:lnTo>
                    <a:pt x="43" y="26"/>
                  </a:lnTo>
                  <a:lnTo>
                    <a:pt x="20" y="39"/>
                  </a:lnTo>
                  <a:lnTo>
                    <a:pt x="0" y="61"/>
                  </a:lnTo>
                  <a:lnTo>
                    <a:pt x="16" y="83"/>
                  </a:lnTo>
                  <a:lnTo>
                    <a:pt x="10" y="93"/>
                  </a:lnTo>
                  <a:lnTo>
                    <a:pt x="49" y="110"/>
                  </a:lnTo>
                  <a:lnTo>
                    <a:pt x="61" y="100"/>
                  </a:lnTo>
                  <a:lnTo>
                    <a:pt x="77" y="93"/>
                  </a:lnTo>
                  <a:lnTo>
                    <a:pt x="65" y="77"/>
                  </a:lnTo>
                  <a:lnTo>
                    <a:pt x="49" y="71"/>
                  </a:lnTo>
                  <a:lnTo>
                    <a:pt x="49" y="61"/>
                  </a:lnTo>
                  <a:lnTo>
                    <a:pt x="65" y="55"/>
                  </a:lnTo>
                  <a:lnTo>
                    <a:pt x="65" y="43"/>
                  </a:lnTo>
                  <a:lnTo>
                    <a:pt x="61" y="39"/>
                  </a:lnTo>
                  <a:lnTo>
                    <a:pt x="61" y="26"/>
                  </a:lnTo>
                  <a:lnTo>
                    <a:pt x="71" y="22"/>
                  </a:lnTo>
                  <a:lnTo>
                    <a:pt x="71"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1" name="Freeform 305">
              <a:extLst>
                <a:ext uri="{FF2B5EF4-FFF2-40B4-BE49-F238E27FC236}">
                  <a16:creationId xmlns:a16="http://schemas.microsoft.com/office/drawing/2014/main" id="{03D69042-6BDC-4282-80EF-34817932D825}"/>
                </a:ext>
              </a:extLst>
            </p:cNvPr>
            <p:cNvSpPr>
              <a:spLocks/>
            </p:cNvSpPr>
            <p:nvPr/>
          </p:nvSpPr>
          <p:spPr bwMode="auto">
            <a:xfrm>
              <a:off x="6950308" y="2173323"/>
              <a:ext cx="79812" cy="111106"/>
            </a:xfrm>
            <a:custGeom>
              <a:avLst/>
              <a:gdLst/>
              <a:ahLst/>
              <a:cxnLst>
                <a:cxn ang="0">
                  <a:pos x="12" y="7"/>
                </a:cxn>
                <a:cxn ang="0">
                  <a:pos x="0" y="17"/>
                </a:cxn>
                <a:cxn ang="0">
                  <a:pos x="0" y="29"/>
                </a:cxn>
                <a:cxn ang="0">
                  <a:pos x="22" y="45"/>
                </a:cxn>
                <a:cxn ang="0">
                  <a:pos x="22" y="74"/>
                </a:cxn>
                <a:cxn ang="0">
                  <a:pos x="34" y="80"/>
                </a:cxn>
                <a:cxn ang="0">
                  <a:pos x="38" y="74"/>
                </a:cxn>
                <a:cxn ang="0">
                  <a:pos x="55" y="74"/>
                </a:cxn>
                <a:cxn ang="0">
                  <a:pos x="61" y="63"/>
                </a:cxn>
                <a:cxn ang="0">
                  <a:pos x="55" y="23"/>
                </a:cxn>
                <a:cxn ang="0">
                  <a:pos x="44" y="17"/>
                </a:cxn>
                <a:cxn ang="0">
                  <a:pos x="28" y="0"/>
                </a:cxn>
                <a:cxn ang="0">
                  <a:pos x="12" y="7"/>
                </a:cxn>
                <a:cxn ang="0">
                  <a:pos x="12" y="7"/>
                </a:cxn>
              </a:cxnLst>
              <a:rect l="0" t="0" r="r" b="b"/>
              <a:pathLst>
                <a:path w="61" h="80">
                  <a:moveTo>
                    <a:pt x="12" y="7"/>
                  </a:moveTo>
                  <a:lnTo>
                    <a:pt x="0" y="17"/>
                  </a:lnTo>
                  <a:lnTo>
                    <a:pt x="0" y="29"/>
                  </a:lnTo>
                  <a:lnTo>
                    <a:pt x="22" y="45"/>
                  </a:lnTo>
                  <a:lnTo>
                    <a:pt x="22" y="74"/>
                  </a:lnTo>
                  <a:lnTo>
                    <a:pt x="34" y="80"/>
                  </a:lnTo>
                  <a:lnTo>
                    <a:pt x="38" y="74"/>
                  </a:lnTo>
                  <a:lnTo>
                    <a:pt x="55" y="74"/>
                  </a:lnTo>
                  <a:lnTo>
                    <a:pt x="61" y="63"/>
                  </a:lnTo>
                  <a:lnTo>
                    <a:pt x="55" y="23"/>
                  </a:lnTo>
                  <a:lnTo>
                    <a:pt x="44" y="17"/>
                  </a:lnTo>
                  <a:lnTo>
                    <a:pt x="28" y="0"/>
                  </a:lnTo>
                  <a:lnTo>
                    <a:pt x="12" y="7"/>
                  </a:lnTo>
                  <a:lnTo>
                    <a:pt x="12" y="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02" name="Freeform 306">
              <a:extLst>
                <a:ext uri="{FF2B5EF4-FFF2-40B4-BE49-F238E27FC236}">
                  <a16:creationId xmlns:a16="http://schemas.microsoft.com/office/drawing/2014/main" id="{DA32DD4C-1643-4AA3-874C-6CE866BADD47}"/>
                </a:ext>
              </a:extLst>
            </p:cNvPr>
            <p:cNvSpPr>
              <a:spLocks/>
            </p:cNvSpPr>
            <p:nvPr/>
          </p:nvSpPr>
          <p:spPr bwMode="auto">
            <a:xfrm>
              <a:off x="7000024" y="2298316"/>
              <a:ext cx="15701" cy="16666"/>
            </a:xfrm>
            <a:custGeom>
              <a:avLst/>
              <a:gdLst/>
              <a:ahLst/>
              <a:cxnLst>
                <a:cxn ang="0">
                  <a:pos x="0" y="0"/>
                </a:cxn>
                <a:cxn ang="0">
                  <a:pos x="0" y="12"/>
                </a:cxn>
                <a:cxn ang="0">
                  <a:pos x="12" y="6"/>
                </a:cxn>
                <a:cxn ang="0">
                  <a:pos x="0" y="0"/>
                </a:cxn>
                <a:cxn ang="0">
                  <a:pos x="0" y="0"/>
                </a:cxn>
              </a:cxnLst>
              <a:rect l="0" t="0" r="r" b="b"/>
              <a:pathLst>
                <a:path w="12" h="12">
                  <a:moveTo>
                    <a:pt x="0" y="0"/>
                  </a:moveTo>
                  <a:lnTo>
                    <a:pt x="0" y="12"/>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403" name="Group 324">
              <a:extLst>
                <a:ext uri="{FF2B5EF4-FFF2-40B4-BE49-F238E27FC236}">
                  <a16:creationId xmlns:a16="http://schemas.microsoft.com/office/drawing/2014/main" id="{34760EDD-743D-4959-A415-5633F6DB50BB}"/>
                </a:ext>
              </a:extLst>
            </p:cNvPr>
            <p:cNvGrpSpPr/>
            <p:nvPr/>
          </p:nvGrpSpPr>
          <p:grpSpPr>
            <a:xfrm>
              <a:off x="5806774" y="1780285"/>
              <a:ext cx="1186711" cy="937455"/>
              <a:chOff x="5246234" y="1651013"/>
              <a:chExt cx="1191093" cy="904266"/>
            </a:xfrm>
            <a:grpFill/>
          </p:grpSpPr>
          <p:sp>
            <p:nvSpPr>
              <p:cNvPr id="575" name="Freeform 235">
                <a:extLst>
                  <a:ext uri="{FF2B5EF4-FFF2-40B4-BE49-F238E27FC236}">
                    <a16:creationId xmlns:a16="http://schemas.microsoft.com/office/drawing/2014/main" id="{1CEA3B60-2FFF-4478-9D65-A2EB53FC6C80}"/>
                  </a:ext>
                </a:extLst>
              </p:cNvPr>
              <p:cNvSpPr>
                <a:spLocks/>
              </p:cNvSpPr>
              <p:nvPr/>
            </p:nvSpPr>
            <p:spPr bwMode="auto">
              <a:xfrm>
                <a:off x="5246234" y="1651013"/>
                <a:ext cx="1191093" cy="838622"/>
              </a:xfrm>
              <a:custGeom>
                <a:avLst/>
                <a:gdLst>
                  <a:gd name="T0" fmla="*/ 588 w 907"/>
                  <a:gd name="T1" fmla="*/ 89 h 626"/>
                  <a:gd name="T2" fmla="*/ 629 w 907"/>
                  <a:gd name="T3" fmla="*/ 112 h 626"/>
                  <a:gd name="T4" fmla="*/ 668 w 907"/>
                  <a:gd name="T5" fmla="*/ 128 h 626"/>
                  <a:gd name="T6" fmla="*/ 572 w 907"/>
                  <a:gd name="T7" fmla="*/ 163 h 626"/>
                  <a:gd name="T8" fmla="*/ 562 w 907"/>
                  <a:gd name="T9" fmla="*/ 213 h 626"/>
                  <a:gd name="T10" fmla="*/ 495 w 907"/>
                  <a:gd name="T11" fmla="*/ 230 h 626"/>
                  <a:gd name="T12" fmla="*/ 345 w 907"/>
                  <a:gd name="T13" fmla="*/ 207 h 626"/>
                  <a:gd name="T14" fmla="*/ 227 w 907"/>
                  <a:gd name="T15" fmla="*/ 163 h 626"/>
                  <a:gd name="T16" fmla="*/ 201 w 907"/>
                  <a:gd name="T17" fmla="*/ 112 h 626"/>
                  <a:gd name="T18" fmla="*/ 150 w 907"/>
                  <a:gd name="T19" fmla="*/ 83 h 626"/>
                  <a:gd name="T20" fmla="*/ 128 w 907"/>
                  <a:gd name="T21" fmla="*/ 96 h 626"/>
                  <a:gd name="T22" fmla="*/ 128 w 907"/>
                  <a:gd name="T23" fmla="*/ 124 h 626"/>
                  <a:gd name="T24" fmla="*/ 95 w 907"/>
                  <a:gd name="T25" fmla="*/ 163 h 626"/>
                  <a:gd name="T26" fmla="*/ 77 w 907"/>
                  <a:gd name="T27" fmla="*/ 191 h 626"/>
                  <a:gd name="T28" fmla="*/ 73 w 907"/>
                  <a:gd name="T29" fmla="*/ 234 h 626"/>
                  <a:gd name="T30" fmla="*/ 28 w 907"/>
                  <a:gd name="T31" fmla="*/ 258 h 626"/>
                  <a:gd name="T32" fmla="*/ 0 w 907"/>
                  <a:gd name="T33" fmla="*/ 274 h 626"/>
                  <a:gd name="T34" fmla="*/ 22 w 907"/>
                  <a:gd name="T35" fmla="*/ 291 h 626"/>
                  <a:gd name="T36" fmla="*/ 57 w 907"/>
                  <a:gd name="T37" fmla="*/ 335 h 626"/>
                  <a:gd name="T38" fmla="*/ 112 w 907"/>
                  <a:gd name="T39" fmla="*/ 342 h 626"/>
                  <a:gd name="T40" fmla="*/ 122 w 907"/>
                  <a:gd name="T41" fmla="*/ 380 h 626"/>
                  <a:gd name="T42" fmla="*/ 118 w 907"/>
                  <a:gd name="T43" fmla="*/ 409 h 626"/>
                  <a:gd name="T44" fmla="*/ 160 w 907"/>
                  <a:gd name="T45" fmla="*/ 441 h 626"/>
                  <a:gd name="T46" fmla="*/ 262 w 907"/>
                  <a:gd name="T47" fmla="*/ 486 h 626"/>
                  <a:gd name="T48" fmla="*/ 300 w 907"/>
                  <a:gd name="T49" fmla="*/ 486 h 626"/>
                  <a:gd name="T50" fmla="*/ 323 w 907"/>
                  <a:gd name="T51" fmla="*/ 492 h 626"/>
                  <a:gd name="T52" fmla="*/ 339 w 907"/>
                  <a:gd name="T53" fmla="*/ 480 h 626"/>
                  <a:gd name="T54" fmla="*/ 428 w 907"/>
                  <a:gd name="T55" fmla="*/ 459 h 626"/>
                  <a:gd name="T56" fmla="*/ 463 w 907"/>
                  <a:gd name="T57" fmla="*/ 480 h 626"/>
                  <a:gd name="T58" fmla="*/ 489 w 907"/>
                  <a:gd name="T59" fmla="*/ 531 h 626"/>
                  <a:gd name="T60" fmla="*/ 473 w 907"/>
                  <a:gd name="T61" fmla="*/ 559 h 626"/>
                  <a:gd name="T62" fmla="*/ 523 w 907"/>
                  <a:gd name="T63" fmla="*/ 610 h 626"/>
                  <a:gd name="T64" fmla="*/ 562 w 907"/>
                  <a:gd name="T65" fmla="*/ 594 h 626"/>
                  <a:gd name="T66" fmla="*/ 668 w 907"/>
                  <a:gd name="T67" fmla="*/ 610 h 626"/>
                  <a:gd name="T68" fmla="*/ 690 w 907"/>
                  <a:gd name="T69" fmla="*/ 626 h 626"/>
                  <a:gd name="T70" fmla="*/ 722 w 907"/>
                  <a:gd name="T71" fmla="*/ 610 h 626"/>
                  <a:gd name="T72" fmla="*/ 757 w 907"/>
                  <a:gd name="T73" fmla="*/ 594 h 626"/>
                  <a:gd name="T74" fmla="*/ 777 w 907"/>
                  <a:gd name="T75" fmla="*/ 581 h 626"/>
                  <a:gd name="T76" fmla="*/ 844 w 907"/>
                  <a:gd name="T77" fmla="*/ 527 h 626"/>
                  <a:gd name="T78" fmla="*/ 860 w 907"/>
                  <a:gd name="T79" fmla="*/ 470 h 626"/>
                  <a:gd name="T80" fmla="*/ 866 w 907"/>
                  <a:gd name="T81" fmla="*/ 453 h 626"/>
                  <a:gd name="T82" fmla="*/ 828 w 907"/>
                  <a:gd name="T83" fmla="*/ 435 h 626"/>
                  <a:gd name="T84" fmla="*/ 805 w 907"/>
                  <a:gd name="T85" fmla="*/ 409 h 626"/>
                  <a:gd name="T86" fmla="*/ 844 w 907"/>
                  <a:gd name="T87" fmla="*/ 409 h 626"/>
                  <a:gd name="T88" fmla="*/ 773 w 907"/>
                  <a:gd name="T89" fmla="*/ 348 h 626"/>
                  <a:gd name="T90" fmla="*/ 812 w 907"/>
                  <a:gd name="T91" fmla="*/ 307 h 626"/>
                  <a:gd name="T92" fmla="*/ 767 w 907"/>
                  <a:gd name="T93" fmla="*/ 307 h 626"/>
                  <a:gd name="T94" fmla="*/ 745 w 907"/>
                  <a:gd name="T95" fmla="*/ 291 h 626"/>
                  <a:gd name="T96" fmla="*/ 712 w 907"/>
                  <a:gd name="T97" fmla="*/ 268 h 626"/>
                  <a:gd name="T98" fmla="*/ 757 w 907"/>
                  <a:gd name="T99" fmla="*/ 234 h 626"/>
                  <a:gd name="T100" fmla="*/ 767 w 907"/>
                  <a:gd name="T101" fmla="*/ 252 h 626"/>
                  <a:gd name="T102" fmla="*/ 805 w 907"/>
                  <a:gd name="T103" fmla="*/ 252 h 626"/>
                  <a:gd name="T104" fmla="*/ 844 w 907"/>
                  <a:gd name="T105" fmla="*/ 230 h 626"/>
                  <a:gd name="T106" fmla="*/ 879 w 907"/>
                  <a:gd name="T107" fmla="*/ 201 h 626"/>
                  <a:gd name="T108" fmla="*/ 885 w 907"/>
                  <a:gd name="T109" fmla="*/ 167 h 626"/>
                  <a:gd name="T110" fmla="*/ 885 w 907"/>
                  <a:gd name="T111" fmla="*/ 89 h 626"/>
                  <a:gd name="T112" fmla="*/ 789 w 907"/>
                  <a:gd name="T113" fmla="*/ 79 h 626"/>
                  <a:gd name="T114" fmla="*/ 734 w 907"/>
                  <a:gd name="T115" fmla="*/ 39 h 626"/>
                  <a:gd name="T116" fmla="*/ 607 w 907"/>
                  <a:gd name="T117" fmla="*/ 6 h 626"/>
                  <a:gd name="T118" fmla="*/ 623 w 907"/>
                  <a:gd name="T119" fmla="*/ 33 h 626"/>
                  <a:gd name="T120" fmla="*/ 629 w 907"/>
                  <a:gd name="T121" fmla="*/ 67 h 626"/>
                  <a:gd name="T122" fmla="*/ 594 w 907"/>
                  <a:gd name="T123" fmla="*/ 73 h 6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7"/>
                  <a:gd name="T187" fmla="*/ 0 h 626"/>
                  <a:gd name="T188" fmla="*/ 907 w 907"/>
                  <a:gd name="T189" fmla="*/ 626 h 6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7" h="626">
                    <a:moveTo>
                      <a:pt x="594" y="73"/>
                    </a:moveTo>
                    <a:lnTo>
                      <a:pt x="588" y="89"/>
                    </a:lnTo>
                    <a:lnTo>
                      <a:pt x="601" y="106"/>
                    </a:lnTo>
                    <a:lnTo>
                      <a:pt x="629" y="112"/>
                    </a:lnTo>
                    <a:lnTo>
                      <a:pt x="651" y="106"/>
                    </a:lnTo>
                    <a:lnTo>
                      <a:pt x="668" y="128"/>
                    </a:lnTo>
                    <a:lnTo>
                      <a:pt x="601" y="163"/>
                    </a:lnTo>
                    <a:lnTo>
                      <a:pt x="572" y="163"/>
                    </a:lnTo>
                    <a:lnTo>
                      <a:pt x="584" y="185"/>
                    </a:lnTo>
                    <a:lnTo>
                      <a:pt x="562" y="213"/>
                    </a:lnTo>
                    <a:lnTo>
                      <a:pt x="528" y="213"/>
                    </a:lnTo>
                    <a:lnTo>
                      <a:pt x="495" y="230"/>
                    </a:lnTo>
                    <a:lnTo>
                      <a:pt x="422" y="213"/>
                    </a:lnTo>
                    <a:lnTo>
                      <a:pt x="345" y="207"/>
                    </a:lnTo>
                    <a:lnTo>
                      <a:pt x="316" y="185"/>
                    </a:lnTo>
                    <a:lnTo>
                      <a:pt x="227" y="163"/>
                    </a:lnTo>
                    <a:lnTo>
                      <a:pt x="227" y="140"/>
                    </a:lnTo>
                    <a:lnTo>
                      <a:pt x="201" y="112"/>
                    </a:lnTo>
                    <a:lnTo>
                      <a:pt x="160" y="106"/>
                    </a:lnTo>
                    <a:lnTo>
                      <a:pt x="150" y="83"/>
                    </a:lnTo>
                    <a:lnTo>
                      <a:pt x="128" y="83"/>
                    </a:lnTo>
                    <a:lnTo>
                      <a:pt x="128" y="96"/>
                    </a:lnTo>
                    <a:lnTo>
                      <a:pt x="118" y="106"/>
                    </a:lnTo>
                    <a:lnTo>
                      <a:pt x="128" y="124"/>
                    </a:lnTo>
                    <a:lnTo>
                      <a:pt x="89" y="128"/>
                    </a:lnTo>
                    <a:lnTo>
                      <a:pt x="95" y="163"/>
                    </a:lnTo>
                    <a:lnTo>
                      <a:pt x="61" y="163"/>
                    </a:lnTo>
                    <a:lnTo>
                      <a:pt x="77" y="191"/>
                    </a:lnTo>
                    <a:lnTo>
                      <a:pt x="77" y="218"/>
                    </a:lnTo>
                    <a:lnTo>
                      <a:pt x="73" y="234"/>
                    </a:lnTo>
                    <a:lnTo>
                      <a:pt x="38" y="240"/>
                    </a:lnTo>
                    <a:lnTo>
                      <a:pt x="28" y="258"/>
                    </a:lnTo>
                    <a:lnTo>
                      <a:pt x="0" y="258"/>
                    </a:lnTo>
                    <a:lnTo>
                      <a:pt x="0" y="274"/>
                    </a:lnTo>
                    <a:lnTo>
                      <a:pt x="6" y="285"/>
                    </a:lnTo>
                    <a:lnTo>
                      <a:pt x="22" y="291"/>
                    </a:lnTo>
                    <a:lnTo>
                      <a:pt x="28" y="307"/>
                    </a:lnTo>
                    <a:lnTo>
                      <a:pt x="57" y="335"/>
                    </a:lnTo>
                    <a:lnTo>
                      <a:pt x="77" y="348"/>
                    </a:lnTo>
                    <a:lnTo>
                      <a:pt x="112" y="342"/>
                    </a:lnTo>
                    <a:lnTo>
                      <a:pt x="134" y="368"/>
                    </a:lnTo>
                    <a:lnTo>
                      <a:pt x="122" y="380"/>
                    </a:lnTo>
                    <a:lnTo>
                      <a:pt x="134" y="396"/>
                    </a:lnTo>
                    <a:lnTo>
                      <a:pt x="118" y="409"/>
                    </a:lnTo>
                    <a:lnTo>
                      <a:pt x="128" y="419"/>
                    </a:lnTo>
                    <a:lnTo>
                      <a:pt x="160" y="441"/>
                    </a:lnTo>
                    <a:lnTo>
                      <a:pt x="185" y="441"/>
                    </a:lnTo>
                    <a:lnTo>
                      <a:pt x="262" y="486"/>
                    </a:lnTo>
                    <a:lnTo>
                      <a:pt x="300" y="498"/>
                    </a:lnTo>
                    <a:lnTo>
                      <a:pt x="300" y="486"/>
                    </a:lnTo>
                    <a:lnTo>
                      <a:pt x="312" y="486"/>
                    </a:lnTo>
                    <a:lnTo>
                      <a:pt x="323" y="492"/>
                    </a:lnTo>
                    <a:lnTo>
                      <a:pt x="329" y="480"/>
                    </a:lnTo>
                    <a:lnTo>
                      <a:pt x="339" y="480"/>
                    </a:lnTo>
                    <a:lnTo>
                      <a:pt x="367" y="492"/>
                    </a:lnTo>
                    <a:lnTo>
                      <a:pt x="428" y="459"/>
                    </a:lnTo>
                    <a:lnTo>
                      <a:pt x="444" y="476"/>
                    </a:lnTo>
                    <a:lnTo>
                      <a:pt x="463" y="480"/>
                    </a:lnTo>
                    <a:lnTo>
                      <a:pt x="489" y="498"/>
                    </a:lnTo>
                    <a:lnTo>
                      <a:pt x="489" y="531"/>
                    </a:lnTo>
                    <a:lnTo>
                      <a:pt x="479" y="547"/>
                    </a:lnTo>
                    <a:lnTo>
                      <a:pt x="473" y="559"/>
                    </a:lnTo>
                    <a:lnTo>
                      <a:pt x="495" y="565"/>
                    </a:lnTo>
                    <a:lnTo>
                      <a:pt x="523" y="610"/>
                    </a:lnTo>
                    <a:lnTo>
                      <a:pt x="540" y="610"/>
                    </a:lnTo>
                    <a:lnTo>
                      <a:pt x="562" y="594"/>
                    </a:lnTo>
                    <a:lnTo>
                      <a:pt x="607" y="575"/>
                    </a:lnTo>
                    <a:lnTo>
                      <a:pt x="668" y="610"/>
                    </a:lnTo>
                    <a:lnTo>
                      <a:pt x="684" y="614"/>
                    </a:lnTo>
                    <a:lnTo>
                      <a:pt x="690" y="626"/>
                    </a:lnTo>
                    <a:lnTo>
                      <a:pt x="700" y="614"/>
                    </a:lnTo>
                    <a:lnTo>
                      <a:pt x="722" y="610"/>
                    </a:lnTo>
                    <a:lnTo>
                      <a:pt x="751" y="581"/>
                    </a:lnTo>
                    <a:lnTo>
                      <a:pt x="757" y="594"/>
                    </a:lnTo>
                    <a:lnTo>
                      <a:pt x="767" y="594"/>
                    </a:lnTo>
                    <a:lnTo>
                      <a:pt x="777" y="581"/>
                    </a:lnTo>
                    <a:lnTo>
                      <a:pt x="805" y="575"/>
                    </a:lnTo>
                    <a:lnTo>
                      <a:pt x="844" y="527"/>
                    </a:lnTo>
                    <a:lnTo>
                      <a:pt x="834" y="514"/>
                    </a:lnTo>
                    <a:lnTo>
                      <a:pt x="860" y="470"/>
                    </a:lnTo>
                    <a:lnTo>
                      <a:pt x="856" y="459"/>
                    </a:lnTo>
                    <a:lnTo>
                      <a:pt x="866" y="453"/>
                    </a:lnTo>
                    <a:lnTo>
                      <a:pt x="860" y="441"/>
                    </a:lnTo>
                    <a:lnTo>
                      <a:pt x="828" y="435"/>
                    </a:lnTo>
                    <a:lnTo>
                      <a:pt x="844" y="419"/>
                    </a:lnTo>
                    <a:lnTo>
                      <a:pt x="805" y="409"/>
                    </a:lnTo>
                    <a:lnTo>
                      <a:pt x="844" y="415"/>
                    </a:lnTo>
                    <a:lnTo>
                      <a:pt x="844" y="409"/>
                    </a:lnTo>
                    <a:lnTo>
                      <a:pt x="818" y="392"/>
                    </a:lnTo>
                    <a:lnTo>
                      <a:pt x="773" y="348"/>
                    </a:lnTo>
                    <a:lnTo>
                      <a:pt x="783" y="329"/>
                    </a:lnTo>
                    <a:lnTo>
                      <a:pt x="812" y="307"/>
                    </a:lnTo>
                    <a:lnTo>
                      <a:pt x="767" y="297"/>
                    </a:lnTo>
                    <a:lnTo>
                      <a:pt x="767" y="307"/>
                    </a:lnTo>
                    <a:lnTo>
                      <a:pt x="751" y="307"/>
                    </a:lnTo>
                    <a:lnTo>
                      <a:pt x="745" y="291"/>
                    </a:lnTo>
                    <a:lnTo>
                      <a:pt x="712" y="285"/>
                    </a:lnTo>
                    <a:lnTo>
                      <a:pt x="712" y="268"/>
                    </a:lnTo>
                    <a:lnTo>
                      <a:pt x="739" y="258"/>
                    </a:lnTo>
                    <a:lnTo>
                      <a:pt x="757" y="234"/>
                    </a:lnTo>
                    <a:lnTo>
                      <a:pt x="773" y="240"/>
                    </a:lnTo>
                    <a:lnTo>
                      <a:pt x="767" y="252"/>
                    </a:lnTo>
                    <a:lnTo>
                      <a:pt x="777" y="268"/>
                    </a:lnTo>
                    <a:lnTo>
                      <a:pt x="805" y="252"/>
                    </a:lnTo>
                    <a:lnTo>
                      <a:pt x="824" y="252"/>
                    </a:lnTo>
                    <a:lnTo>
                      <a:pt x="844" y="230"/>
                    </a:lnTo>
                    <a:lnTo>
                      <a:pt x="866" y="218"/>
                    </a:lnTo>
                    <a:lnTo>
                      <a:pt x="879" y="201"/>
                    </a:lnTo>
                    <a:lnTo>
                      <a:pt x="895" y="191"/>
                    </a:lnTo>
                    <a:lnTo>
                      <a:pt x="885" y="167"/>
                    </a:lnTo>
                    <a:lnTo>
                      <a:pt x="907" y="157"/>
                    </a:lnTo>
                    <a:lnTo>
                      <a:pt x="885" y="89"/>
                    </a:lnTo>
                    <a:lnTo>
                      <a:pt x="840" y="112"/>
                    </a:lnTo>
                    <a:lnTo>
                      <a:pt x="789" y="79"/>
                    </a:lnTo>
                    <a:lnTo>
                      <a:pt x="745" y="61"/>
                    </a:lnTo>
                    <a:lnTo>
                      <a:pt x="734" y="39"/>
                    </a:lnTo>
                    <a:lnTo>
                      <a:pt x="645" y="0"/>
                    </a:lnTo>
                    <a:lnTo>
                      <a:pt x="607" y="6"/>
                    </a:lnTo>
                    <a:lnTo>
                      <a:pt x="607" y="16"/>
                    </a:lnTo>
                    <a:lnTo>
                      <a:pt x="623" y="33"/>
                    </a:lnTo>
                    <a:lnTo>
                      <a:pt x="611" y="51"/>
                    </a:lnTo>
                    <a:lnTo>
                      <a:pt x="629" y="67"/>
                    </a:lnTo>
                    <a:lnTo>
                      <a:pt x="594" y="7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6" name="Freeform 236">
                <a:extLst>
                  <a:ext uri="{FF2B5EF4-FFF2-40B4-BE49-F238E27FC236}">
                    <a16:creationId xmlns:a16="http://schemas.microsoft.com/office/drawing/2014/main" id="{1327AA7D-09C7-473D-9531-5D76632A2702}"/>
                  </a:ext>
                </a:extLst>
              </p:cNvPr>
              <p:cNvSpPr>
                <a:spLocks/>
              </p:cNvSpPr>
              <p:nvPr/>
            </p:nvSpPr>
            <p:spPr bwMode="auto">
              <a:xfrm>
                <a:off x="6128720" y="2497674"/>
                <a:ext cx="57782" cy="52246"/>
              </a:xfrm>
              <a:custGeom>
                <a:avLst/>
                <a:gdLst>
                  <a:gd name="T0" fmla="*/ 12 w 44"/>
                  <a:gd name="T1" fmla="*/ 39 h 39"/>
                  <a:gd name="T2" fmla="*/ 34 w 44"/>
                  <a:gd name="T3" fmla="*/ 39 h 39"/>
                  <a:gd name="T4" fmla="*/ 44 w 44"/>
                  <a:gd name="T5" fmla="*/ 16 h 39"/>
                  <a:gd name="T6" fmla="*/ 40 w 44"/>
                  <a:gd name="T7" fmla="*/ 4 h 39"/>
                  <a:gd name="T8" fmla="*/ 18 w 44"/>
                  <a:gd name="T9" fmla="*/ 0 h 39"/>
                  <a:gd name="T10" fmla="*/ 0 w 44"/>
                  <a:gd name="T11" fmla="*/ 23 h 39"/>
                  <a:gd name="T12" fmla="*/ 12 w 44"/>
                  <a:gd name="T13" fmla="*/ 39 h 39"/>
                  <a:gd name="T14" fmla="*/ 12 w 44"/>
                  <a:gd name="T15" fmla="*/ 39 h 39"/>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39"/>
                  <a:gd name="T26" fmla="*/ 44 w 4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39">
                    <a:moveTo>
                      <a:pt x="12" y="39"/>
                    </a:moveTo>
                    <a:lnTo>
                      <a:pt x="34" y="39"/>
                    </a:lnTo>
                    <a:lnTo>
                      <a:pt x="44" y="16"/>
                    </a:lnTo>
                    <a:lnTo>
                      <a:pt x="40" y="4"/>
                    </a:lnTo>
                    <a:lnTo>
                      <a:pt x="18" y="0"/>
                    </a:lnTo>
                    <a:lnTo>
                      <a:pt x="0" y="23"/>
                    </a:lnTo>
                    <a:lnTo>
                      <a:pt x="12"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77" name="Freeform 313">
                <a:extLst>
                  <a:ext uri="{FF2B5EF4-FFF2-40B4-BE49-F238E27FC236}">
                    <a16:creationId xmlns:a16="http://schemas.microsoft.com/office/drawing/2014/main" id="{E21ABB8A-D606-42A1-83FD-F131ADA7B736}"/>
                  </a:ext>
                </a:extLst>
              </p:cNvPr>
              <p:cNvSpPr>
                <a:spLocks/>
              </p:cNvSpPr>
              <p:nvPr/>
            </p:nvSpPr>
            <p:spPr bwMode="auto">
              <a:xfrm>
                <a:off x="6316510" y="2457484"/>
                <a:ext cx="66974" cy="97795"/>
              </a:xfrm>
              <a:custGeom>
                <a:avLst/>
                <a:gdLst/>
                <a:ahLst/>
                <a:cxnLst>
                  <a:cxn ang="0">
                    <a:pos x="12" y="0"/>
                  </a:cxn>
                  <a:cxn ang="0">
                    <a:pos x="0" y="33"/>
                  </a:cxn>
                  <a:cxn ang="0">
                    <a:pos x="12" y="67"/>
                  </a:cxn>
                  <a:cxn ang="0">
                    <a:pos x="28" y="73"/>
                  </a:cxn>
                  <a:cxn ang="0">
                    <a:pos x="51" y="55"/>
                  </a:cxn>
                  <a:cxn ang="0">
                    <a:pos x="38" y="17"/>
                  </a:cxn>
                  <a:cxn ang="0">
                    <a:pos x="12" y="0"/>
                  </a:cxn>
                  <a:cxn ang="0">
                    <a:pos x="12" y="0"/>
                  </a:cxn>
                </a:cxnLst>
                <a:rect l="0" t="0" r="r" b="b"/>
                <a:pathLst>
                  <a:path w="51" h="73">
                    <a:moveTo>
                      <a:pt x="12" y="0"/>
                    </a:moveTo>
                    <a:lnTo>
                      <a:pt x="0" y="33"/>
                    </a:lnTo>
                    <a:lnTo>
                      <a:pt x="12" y="67"/>
                    </a:lnTo>
                    <a:lnTo>
                      <a:pt x="28" y="73"/>
                    </a:lnTo>
                    <a:lnTo>
                      <a:pt x="51" y="55"/>
                    </a:lnTo>
                    <a:lnTo>
                      <a:pt x="38" y="17"/>
                    </a:lnTo>
                    <a:lnTo>
                      <a:pt x="12" y="0"/>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4" name="Group 313">
              <a:extLst>
                <a:ext uri="{FF2B5EF4-FFF2-40B4-BE49-F238E27FC236}">
                  <a16:creationId xmlns:a16="http://schemas.microsoft.com/office/drawing/2014/main" id="{025EF6DF-8F79-494D-895A-FEA51240B06F}"/>
                </a:ext>
              </a:extLst>
            </p:cNvPr>
            <p:cNvGrpSpPr/>
            <p:nvPr/>
          </p:nvGrpSpPr>
          <p:grpSpPr>
            <a:xfrm>
              <a:off x="5764969" y="2224858"/>
              <a:ext cx="646346" cy="765391"/>
              <a:chOff x="6258713" y="2104746"/>
              <a:chExt cx="750385" cy="853979"/>
            </a:xfrm>
            <a:grpFill/>
          </p:grpSpPr>
          <p:sp>
            <p:nvSpPr>
              <p:cNvPr id="570" name="Freeform 248">
                <a:extLst>
                  <a:ext uri="{FF2B5EF4-FFF2-40B4-BE49-F238E27FC236}">
                    <a16:creationId xmlns:a16="http://schemas.microsoft.com/office/drawing/2014/main" id="{97A13D7E-25C7-4291-B0CF-EB70417FF29E}"/>
                  </a:ext>
                </a:extLst>
              </p:cNvPr>
              <p:cNvSpPr>
                <a:spLocks/>
              </p:cNvSpPr>
              <p:nvPr/>
            </p:nvSpPr>
            <p:spPr bwMode="auto">
              <a:xfrm>
                <a:off x="6551806" y="2290528"/>
                <a:ext cx="221774" cy="131713"/>
              </a:xfrm>
              <a:custGeom>
                <a:avLst/>
                <a:gdLst/>
                <a:ahLst/>
                <a:cxnLst>
                  <a:cxn ang="0">
                    <a:pos x="146" y="85"/>
                  </a:cxn>
                  <a:cxn ang="0">
                    <a:pos x="140" y="57"/>
                  </a:cxn>
                  <a:cxn ang="0">
                    <a:pos x="102" y="44"/>
                  </a:cxn>
                  <a:cxn ang="0">
                    <a:pos x="24" y="0"/>
                  </a:cxn>
                  <a:cxn ang="0">
                    <a:pos x="0" y="0"/>
                  </a:cxn>
                  <a:cxn ang="0">
                    <a:pos x="0" y="38"/>
                  </a:cxn>
                  <a:cxn ang="0">
                    <a:pos x="47" y="51"/>
                  </a:cxn>
                  <a:cxn ang="0">
                    <a:pos x="51" y="61"/>
                  </a:cxn>
                  <a:cxn ang="0">
                    <a:pos x="79" y="57"/>
                  </a:cxn>
                  <a:cxn ang="0">
                    <a:pos x="95" y="73"/>
                  </a:cxn>
                  <a:cxn ang="0">
                    <a:pos x="146" y="85"/>
                  </a:cxn>
                  <a:cxn ang="0">
                    <a:pos x="146" y="85"/>
                  </a:cxn>
                </a:cxnLst>
                <a:rect l="0" t="0" r="r" b="b"/>
                <a:pathLst>
                  <a:path w="146" h="85">
                    <a:moveTo>
                      <a:pt x="146" y="85"/>
                    </a:moveTo>
                    <a:lnTo>
                      <a:pt x="140" y="57"/>
                    </a:lnTo>
                    <a:lnTo>
                      <a:pt x="102" y="44"/>
                    </a:lnTo>
                    <a:lnTo>
                      <a:pt x="24" y="0"/>
                    </a:lnTo>
                    <a:lnTo>
                      <a:pt x="0" y="0"/>
                    </a:lnTo>
                    <a:lnTo>
                      <a:pt x="0" y="38"/>
                    </a:lnTo>
                    <a:lnTo>
                      <a:pt x="47" y="51"/>
                    </a:lnTo>
                    <a:lnTo>
                      <a:pt x="51" y="61"/>
                    </a:lnTo>
                    <a:lnTo>
                      <a:pt x="79" y="57"/>
                    </a:lnTo>
                    <a:lnTo>
                      <a:pt x="95" y="73"/>
                    </a:lnTo>
                    <a:lnTo>
                      <a:pt x="146" y="85"/>
                    </a:lnTo>
                    <a:lnTo>
                      <a:pt x="146" y="8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571" name="Freeform 250">
                <a:extLst>
                  <a:ext uri="{FF2B5EF4-FFF2-40B4-BE49-F238E27FC236}">
                    <a16:creationId xmlns:a16="http://schemas.microsoft.com/office/drawing/2014/main" id="{40DC2D2C-BBBF-47D6-BCED-2A4C01E4F03B}"/>
                  </a:ext>
                </a:extLst>
              </p:cNvPr>
              <p:cNvSpPr>
                <a:spLocks/>
              </p:cNvSpPr>
              <p:nvPr/>
            </p:nvSpPr>
            <p:spPr bwMode="auto">
              <a:xfrm>
                <a:off x="6788769" y="2349412"/>
                <a:ext cx="77469" cy="63532"/>
              </a:xfrm>
              <a:custGeom>
                <a:avLst/>
                <a:gdLst/>
                <a:ahLst/>
                <a:cxnLst>
                  <a:cxn ang="0">
                    <a:pos x="0" y="23"/>
                  </a:cxn>
                  <a:cxn ang="0">
                    <a:pos x="23" y="29"/>
                  </a:cxn>
                  <a:cxn ang="0">
                    <a:pos x="29" y="41"/>
                  </a:cxn>
                  <a:cxn ang="0">
                    <a:pos x="39" y="35"/>
                  </a:cxn>
                  <a:cxn ang="0">
                    <a:pos x="51" y="13"/>
                  </a:cxn>
                  <a:cxn ang="0">
                    <a:pos x="23" y="0"/>
                  </a:cxn>
                  <a:cxn ang="0">
                    <a:pos x="13" y="0"/>
                  </a:cxn>
                  <a:cxn ang="0">
                    <a:pos x="0" y="23"/>
                  </a:cxn>
                  <a:cxn ang="0">
                    <a:pos x="0" y="23"/>
                  </a:cxn>
                </a:cxnLst>
                <a:rect l="0" t="0" r="r" b="b"/>
                <a:pathLst>
                  <a:path w="51" h="41">
                    <a:moveTo>
                      <a:pt x="0" y="23"/>
                    </a:moveTo>
                    <a:lnTo>
                      <a:pt x="23" y="29"/>
                    </a:lnTo>
                    <a:lnTo>
                      <a:pt x="29" y="41"/>
                    </a:lnTo>
                    <a:lnTo>
                      <a:pt x="39" y="35"/>
                    </a:lnTo>
                    <a:lnTo>
                      <a:pt x="51" y="13"/>
                    </a:lnTo>
                    <a:lnTo>
                      <a:pt x="23" y="0"/>
                    </a:lnTo>
                    <a:lnTo>
                      <a:pt x="13" y="0"/>
                    </a:lnTo>
                    <a:lnTo>
                      <a:pt x="0" y="23"/>
                    </a:lnTo>
                    <a:lnTo>
                      <a:pt x="0"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grpSp>
            <p:nvGrpSpPr>
              <p:cNvPr id="572" name="Group 316">
                <a:extLst>
                  <a:ext uri="{FF2B5EF4-FFF2-40B4-BE49-F238E27FC236}">
                    <a16:creationId xmlns:a16="http://schemas.microsoft.com/office/drawing/2014/main" id="{8E3E471A-0894-4FCF-9CF7-B8A7A5DF2E43}"/>
                  </a:ext>
                </a:extLst>
              </p:cNvPr>
              <p:cNvGrpSpPr/>
              <p:nvPr/>
            </p:nvGrpSpPr>
            <p:grpSpPr>
              <a:xfrm>
                <a:off x="6258713" y="2104746"/>
                <a:ext cx="750385" cy="853979"/>
                <a:chOff x="6258713" y="2104746"/>
                <a:chExt cx="750385" cy="853979"/>
              </a:xfrm>
              <a:grpFill/>
            </p:grpSpPr>
            <p:sp>
              <p:nvSpPr>
                <p:cNvPr id="573" name="Freeform 237">
                  <a:extLst>
                    <a:ext uri="{FF2B5EF4-FFF2-40B4-BE49-F238E27FC236}">
                      <a16:creationId xmlns:a16="http://schemas.microsoft.com/office/drawing/2014/main" id="{1C012579-EB00-41FA-9982-F3E748F82EB7}"/>
                    </a:ext>
                  </a:extLst>
                </p:cNvPr>
                <p:cNvSpPr>
                  <a:spLocks/>
                </p:cNvSpPr>
                <p:nvPr/>
              </p:nvSpPr>
              <p:spPr bwMode="auto">
                <a:xfrm>
                  <a:off x="6258713" y="2104746"/>
                  <a:ext cx="750385" cy="853979"/>
                </a:xfrm>
                <a:custGeom>
                  <a:avLst/>
                  <a:gdLst>
                    <a:gd name="T0" fmla="*/ 547688 w 496"/>
                    <a:gd name="T1" fmla="*/ 228600 h 530"/>
                    <a:gd name="T2" fmla="*/ 528638 w 496"/>
                    <a:gd name="T3" fmla="*/ 249237 h 530"/>
                    <a:gd name="T4" fmla="*/ 457200 w 496"/>
                    <a:gd name="T5" fmla="*/ 274637 h 530"/>
                    <a:gd name="T6" fmla="*/ 387350 w 496"/>
                    <a:gd name="T7" fmla="*/ 255587 h 530"/>
                    <a:gd name="T8" fmla="*/ 306388 w 496"/>
                    <a:gd name="T9" fmla="*/ 219075 h 530"/>
                    <a:gd name="T10" fmla="*/ 255588 w 496"/>
                    <a:gd name="T11" fmla="*/ 122237 h 530"/>
                    <a:gd name="T12" fmla="*/ 265113 w 496"/>
                    <a:gd name="T13" fmla="*/ 87312 h 530"/>
                    <a:gd name="T14" fmla="*/ 265113 w 496"/>
                    <a:gd name="T15" fmla="*/ 42862 h 530"/>
                    <a:gd name="T16" fmla="*/ 174625 w 496"/>
                    <a:gd name="T17" fmla="*/ 9525 h 530"/>
                    <a:gd name="T18" fmla="*/ 96838 w 496"/>
                    <a:gd name="T19" fmla="*/ 36512 h 530"/>
                    <a:gd name="T20" fmla="*/ 149225 w 496"/>
                    <a:gd name="T21" fmla="*/ 106362 h 530"/>
                    <a:gd name="T22" fmla="*/ 131763 w 496"/>
                    <a:gd name="T23" fmla="*/ 149225 h 530"/>
                    <a:gd name="T24" fmla="*/ 25400 w 496"/>
                    <a:gd name="T25" fmla="*/ 255587 h 530"/>
                    <a:gd name="T26" fmla="*/ 61913 w 496"/>
                    <a:gd name="T27" fmla="*/ 346075 h 530"/>
                    <a:gd name="T28" fmla="*/ 15875 w 496"/>
                    <a:gd name="T29" fmla="*/ 390525 h 530"/>
                    <a:gd name="T30" fmla="*/ 25400 w 496"/>
                    <a:gd name="T31" fmla="*/ 406400 h 530"/>
                    <a:gd name="T32" fmla="*/ 87313 w 496"/>
                    <a:gd name="T33" fmla="*/ 431800 h 530"/>
                    <a:gd name="T34" fmla="*/ 122238 w 496"/>
                    <a:gd name="T35" fmla="*/ 425450 h 530"/>
                    <a:gd name="T36" fmla="*/ 141288 w 496"/>
                    <a:gd name="T37" fmla="*/ 558800 h 530"/>
                    <a:gd name="T38" fmla="*/ 203200 w 496"/>
                    <a:gd name="T39" fmla="*/ 674687 h 530"/>
                    <a:gd name="T40" fmla="*/ 300038 w 496"/>
                    <a:gd name="T41" fmla="*/ 841375 h 530"/>
                    <a:gd name="T42" fmla="*/ 334963 w 496"/>
                    <a:gd name="T43" fmla="*/ 787400 h 530"/>
                    <a:gd name="T44" fmla="*/ 350838 w 496"/>
                    <a:gd name="T45" fmla="*/ 744537 h 530"/>
                    <a:gd name="T46" fmla="*/ 371475 w 496"/>
                    <a:gd name="T47" fmla="*/ 681037 h 530"/>
                    <a:gd name="T48" fmla="*/ 361950 w 496"/>
                    <a:gd name="T49" fmla="*/ 603250 h 530"/>
                    <a:gd name="T50" fmla="*/ 457200 w 496"/>
                    <a:gd name="T51" fmla="*/ 522287 h 530"/>
                    <a:gd name="T52" fmla="*/ 528638 w 496"/>
                    <a:gd name="T53" fmla="*/ 461962 h 530"/>
                    <a:gd name="T54" fmla="*/ 547688 w 496"/>
                    <a:gd name="T55" fmla="*/ 425450 h 530"/>
                    <a:gd name="T56" fmla="*/ 581025 w 496"/>
                    <a:gd name="T57" fmla="*/ 371475 h 530"/>
                    <a:gd name="T58" fmla="*/ 563563 w 496"/>
                    <a:gd name="T59" fmla="*/ 325437 h 530"/>
                    <a:gd name="T60" fmla="*/ 554038 w 496"/>
                    <a:gd name="T61" fmla="*/ 293687 h 530"/>
                    <a:gd name="T62" fmla="*/ 600075 w 496"/>
                    <a:gd name="T63" fmla="*/ 325437 h 530"/>
                    <a:gd name="T64" fmla="*/ 644525 w 496"/>
                    <a:gd name="T65" fmla="*/ 371475 h 530"/>
                    <a:gd name="T66" fmla="*/ 669925 w 496"/>
                    <a:gd name="T67" fmla="*/ 371475 h 530"/>
                    <a:gd name="T68" fmla="*/ 706438 w 496"/>
                    <a:gd name="T69" fmla="*/ 355600 h 530"/>
                    <a:gd name="T70" fmla="*/ 741363 w 496"/>
                    <a:gd name="T71" fmla="*/ 274637 h 530"/>
                    <a:gd name="T72" fmla="*/ 787400 w 496"/>
                    <a:gd name="T73" fmla="*/ 219075 h 530"/>
                    <a:gd name="T74" fmla="*/ 731838 w 496"/>
                    <a:gd name="T75" fmla="*/ 187325 h 530"/>
                    <a:gd name="T76" fmla="*/ 615950 w 496"/>
                    <a:gd name="T77" fmla="*/ 274637 h 530"/>
                    <a:gd name="T78" fmla="*/ 590550 w 496"/>
                    <a:gd name="T79" fmla="*/ 265112 h 530"/>
                    <a:gd name="T80" fmla="*/ 563563 w 496"/>
                    <a:gd name="T81" fmla="*/ 239712 h 5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6"/>
                    <a:gd name="T124" fmla="*/ 0 h 530"/>
                    <a:gd name="T125" fmla="*/ 496 w 496"/>
                    <a:gd name="T126" fmla="*/ 530 h 530"/>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343 w 10000"/>
                    <a:gd name="connsiteY16" fmla="*/ 0 h 10078"/>
                    <a:gd name="connsiteX17" fmla="*/ 2218 w 10000"/>
                    <a:gd name="connsiteY17" fmla="*/ 191 h 10078"/>
                    <a:gd name="connsiteX18" fmla="*/ 2137 w 10000"/>
                    <a:gd name="connsiteY18" fmla="*/ 399 h 10078"/>
                    <a:gd name="connsiteX19" fmla="*/ 1230 w 10000"/>
                    <a:gd name="connsiteY19" fmla="*/ 512 h 10078"/>
                    <a:gd name="connsiteX20" fmla="*/ 1351 w 10000"/>
                    <a:gd name="connsiteY20" fmla="*/ 927 h 10078"/>
                    <a:gd name="connsiteX21" fmla="*/ 1895 w 10000"/>
                    <a:gd name="connsiteY21" fmla="*/ 1342 h 10078"/>
                    <a:gd name="connsiteX22" fmla="*/ 1673 w 10000"/>
                    <a:gd name="connsiteY22" fmla="*/ 1531 h 10078"/>
                    <a:gd name="connsiteX23" fmla="*/ 1673 w 10000"/>
                    <a:gd name="connsiteY23" fmla="*/ 1852 h 10078"/>
                    <a:gd name="connsiteX24" fmla="*/ 907 w 10000"/>
                    <a:gd name="connsiteY24" fmla="*/ 2927 h 10078"/>
                    <a:gd name="connsiteX25" fmla="*/ 323 w 10000"/>
                    <a:gd name="connsiteY25" fmla="*/ 3116 h 10078"/>
                    <a:gd name="connsiteX26" fmla="*/ 1028 w 10000"/>
                    <a:gd name="connsiteY26" fmla="*/ 3946 h 10078"/>
                    <a:gd name="connsiteX27" fmla="*/ 786 w 10000"/>
                    <a:gd name="connsiteY27" fmla="*/ 4191 h 10078"/>
                    <a:gd name="connsiteX28" fmla="*/ 0 w 10000"/>
                    <a:gd name="connsiteY28" fmla="*/ 4380 h 10078"/>
                    <a:gd name="connsiteX29" fmla="*/ 202 w 10000"/>
                    <a:gd name="connsiteY29" fmla="*/ 4720 h 10078"/>
                    <a:gd name="connsiteX30" fmla="*/ 665 w 10000"/>
                    <a:gd name="connsiteY30" fmla="*/ 4720 h 10078"/>
                    <a:gd name="connsiteX31" fmla="*/ 323 w 10000"/>
                    <a:gd name="connsiteY31" fmla="*/ 4908 h 10078"/>
                    <a:gd name="connsiteX32" fmla="*/ 786 w 10000"/>
                    <a:gd name="connsiteY32" fmla="*/ 5455 h 10078"/>
                    <a:gd name="connsiteX33" fmla="*/ 1109 w 10000"/>
                    <a:gd name="connsiteY33" fmla="*/ 5210 h 10078"/>
                    <a:gd name="connsiteX34" fmla="*/ 1431 w 10000"/>
                    <a:gd name="connsiteY34" fmla="*/ 4833 h 10078"/>
                    <a:gd name="connsiteX35" fmla="*/ 1552 w 10000"/>
                    <a:gd name="connsiteY35" fmla="*/ 5135 h 10078"/>
                    <a:gd name="connsiteX36" fmla="*/ 1794 w 10000"/>
                    <a:gd name="connsiteY36" fmla="*/ 5210 h 10078"/>
                    <a:gd name="connsiteX37" fmla="*/ 1794 w 10000"/>
                    <a:gd name="connsiteY37" fmla="*/ 6720 h 10078"/>
                    <a:gd name="connsiteX38" fmla="*/ 2339 w 10000"/>
                    <a:gd name="connsiteY38" fmla="*/ 7550 h 10078"/>
                    <a:gd name="connsiteX39" fmla="*/ 2581 w 10000"/>
                    <a:gd name="connsiteY39" fmla="*/ 8097 h 10078"/>
                    <a:gd name="connsiteX40" fmla="*/ 3488 w 10000"/>
                    <a:gd name="connsiteY40" fmla="*/ 9738 h 10078"/>
                    <a:gd name="connsiteX41" fmla="*/ 3810 w 10000"/>
                    <a:gd name="connsiteY41" fmla="*/ 10078 h 10078"/>
                    <a:gd name="connsiteX42" fmla="*/ 4375 w 10000"/>
                    <a:gd name="connsiteY42" fmla="*/ 9663 h 10078"/>
                    <a:gd name="connsiteX43" fmla="*/ 4254 w 10000"/>
                    <a:gd name="connsiteY43" fmla="*/ 9436 h 10078"/>
                    <a:gd name="connsiteX44" fmla="*/ 4456 w 10000"/>
                    <a:gd name="connsiteY44" fmla="*/ 9248 h 10078"/>
                    <a:gd name="connsiteX45" fmla="*/ 4456 w 10000"/>
                    <a:gd name="connsiteY45" fmla="*/ 8927 h 10078"/>
                    <a:gd name="connsiteX46" fmla="*/ 4375 w 10000"/>
                    <a:gd name="connsiteY46" fmla="*/ 8814 h 10078"/>
                    <a:gd name="connsiteX47" fmla="*/ 4718 w 10000"/>
                    <a:gd name="connsiteY47" fmla="*/ 8172 h 10078"/>
                    <a:gd name="connsiteX48" fmla="*/ 4597 w 10000"/>
                    <a:gd name="connsiteY48" fmla="*/ 7984 h 10078"/>
                    <a:gd name="connsiteX49" fmla="*/ 4597 w 10000"/>
                    <a:gd name="connsiteY49" fmla="*/ 7248 h 10078"/>
                    <a:gd name="connsiteX50" fmla="*/ 4919 w 10000"/>
                    <a:gd name="connsiteY50" fmla="*/ 7135 h 10078"/>
                    <a:gd name="connsiteX51" fmla="*/ 5806 w 10000"/>
                    <a:gd name="connsiteY51" fmla="*/ 6286 h 10078"/>
                    <a:gd name="connsiteX52" fmla="*/ 5806 w 10000"/>
                    <a:gd name="connsiteY52" fmla="*/ 5984 h 10078"/>
                    <a:gd name="connsiteX53" fmla="*/ 6714 w 10000"/>
                    <a:gd name="connsiteY53" fmla="*/ 5569 h 10078"/>
                    <a:gd name="connsiteX54" fmla="*/ 6593 w 10000"/>
                    <a:gd name="connsiteY54" fmla="*/ 5342 h 10078"/>
                    <a:gd name="connsiteX55" fmla="*/ 6956 w 10000"/>
                    <a:gd name="connsiteY55" fmla="*/ 5135 h 10078"/>
                    <a:gd name="connsiteX56" fmla="*/ 7500 w 10000"/>
                    <a:gd name="connsiteY56" fmla="*/ 5135 h 10078"/>
                    <a:gd name="connsiteX57" fmla="*/ 7379 w 10000"/>
                    <a:gd name="connsiteY57" fmla="*/ 4493 h 10078"/>
                    <a:gd name="connsiteX58" fmla="*/ 6956 w 10000"/>
                    <a:gd name="connsiteY58" fmla="*/ 4304 h 10078"/>
                    <a:gd name="connsiteX59" fmla="*/ 7157 w 10000"/>
                    <a:gd name="connsiteY59" fmla="*/ 3946 h 10078"/>
                    <a:gd name="connsiteX60" fmla="*/ 6956 w 10000"/>
                    <a:gd name="connsiteY60" fmla="*/ 3757 h 10078"/>
                    <a:gd name="connsiteX61" fmla="*/ 7036 w 10000"/>
                    <a:gd name="connsiteY61" fmla="*/ 3569 h 10078"/>
                    <a:gd name="connsiteX62" fmla="*/ 7379 w 10000"/>
                    <a:gd name="connsiteY62" fmla="*/ 3569 h 10078"/>
                    <a:gd name="connsiteX63" fmla="*/ 7621 w 10000"/>
                    <a:gd name="connsiteY63" fmla="*/ 3946 h 10078"/>
                    <a:gd name="connsiteX64" fmla="*/ 8387 w 10000"/>
                    <a:gd name="connsiteY64" fmla="*/ 3946 h 10078"/>
                    <a:gd name="connsiteX65" fmla="*/ 8185 w 10000"/>
                    <a:gd name="connsiteY65" fmla="*/ 4493 h 10078"/>
                    <a:gd name="connsiteX66" fmla="*/ 8387 w 10000"/>
                    <a:gd name="connsiteY66" fmla="*/ 4606 h 10078"/>
                    <a:gd name="connsiteX67" fmla="*/ 8508 w 10000"/>
                    <a:gd name="connsiteY67" fmla="*/ 4493 h 10078"/>
                    <a:gd name="connsiteX68" fmla="*/ 8730 w 10000"/>
                    <a:gd name="connsiteY68" fmla="*/ 5021 h 10078"/>
                    <a:gd name="connsiteX69" fmla="*/ 8972 w 10000"/>
                    <a:gd name="connsiteY69" fmla="*/ 4304 h 10078"/>
                    <a:gd name="connsiteX70" fmla="*/ 9294 w 10000"/>
                    <a:gd name="connsiteY70" fmla="*/ 4191 h 10078"/>
                    <a:gd name="connsiteX71" fmla="*/ 9415 w 10000"/>
                    <a:gd name="connsiteY71" fmla="*/ 3342 h 10078"/>
                    <a:gd name="connsiteX72" fmla="*/ 9738 w 10000"/>
                    <a:gd name="connsiteY72" fmla="*/ 3116 h 10078"/>
                    <a:gd name="connsiteX73" fmla="*/ 10000 w 10000"/>
                    <a:gd name="connsiteY73" fmla="*/ 2682 h 10078"/>
                    <a:gd name="connsiteX74" fmla="*/ 9617 w 10000"/>
                    <a:gd name="connsiteY74" fmla="*/ 2606 h 10078"/>
                    <a:gd name="connsiteX75" fmla="*/ 9294 w 10000"/>
                    <a:gd name="connsiteY75" fmla="*/ 2304 h 10078"/>
                    <a:gd name="connsiteX76" fmla="*/ 8065 w 10000"/>
                    <a:gd name="connsiteY76" fmla="*/ 2927 h 10078"/>
                    <a:gd name="connsiteX77" fmla="*/ 7823 w 10000"/>
                    <a:gd name="connsiteY77" fmla="*/ 3342 h 10078"/>
                    <a:gd name="connsiteX78" fmla="*/ 7621 w 10000"/>
                    <a:gd name="connsiteY78" fmla="*/ 3455 h 10078"/>
                    <a:gd name="connsiteX79" fmla="*/ 7500 w 10000"/>
                    <a:gd name="connsiteY79" fmla="*/ 3229 h 10078"/>
                    <a:gd name="connsiteX80" fmla="*/ 7036 w 10000"/>
                    <a:gd name="connsiteY80" fmla="*/ 3116 h 10078"/>
                    <a:gd name="connsiteX81" fmla="*/ 7157 w 10000"/>
                    <a:gd name="connsiteY81"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338 w 10000"/>
                    <a:gd name="connsiteY16" fmla="*/ 254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8 w 10000"/>
                    <a:gd name="connsiteY16" fmla="*/ 265 h 10078"/>
                    <a:gd name="connsiteX17" fmla="*/ 3343 w 10000"/>
                    <a:gd name="connsiteY17" fmla="*/ 0 h 10078"/>
                    <a:gd name="connsiteX18" fmla="*/ 2218 w 10000"/>
                    <a:gd name="connsiteY18" fmla="*/ 191 h 10078"/>
                    <a:gd name="connsiteX19" fmla="*/ 2137 w 10000"/>
                    <a:gd name="connsiteY19" fmla="*/ 399 h 10078"/>
                    <a:gd name="connsiteX20" fmla="*/ 1230 w 10000"/>
                    <a:gd name="connsiteY20" fmla="*/ 512 h 10078"/>
                    <a:gd name="connsiteX21" fmla="*/ 1351 w 10000"/>
                    <a:gd name="connsiteY21" fmla="*/ 927 h 10078"/>
                    <a:gd name="connsiteX22" fmla="*/ 1895 w 10000"/>
                    <a:gd name="connsiteY22" fmla="*/ 1342 h 10078"/>
                    <a:gd name="connsiteX23" fmla="*/ 1673 w 10000"/>
                    <a:gd name="connsiteY23" fmla="*/ 1531 h 10078"/>
                    <a:gd name="connsiteX24" fmla="*/ 1673 w 10000"/>
                    <a:gd name="connsiteY24" fmla="*/ 1852 h 10078"/>
                    <a:gd name="connsiteX25" fmla="*/ 907 w 10000"/>
                    <a:gd name="connsiteY25" fmla="*/ 2927 h 10078"/>
                    <a:gd name="connsiteX26" fmla="*/ 323 w 10000"/>
                    <a:gd name="connsiteY26" fmla="*/ 3116 h 10078"/>
                    <a:gd name="connsiteX27" fmla="*/ 1028 w 10000"/>
                    <a:gd name="connsiteY27" fmla="*/ 3946 h 10078"/>
                    <a:gd name="connsiteX28" fmla="*/ 786 w 10000"/>
                    <a:gd name="connsiteY28" fmla="*/ 4191 h 10078"/>
                    <a:gd name="connsiteX29" fmla="*/ 0 w 10000"/>
                    <a:gd name="connsiteY29" fmla="*/ 4380 h 10078"/>
                    <a:gd name="connsiteX30" fmla="*/ 202 w 10000"/>
                    <a:gd name="connsiteY30" fmla="*/ 4720 h 10078"/>
                    <a:gd name="connsiteX31" fmla="*/ 665 w 10000"/>
                    <a:gd name="connsiteY31" fmla="*/ 4720 h 10078"/>
                    <a:gd name="connsiteX32" fmla="*/ 323 w 10000"/>
                    <a:gd name="connsiteY32" fmla="*/ 4908 h 10078"/>
                    <a:gd name="connsiteX33" fmla="*/ 786 w 10000"/>
                    <a:gd name="connsiteY33" fmla="*/ 5455 h 10078"/>
                    <a:gd name="connsiteX34" fmla="*/ 1109 w 10000"/>
                    <a:gd name="connsiteY34" fmla="*/ 5210 h 10078"/>
                    <a:gd name="connsiteX35" fmla="*/ 1431 w 10000"/>
                    <a:gd name="connsiteY35" fmla="*/ 4833 h 10078"/>
                    <a:gd name="connsiteX36" fmla="*/ 1552 w 10000"/>
                    <a:gd name="connsiteY36" fmla="*/ 5135 h 10078"/>
                    <a:gd name="connsiteX37" fmla="*/ 1794 w 10000"/>
                    <a:gd name="connsiteY37" fmla="*/ 5210 h 10078"/>
                    <a:gd name="connsiteX38" fmla="*/ 1794 w 10000"/>
                    <a:gd name="connsiteY38" fmla="*/ 6720 h 10078"/>
                    <a:gd name="connsiteX39" fmla="*/ 2339 w 10000"/>
                    <a:gd name="connsiteY39" fmla="*/ 7550 h 10078"/>
                    <a:gd name="connsiteX40" fmla="*/ 2581 w 10000"/>
                    <a:gd name="connsiteY40" fmla="*/ 8097 h 10078"/>
                    <a:gd name="connsiteX41" fmla="*/ 3488 w 10000"/>
                    <a:gd name="connsiteY41" fmla="*/ 9738 h 10078"/>
                    <a:gd name="connsiteX42" fmla="*/ 3810 w 10000"/>
                    <a:gd name="connsiteY42" fmla="*/ 10078 h 10078"/>
                    <a:gd name="connsiteX43" fmla="*/ 4375 w 10000"/>
                    <a:gd name="connsiteY43" fmla="*/ 9663 h 10078"/>
                    <a:gd name="connsiteX44" fmla="*/ 4254 w 10000"/>
                    <a:gd name="connsiteY44" fmla="*/ 9436 h 10078"/>
                    <a:gd name="connsiteX45" fmla="*/ 4456 w 10000"/>
                    <a:gd name="connsiteY45" fmla="*/ 9248 h 10078"/>
                    <a:gd name="connsiteX46" fmla="*/ 4456 w 10000"/>
                    <a:gd name="connsiteY46" fmla="*/ 8927 h 10078"/>
                    <a:gd name="connsiteX47" fmla="*/ 4375 w 10000"/>
                    <a:gd name="connsiteY47" fmla="*/ 8814 h 10078"/>
                    <a:gd name="connsiteX48" fmla="*/ 4718 w 10000"/>
                    <a:gd name="connsiteY48" fmla="*/ 8172 h 10078"/>
                    <a:gd name="connsiteX49" fmla="*/ 4597 w 10000"/>
                    <a:gd name="connsiteY49" fmla="*/ 7984 h 10078"/>
                    <a:gd name="connsiteX50" fmla="*/ 4597 w 10000"/>
                    <a:gd name="connsiteY50" fmla="*/ 7248 h 10078"/>
                    <a:gd name="connsiteX51" fmla="*/ 4919 w 10000"/>
                    <a:gd name="connsiteY51" fmla="*/ 7135 h 10078"/>
                    <a:gd name="connsiteX52" fmla="*/ 5806 w 10000"/>
                    <a:gd name="connsiteY52" fmla="*/ 6286 h 10078"/>
                    <a:gd name="connsiteX53" fmla="*/ 5806 w 10000"/>
                    <a:gd name="connsiteY53" fmla="*/ 5984 h 10078"/>
                    <a:gd name="connsiteX54" fmla="*/ 6714 w 10000"/>
                    <a:gd name="connsiteY54" fmla="*/ 5569 h 10078"/>
                    <a:gd name="connsiteX55" fmla="*/ 6593 w 10000"/>
                    <a:gd name="connsiteY55" fmla="*/ 5342 h 10078"/>
                    <a:gd name="connsiteX56" fmla="*/ 6956 w 10000"/>
                    <a:gd name="connsiteY56" fmla="*/ 5135 h 10078"/>
                    <a:gd name="connsiteX57" fmla="*/ 7500 w 10000"/>
                    <a:gd name="connsiteY57" fmla="*/ 5135 h 10078"/>
                    <a:gd name="connsiteX58" fmla="*/ 7379 w 10000"/>
                    <a:gd name="connsiteY58" fmla="*/ 4493 h 10078"/>
                    <a:gd name="connsiteX59" fmla="*/ 6956 w 10000"/>
                    <a:gd name="connsiteY59" fmla="*/ 4304 h 10078"/>
                    <a:gd name="connsiteX60" fmla="*/ 7157 w 10000"/>
                    <a:gd name="connsiteY60" fmla="*/ 3946 h 10078"/>
                    <a:gd name="connsiteX61" fmla="*/ 6956 w 10000"/>
                    <a:gd name="connsiteY61" fmla="*/ 3757 h 10078"/>
                    <a:gd name="connsiteX62" fmla="*/ 7036 w 10000"/>
                    <a:gd name="connsiteY62" fmla="*/ 3569 h 10078"/>
                    <a:gd name="connsiteX63" fmla="*/ 7379 w 10000"/>
                    <a:gd name="connsiteY63" fmla="*/ 3569 h 10078"/>
                    <a:gd name="connsiteX64" fmla="*/ 7621 w 10000"/>
                    <a:gd name="connsiteY64" fmla="*/ 3946 h 10078"/>
                    <a:gd name="connsiteX65" fmla="*/ 8387 w 10000"/>
                    <a:gd name="connsiteY65" fmla="*/ 3946 h 10078"/>
                    <a:gd name="connsiteX66" fmla="*/ 8185 w 10000"/>
                    <a:gd name="connsiteY66" fmla="*/ 4493 h 10078"/>
                    <a:gd name="connsiteX67" fmla="*/ 8387 w 10000"/>
                    <a:gd name="connsiteY67" fmla="*/ 4606 h 10078"/>
                    <a:gd name="connsiteX68" fmla="*/ 8508 w 10000"/>
                    <a:gd name="connsiteY68" fmla="*/ 4493 h 10078"/>
                    <a:gd name="connsiteX69" fmla="*/ 8730 w 10000"/>
                    <a:gd name="connsiteY69" fmla="*/ 5021 h 10078"/>
                    <a:gd name="connsiteX70" fmla="*/ 8972 w 10000"/>
                    <a:gd name="connsiteY70" fmla="*/ 4304 h 10078"/>
                    <a:gd name="connsiteX71" fmla="*/ 9294 w 10000"/>
                    <a:gd name="connsiteY71" fmla="*/ 4191 h 10078"/>
                    <a:gd name="connsiteX72" fmla="*/ 9415 w 10000"/>
                    <a:gd name="connsiteY72" fmla="*/ 3342 h 10078"/>
                    <a:gd name="connsiteX73" fmla="*/ 9738 w 10000"/>
                    <a:gd name="connsiteY73" fmla="*/ 3116 h 10078"/>
                    <a:gd name="connsiteX74" fmla="*/ 10000 w 10000"/>
                    <a:gd name="connsiteY74" fmla="*/ 2682 h 10078"/>
                    <a:gd name="connsiteX75" fmla="*/ 9617 w 10000"/>
                    <a:gd name="connsiteY75" fmla="*/ 2606 h 10078"/>
                    <a:gd name="connsiteX76" fmla="*/ 9294 w 10000"/>
                    <a:gd name="connsiteY76" fmla="*/ 2304 h 10078"/>
                    <a:gd name="connsiteX77" fmla="*/ 8065 w 10000"/>
                    <a:gd name="connsiteY77" fmla="*/ 2927 h 10078"/>
                    <a:gd name="connsiteX78" fmla="*/ 7823 w 10000"/>
                    <a:gd name="connsiteY78" fmla="*/ 3342 h 10078"/>
                    <a:gd name="connsiteX79" fmla="*/ 7621 w 10000"/>
                    <a:gd name="connsiteY79" fmla="*/ 3455 h 10078"/>
                    <a:gd name="connsiteX80" fmla="*/ 7500 w 10000"/>
                    <a:gd name="connsiteY80" fmla="*/ 3229 h 10078"/>
                    <a:gd name="connsiteX81" fmla="*/ 7036 w 10000"/>
                    <a:gd name="connsiteY81" fmla="*/ 3116 h 10078"/>
                    <a:gd name="connsiteX82" fmla="*/ 7157 w 10000"/>
                    <a:gd name="connsiteY82"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528 w 10000"/>
                    <a:gd name="connsiteY17" fmla="*/ 265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266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266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469 w 10000"/>
                    <a:gd name="connsiteY16" fmla="*/ 454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29 w 10000"/>
                    <a:gd name="connsiteY16" fmla="*/ 577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468 w 10000"/>
                    <a:gd name="connsiteY17" fmla="*/ 1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182 w 10000"/>
                    <a:gd name="connsiteY17" fmla="*/ 3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75 w 10000"/>
                    <a:gd name="connsiteY17" fmla="*/ 410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301 w 10000"/>
                    <a:gd name="connsiteY17" fmla="*/ 287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230 w 10000"/>
                    <a:gd name="connsiteY21" fmla="*/ 512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137 w 10000"/>
                    <a:gd name="connsiteY20" fmla="*/ 399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18 w 10000"/>
                    <a:gd name="connsiteY19" fmla="*/ 191 h 10078"/>
                    <a:gd name="connsiteX20" fmla="*/ 2077 w 10000"/>
                    <a:gd name="connsiteY20" fmla="*/ 410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78 w 10000"/>
                    <a:gd name="connsiteY19" fmla="*/ 146 h 10078"/>
                    <a:gd name="connsiteX20" fmla="*/ 2077 w 10000"/>
                    <a:gd name="connsiteY20" fmla="*/ 410 h 10078"/>
                    <a:gd name="connsiteX21" fmla="*/ 1194 w 10000"/>
                    <a:gd name="connsiteY21" fmla="*/ 579 h 10078"/>
                    <a:gd name="connsiteX22" fmla="*/ 1351 w 10000"/>
                    <a:gd name="connsiteY22" fmla="*/ 927 h 10078"/>
                    <a:gd name="connsiteX23" fmla="*/ 1895 w 10000"/>
                    <a:gd name="connsiteY23" fmla="*/ 1342 h 10078"/>
                    <a:gd name="connsiteX24" fmla="*/ 1673 w 10000"/>
                    <a:gd name="connsiteY24" fmla="*/ 1531 h 10078"/>
                    <a:gd name="connsiteX25" fmla="*/ 1673 w 10000"/>
                    <a:gd name="connsiteY25" fmla="*/ 1852 h 10078"/>
                    <a:gd name="connsiteX26" fmla="*/ 907 w 10000"/>
                    <a:gd name="connsiteY26" fmla="*/ 2927 h 10078"/>
                    <a:gd name="connsiteX27" fmla="*/ 323 w 10000"/>
                    <a:gd name="connsiteY27" fmla="*/ 3116 h 10078"/>
                    <a:gd name="connsiteX28" fmla="*/ 1028 w 10000"/>
                    <a:gd name="connsiteY28" fmla="*/ 3946 h 10078"/>
                    <a:gd name="connsiteX29" fmla="*/ 786 w 10000"/>
                    <a:gd name="connsiteY29" fmla="*/ 4191 h 10078"/>
                    <a:gd name="connsiteX30" fmla="*/ 0 w 10000"/>
                    <a:gd name="connsiteY30" fmla="*/ 4380 h 10078"/>
                    <a:gd name="connsiteX31" fmla="*/ 202 w 10000"/>
                    <a:gd name="connsiteY31" fmla="*/ 4720 h 10078"/>
                    <a:gd name="connsiteX32" fmla="*/ 665 w 10000"/>
                    <a:gd name="connsiteY32" fmla="*/ 4720 h 10078"/>
                    <a:gd name="connsiteX33" fmla="*/ 323 w 10000"/>
                    <a:gd name="connsiteY33" fmla="*/ 4908 h 10078"/>
                    <a:gd name="connsiteX34" fmla="*/ 786 w 10000"/>
                    <a:gd name="connsiteY34" fmla="*/ 5455 h 10078"/>
                    <a:gd name="connsiteX35" fmla="*/ 1109 w 10000"/>
                    <a:gd name="connsiteY35" fmla="*/ 5210 h 10078"/>
                    <a:gd name="connsiteX36" fmla="*/ 1431 w 10000"/>
                    <a:gd name="connsiteY36" fmla="*/ 4833 h 10078"/>
                    <a:gd name="connsiteX37" fmla="*/ 1552 w 10000"/>
                    <a:gd name="connsiteY37" fmla="*/ 5135 h 10078"/>
                    <a:gd name="connsiteX38" fmla="*/ 1794 w 10000"/>
                    <a:gd name="connsiteY38" fmla="*/ 5210 h 10078"/>
                    <a:gd name="connsiteX39" fmla="*/ 1794 w 10000"/>
                    <a:gd name="connsiteY39" fmla="*/ 6720 h 10078"/>
                    <a:gd name="connsiteX40" fmla="*/ 2339 w 10000"/>
                    <a:gd name="connsiteY40" fmla="*/ 7550 h 10078"/>
                    <a:gd name="connsiteX41" fmla="*/ 2581 w 10000"/>
                    <a:gd name="connsiteY41" fmla="*/ 8097 h 10078"/>
                    <a:gd name="connsiteX42" fmla="*/ 3488 w 10000"/>
                    <a:gd name="connsiteY42" fmla="*/ 9738 h 10078"/>
                    <a:gd name="connsiteX43" fmla="*/ 3810 w 10000"/>
                    <a:gd name="connsiteY43" fmla="*/ 10078 h 10078"/>
                    <a:gd name="connsiteX44" fmla="*/ 4375 w 10000"/>
                    <a:gd name="connsiteY44" fmla="*/ 9663 h 10078"/>
                    <a:gd name="connsiteX45" fmla="*/ 4254 w 10000"/>
                    <a:gd name="connsiteY45" fmla="*/ 9436 h 10078"/>
                    <a:gd name="connsiteX46" fmla="*/ 4456 w 10000"/>
                    <a:gd name="connsiteY46" fmla="*/ 9248 h 10078"/>
                    <a:gd name="connsiteX47" fmla="*/ 4456 w 10000"/>
                    <a:gd name="connsiteY47" fmla="*/ 8927 h 10078"/>
                    <a:gd name="connsiteX48" fmla="*/ 4375 w 10000"/>
                    <a:gd name="connsiteY48" fmla="*/ 8814 h 10078"/>
                    <a:gd name="connsiteX49" fmla="*/ 4718 w 10000"/>
                    <a:gd name="connsiteY49" fmla="*/ 8172 h 10078"/>
                    <a:gd name="connsiteX50" fmla="*/ 4597 w 10000"/>
                    <a:gd name="connsiteY50" fmla="*/ 7984 h 10078"/>
                    <a:gd name="connsiteX51" fmla="*/ 4597 w 10000"/>
                    <a:gd name="connsiteY51" fmla="*/ 7248 h 10078"/>
                    <a:gd name="connsiteX52" fmla="*/ 4919 w 10000"/>
                    <a:gd name="connsiteY52" fmla="*/ 7135 h 10078"/>
                    <a:gd name="connsiteX53" fmla="*/ 5806 w 10000"/>
                    <a:gd name="connsiteY53" fmla="*/ 6286 h 10078"/>
                    <a:gd name="connsiteX54" fmla="*/ 5806 w 10000"/>
                    <a:gd name="connsiteY54" fmla="*/ 5984 h 10078"/>
                    <a:gd name="connsiteX55" fmla="*/ 6714 w 10000"/>
                    <a:gd name="connsiteY55" fmla="*/ 5569 h 10078"/>
                    <a:gd name="connsiteX56" fmla="*/ 6593 w 10000"/>
                    <a:gd name="connsiteY56" fmla="*/ 5342 h 10078"/>
                    <a:gd name="connsiteX57" fmla="*/ 6956 w 10000"/>
                    <a:gd name="connsiteY57" fmla="*/ 5135 h 10078"/>
                    <a:gd name="connsiteX58" fmla="*/ 7500 w 10000"/>
                    <a:gd name="connsiteY58" fmla="*/ 5135 h 10078"/>
                    <a:gd name="connsiteX59" fmla="*/ 7379 w 10000"/>
                    <a:gd name="connsiteY59" fmla="*/ 4493 h 10078"/>
                    <a:gd name="connsiteX60" fmla="*/ 6956 w 10000"/>
                    <a:gd name="connsiteY60" fmla="*/ 4304 h 10078"/>
                    <a:gd name="connsiteX61" fmla="*/ 7157 w 10000"/>
                    <a:gd name="connsiteY61" fmla="*/ 3946 h 10078"/>
                    <a:gd name="connsiteX62" fmla="*/ 6956 w 10000"/>
                    <a:gd name="connsiteY62" fmla="*/ 3757 h 10078"/>
                    <a:gd name="connsiteX63" fmla="*/ 7036 w 10000"/>
                    <a:gd name="connsiteY63" fmla="*/ 3569 h 10078"/>
                    <a:gd name="connsiteX64" fmla="*/ 7379 w 10000"/>
                    <a:gd name="connsiteY64" fmla="*/ 3569 h 10078"/>
                    <a:gd name="connsiteX65" fmla="*/ 7621 w 10000"/>
                    <a:gd name="connsiteY65" fmla="*/ 3946 h 10078"/>
                    <a:gd name="connsiteX66" fmla="*/ 8387 w 10000"/>
                    <a:gd name="connsiteY66" fmla="*/ 3946 h 10078"/>
                    <a:gd name="connsiteX67" fmla="*/ 8185 w 10000"/>
                    <a:gd name="connsiteY67" fmla="*/ 4493 h 10078"/>
                    <a:gd name="connsiteX68" fmla="*/ 8387 w 10000"/>
                    <a:gd name="connsiteY68" fmla="*/ 4606 h 10078"/>
                    <a:gd name="connsiteX69" fmla="*/ 8508 w 10000"/>
                    <a:gd name="connsiteY69" fmla="*/ 4493 h 10078"/>
                    <a:gd name="connsiteX70" fmla="*/ 8730 w 10000"/>
                    <a:gd name="connsiteY70" fmla="*/ 5021 h 10078"/>
                    <a:gd name="connsiteX71" fmla="*/ 8972 w 10000"/>
                    <a:gd name="connsiteY71" fmla="*/ 4304 h 10078"/>
                    <a:gd name="connsiteX72" fmla="*/ 9294 w 10000"/>
                    <a:gd name="connsiteY72" fmla="*/ 4191 h 10078"/>
                    <a:gd name="connsiteX73" fmla="*/ 9415 w 10000"/>
                    <a:gd name="connsiteY73" fmla="*/ 3342 h 10078"/>
                    <a:gd name="connsiteX74" fmla="*/ 9738 w 10000"/>
                    <a:gd name="connsiteY74" fmla="*/ 3116 h 10078"/>
                    <a:gd name="connsiteX75" fmla="*/ 10000 w 10000"/>
                    <a:gd name="connsiteY75" fmla="*/ 2682 h 10078"/>
                    <a:gd name="connsiteX76" fmla="*/ 9617 w 10000"/>
                    <a:gd name="connsiteY76" fmla="*/ 2606 h 10078"/>
                    <a:gd name="connsiteX77" fmla="*/ 9294 w 10000"/>
                    <a:gd name="connsiteY77" fmla="*/ 2304 h 10078"/>
                    <a:gd name="connsiteX78" fmla="*/ 8065 w 10000"/>
                    <a:gd name="connsiteY78" fmla="*/ 2927 h 10078"/>
                    <a:gd name="connsiteX79" fmla="*/ 7823 w 10000"/>
                    <a:gd name="connsiteY79" fmla="*/ 3342 h 10078"/>
                    <a:gd name="connsiteX80" fmla="*/ 7621 w 10000"/>
                    <a:gd name="connsiteY80" fmla="*/ 3455 h 10078"/>
                    <a:gd name="connsiteX81" fmla="*/ 7500 w 10000"/>
                    <a:gd name="connsiteY81" fmla="*/ 3229 h 10078"/>
                    <a:gd name="connsiteX82" fmla="*/ 7036 w 10000"/>
                    <a:gd name="connsiteY82" fmla="*/ 3116 h 10078"/>
                    <a:gd name="connsiteX83" fmla="*/ 7157 w 10000"/>
                    <a:gd name="connsiteY83" fmla="*/ 2927 h 10078"/>
                    <a:gd name="connsiteX0" fmla="*/ 7157 w 10000"/>
                    <a:gd name="connsiteY0" fmla="*/ 2927 h 10078"/>
                    <a:gd name="connsiteX1" fmla="*/ 6956 w 10000"/>
                    <a:gd name="connsiteY1" fmla="*/ 2795 h 10078"/>
                    <a:gd name="connsiteX2" fmla="*/ 6714 w 10000"/>
                    <a:gd name="connsiteY2" fmla="*/ 2795 h 10078"/>
                    <a:gd name="connsiteX3" fmla="*/ 6714 w 10000"/>
                    <a:gd name="connsiteY3" fmla="*/ 3040 h 10078"/>
                    <a:gd name="connsiteX4" fmla="*/ 6835 w 10000"/>
                    <a:gd name="connsiteY4" fmla="*/ 3569 h 10078"/>
                    <a:gd name="connsiteX5" fmla="*/ 5806 w 10000"/>
                    <a:gd name="connsiteY5" fmla="*/ 3342 h 10078"/>
                    <a:gd name="connsiteX6" fmla="*/ 5484 w 10000"/>
                    <a:gd name="connsiteY6" fmla="*/ 3040 h 10078"/>
                    <a:gd name="connsiteX7" fmla="*/ 4919 w 10000"/>
                    <a:gd name="connsiteY7" fmla="*/ 3116 h 10078"/>
                    <a:gd name="connsiteX8" fmla="*/ 4839 w 10000"/>
                    <a:gd name="connsiteY8" fmla="*/ 2927 h 10078"/>
                    <a:gd name="connsiteX9" fmla="*/ 3891 w 10000"/>
                    <a:gd name="connsiteY9" fmla="*/ 2682 h 10078"/>
                    <a:gd name="connsiteX10" fmla="*/ 3891 w 10000"/>
                    <a:gd name="connsiteY10" fmla="*/ 1965 h 10078"/>
                    <a:gd name="connsiteX11" fmla="*/ 3246 w 10000"/>
                    <a:gd name="connsiteY11" fmla="*/ 1531 h 10078"/>
                    <a:gd name="connsiteX12" fmla="*/ 3024 w 10000"/>
                    <a:gd name="connsiteY12" fmla="*/ 1342 h 10078"/>
                    <a:gd name="connsiteX13" fmla="*/ 3367 w 10000"/>
                    <a:gd name="connsiteY13" fmla="*/ 1116 h 10078"/>
                    <a:gd name="connsiteX14" fmla="*/ 3105 w 10000"/>
                    <a:gd name="connsiteY14" fmla="*/ 814 h 10078"/>
                    <a:gd name="connsiteX15" fmla="*/ 3367 w 10000"/>
                    <a:gd name="connsiteY15" fmla="*/ 587 h 10078"/>
                    <a:gd name="connsiteX16" fmla="*/ 3517 w 10000"/>
                    <a:gd name="connsiteY16" fmla="*/ 532 h 10078"/>
                    <a:gd name="connsiteX17" fmla="*/ 3527 w 10000"/>
                    <a:gd name="connsiteY17" fmla="*/ 276 h 10078"/>
                    <a:gd name="connsiteX18" fmla="*/ 3343 w 10000"/>
                    <a:gd name="connsiteY18" fmla="*/ 0 h 10078"/>
                    <a:gd name="connsiteX19" fmla="*/ 2278 w 10000"/>
                    <a:gd name="connsiteY19" fmla="*/ 146 h 10078"/>
                    <a:gd name="connsiteX20" fmla="*/ 2184 w 10000"/>
                    <a:gd name="connsiteY20" fmla="*/ 287 h 10078"/>
                    <a:gd name="connsiteX21" fmla="*/ 2077 w 10000"/>
                    <a:gd name="connsiteY21" fmla="*/ 410 h 10078"/>
                    <a:gd name="connsiteX22" fmla="*/ 1194 w 10000"/>
                    <a:gd name="connsiteY22" fmla="*/ 579 h 10078"/>
                    <a:gd name="connsiteX23" fmla="*/ 1351 w 10000"/>
                    <a:gd name="connsiteY23" fmla="*/ 927 h 10078"/>
                    <a:gd name="connsiteX24" fmla="*/ 1895 w 10000"/>
                    <a:gd name="connsiteY24" fmla="*/ 1342 h 10078"/>
                    <a:gd name="connsiteX25" fmla="*/ 1673 w 10000"/>
                    <a:gd name="connsiteY25" fmla="*/ 1531 h 10078"/>
                    <a:gd name="connsiteX26" fmla="*/ 1673 w 10000"/>
                    <a:gd name="connsiteY26" fmla="*/ 1852 h 10078"/>
                    <a:gd name="connsiteX27" fmla="*/ 907 w 10000"/>
                    <a:gd name="connsiteY27" fmla="*/ 2927 h 10078"/>
                    <a:gd name="connsiteX28" fmla="*/ 323 w 10000"/>
                    <a:gd name="connsiteY28" fmla="*/ 3116 h 10078"/>
                    <a:gd name="connsiteX29" fmla="*/ 1028 w 10000"/>
                    <a:gd name="connsiteY29" fmla="*/ 3946 h 10078"/>
                    <a:gd name="connsiteX30" fmla="*/ 786 w 10000"/>
                    <a:gd name="connsiteY30" fmla="*/ 4191 h 10078"/>
                    <a:gd name="connsiteX31" fmla="*/ 0 w 10000"/>
                    <a:gd name="connsiteY31" fmla="*/ 4380 h 10078"/>
                    <a:gd name="connsiteX32" fmla="*/ 202 w 10000"/>
                    <a:gd name="connsiteY32" fmla="*/ 4720 h 10078"/>
                    <a:gd name="connsiteX33" fmla="*/ 665 w 10000"/>
                    <a:gd name="connsiteY33" fmla="*/ 4720 h 10078"/>
                    <a:gd name="connsiteX34" fmla="*/ 323 w 10000"/>
                    <a:gd name="connsiteY34" fmla="*/ 4908 h 10078"/>
                    <a:gd name="connsiteX35" fmla="*/ 786 w 10000"/>
                    <a:gd name="connsiteY35" fmla="*/ 5455 h 10078"/>
                    <a:gd name="connsiteX36" fmla="*/ 1109 w 10000"/>
                    <a:gd name="connsiteY36" fmla="*/ 5210 h 10078"/>
                    <a:gd name="connsiteX37" fmla="*/ 1431 w 10000"/>
                    <a:gd name="connsiteY37" fmla="*/ 4833 h 10078"/>
                    <a:gd name="connsiteX38" fmla="*/ 1552 w 10000"/>
                    <a:gd name="connsiteY38" fmla="*/ 5135 h 10078"/>
                    <a:gd name="connsiteX39" fmla="*/ 1794 w 10000"/>
                    <a:gd name="connsiteY39" fmla="*/ 5210 h 10078"/>
                    <a:gd name="connsiteX40" fmla="*/ 1794 w 10000"/>
                    <a:gd name="connsiteY40" fmla="*/ 6720 h 10078"/>
                    <a:gd name="connsiteX41" fmla="*/ 2339 w 10000"/>
                    <a:gd name="connsiteY41" fmla="*/ 7550 h 10078"/>
                    <a:gd name="connsiteX42" fmla="*/ 2581 w 10000"/>
                    <a:gd name="connsiteY42" fmla="*/ 8097 h 10078"/>
                    <a:gd name="connsiteX43" fmla="*/ 3488 w 10000"/>
                    <a:gd name="connsiteY43" fmla="*/ 9738 h 10078"/>
                    <a:gd name="connsiteX44" fmla="*/ 3810 w 10000"/>
                    <a:gd name="connsiteY44" fmla="*/ 10078 h 10078"/>
                    <a:gd name="connsiteX45" fmla="*/ 4375 w 10000"/>
                    <a:gd name="connsiteY45" fmla="*/ 9663 h 10078"/>
                    <a:gd name="connsiteX46" fmla="*/ 4254 w 10000"/>
                    <a:gd name="connsiteY46" fmla="*/ 9436 h 10078"/>
                    <a:gd name="connsiteX47" fmla="*/ 4456 w 10000"/>
                    <a:gd name="connsiteY47" fmla="*/ 9248 h 10078"/>
                    <a:gd name="connsiteX48" fmla="*/ 4456 w 10000"/>
                    <a:gd name="connsiteY48" fmla="*/ 8927 h 10078"/>
                    <a:gd name="connsiteX49" fmla="*/ 4375 w 10000"/>
                    <a:gd name="connsiteY49" fmla="*/ 8814 h 10078"/>
                    <a:gd name="connsiteX50" fmla="*/ 4718 w 10000"/>
                    <a:gd name="connsiteY50" fmla="*/ 8172 h 10078"/>
                    <a:gd name="connsiteX51" fmla="*/ 4597 w 10000"/>
                    <a:gd name="connsiteY51" fmla="*/ 7984 h 10078"/>
                    <a:gd name="connsiteX52" fmla="*/ 4597 w 10000"/>
                    <a:gd name="connsiteY52" fmla="*/ 7248 h 10078"/>
                    <a:gd name="connsiteX53" fmla="*/ 4919 w 10000"/>
                    <a:gd name="connsiteY53" fmla="*/ 7135 h 10078"/>
                    <a:gd name="connsiteX54" fmla="*/ 5806 w 10000"/>
                    <a:gd name="connsiteY54" fmla="*/ 6286 h 10078"/>
                    <a:gd name="connsiteX55" fmla="*/ 5806 w 10000"/>
                    <a:gd name="connsiteY55" fmla="*/ 5984 h 10078"/>
                    <a:gd name="connsiteX56" fmla="*/ 6714 w 10000"/>
                    <a:gd name="connsiteY56" fmla="*/ 5569 h 10078"/>
                    <a:gd name="connsiteX57" fmla="*/ 6593 w 10000"/>
                    <a:gd name="connsiteY57" fmla="*/ 5342 h 10078"/>
                    <a:gd name="connsiteX58" fmla="*/ 6956 w 10000"/>
                    <a:gd name="connsiteY58" fmla="*/ 5135 h 10078"/>
                    <a:gd name="connsiteX59" fmla="*/ 7500 w 10000"/>
                    <a:gd name="connsiteY59" fmla="*/ 5135 h 10078"/>
                    <a:gd name="connsiteX60" fmla="*/ 7379 w 10000"/>
                    <a:gd name="connsiteY60" fmla="*/ 4493 h 10078"/>
                    <a:gd name="connsiteX61" fmla="*/ 6956 w 10000"/>
                    <a:gd name="connsiteY61" fmla="*/ 4304 h 10078"/>
                    <a:gd name="connsiteX62" fmla="*/ 7157 w 10000"/>
                    <a:gd name="connsiteY62" fmla="*/ 3946 h 10078"/>
                    <a:gd name="connsiteX63" fmla="*/ 6956 w 10000"/>
                    <a:gd name="connsiteY63" fmla="*/ 3757 h 10078"/>
                    <a:gd name="connsiteX64" fmla="*/ 7036 w 10000"/>
                    <a:gd name="connsiteY64" fmla="*/ 3569 h 10078"/>
                    <a:gd name="connsiteX65" fmla="*/ 7379 w 10000"/>
                    <a:gd name="connsiteY65" fmla="*/ 3569 h 10078"/>
                    <a:gd name="connsiteX66" fmla="*/ 7621 w 10000"/>
                    <a:gd name="connsiteY66" fmla="*/ 3946 h 10078"/>
                    <a:gd name="connsiteX67" fmla="*/ 8387 w 10000"/>
                    <a:gd name="connsiteY67" fmla="*/ 3946 h 10078"/>
                    <a:gd name="connsiteX68" fmla="*/ 8185 w 10000"/>
                    <a:gd name="connsiteY68" fmla="*/ 4493 h 10078"/>
                    <a:gd name="connsiteX69" fmla="*/ 8387 w 10000"/>
                    <a:gd name="connsiteY69" fmla="*/ 4606 h 10078"/>
                    <a:gd name="connsiteX70" fmla="*/ 8508 w 10000"/>
                    <a:gd name="connsiteY70" fmla="*/ 4493 h 10078"/>
                    <a:gd name="connsiteX71" fmla="*/ 8730 w 10000"/>
                    <a:gd name="connsiteY71" fmla="*/ 5021 h 10078"/>
                    <a:gd name="connsiteX72" fmla="*/ 8972 w 10000"/>
                    <a:gd name="connsiteY72" fmla="*/ 4304 h 10078"/>
                    <a:gd name="connsiteX73" fmla="*/ 9294 w 10000"/>
                    <a:gd name="connsiteY73" fmla="*/ 4191 h 10078"/>
                    <a:gd name="connsiteX74" fmla="*/ 9415 w 10000"/>
                    <a:gd name="connsiteY74" fmla="*/ 3342 h 10078"/>
                    <a:gd name="connsiteX75" fmla="*/ 9738 w 10000"/>
                    <a:gd name="connsiteY75" fmla="*/ 3116 h 10078"/>
                    <a:gd name="connsiteX76" fmla="*/ 10000 w 10000"/>
                    <a:gd name="connsiteY76" fmla="*/ 2682 h 10078"/>
                    <a:gd name="connsiteX77" fmla="*/ 9617 w 10000"/>
                    <a:gd name="connsiteY77" fmla="*/ 2606 h 10078"/>
                    <a:gd name="connsiteX78" fmla="*/ 9294 w 10000"/>
                    <a:gd name="connsiteY78" fmla="*/ 2304 h 10078"/>
                    <a:gd name="connsiteX79" fmla="*/ 8065 w 10000"/>
                    <a:gd name="connsiteY79" fmla="*/ 2927 h 10078"/>
                    <a:gd name="connsiteX80" fmla="*/ 7823 w 10000"/>
                    <a:gd name="connsiteY80" fmla="*/ 3342 h 10078"/>
                    <a:gd name="connsiteX81" fmla="*/ 7621 w 10000"/>
                    <a:gd name="connsiteY81" fmla="*/ 3455 h 10078"/>
                    <a:gd name="connsiteX82" fmla="*/ 7500 w 10000"/>
                    <a:gd name="connsiteY82" fmla="*/ 3229 h 10078"/>
                    <a:gd name="connsiteX83" fmla="*/ 7036 w 10000"/>
                    <a:gd name="connsiteY83" fmla="*/ 3116 h 10078"/>
                    <a:gd name="connsiteX84" fmla="*/ 7157 w 10000"/>
                    <a:gd name="connsiteY84" fmla="*/ 2927 h 10078"/>
                    <a:gd name="connsiteX0" fmla="*/ 7157 w 10000"/>
                    <a:gd name="connsiteY0" fmla="*/ 2996 h 10147"/>
                    <a:gd name="connsiteX1" fmla="*/ 6956 w 10000"/>
                    <a:gd name="connsiteY1" fmla="*/ 2864 h 10147"/>
                    <a:gd name="connsiteX2" fmla="*/ 6714 w 10000"/>
                    <a:gd name="connsiteY2" fmla="*/ 2864 h 10147"/>
                    <a:gd name="connsiteX3" fmla="*/ 6714 w 10000"/>
                    <a:gd name="connsiteY3" fmla="*/ 3109 h 10147"/>
                    <a:gd name="connsiteX4" fmla="*/ 6835 w 10000"/>
                    <a:gd name="connsiteY4" fmla="*/ 3638 h 10147"/>
                    <a:gd name="connsiteX5" fmla="*/ 5806 w 10000"/>
                    <a:gd name="connsiteY5" fmla="*/ 3411 h 10147"/>
                    <a:gd name="connsiteX6" fmla="*/ 5484 w 10000"/>
                    <a:gd name="connsiteY6" fmla="*/ 3109 h 10147"/>
                    <a:gd name="connsiteX7" fmla="*/ 4919 w 10000"/>
                    <a:gd name="connsiteY7" fmla="*/ 3185 h 10147"/>
                    <a:gd name="connsiteX8" fmla="*/ 4839 w 10000"/>
                    <a:gd name="connsiteY8" fmla="*/ 2996 h 10147"/>
                    <a:gd name="connsiteX9" fmla="*/ 3891 w 10000"/>
                    <a:gd name="connsiteY9" fmla="*/ 2751 h 10147"/>
                    <a:gd name="connsiteX10" fmla="*/ 3891 w 10000"/>
                    <a:gd name="connsiteY10" fmla="*/ 2034 h 10147"/>
                    <a:gd name="connsiteX11" fmla="*/ 3246 w 10000"/>
                    <a:gd name="connsiteY11" fmla="*/ 1600 h 10147"/>
                    <a:gd name="connsiteX12" fmla="*/ 3024 w 10000"/>
                    <a:gd name="connsiteY12" fmla="*/ 1411 h 10147"/>
                    <a:gd name="connsiteX13" fmla="*/ 3367 w 10000"/>
                    <a:gd name="connsiteY13" fmla="*/ 1185 h 10147"/>
                    <a:gd name="connsiteX14" fmla="*/ 3105 w 10000"/>
                    <a:gd name="connsiteY14" fmla="*/ 883 h 10147"/>
                    <a:gd name="connsiteX15" fmla="*/ 3367 w 10000"/>
                    <a:gd name="connsiteY15" fmla="*/ 656 h 10147"/>
                    <a:gd name="connsiteX16" fmla="*/ 3517 w 10000"/>
                    <a:gd name="connsiteY16" fmla="*/ 601 h 10147"/>
                    <a:gd name="connsiteX17" fmla="*/ 3527 w 10000"/>
                    <a:gd name="connsiteY17" fmla="*/ 345 h 10147"/>
                    <a:gd name="connsiteX18" fmla="*/ 3343 w 10000"/>
                    <a:gd name="connsiteY18" fmla="*/ 69 h 10147"/>
                    <a:gd name="connsiteX19" fmla="*/ 2278 w 10000"/>
                    <a:gd name="connsiteY19" fmla="*/ 215 h 10147"/>
                    <a:gd name="connsiteX20" fmla="*/ 1910 w 10000"/>
                    <a:gd name="connsiteY20" fmla="*/ 44 h 10147"/>
                    <a:gd name="connsiteX21" fmla="*/ 2077 w 10000"/>
                    <a:gd name="connsiteY21" fmla="*/ 479 h 10147"/>
                    <a:gd name="connsiteX22" fmla="*/ 1194 w 10000"/>
                    <a:gd name="connsiteY22" fmla="*/ 648 h 10147"/>
                    <a:gd name="connsiteX23" fmla="*/ 1351 w 10000"/>
                    <a:gd name="connsiteY23" fmla="*/ 996 h 10147"/>
                    <a:gd name="connsiteX24" fmla="*/ 1895 w 10000"/>
                    <a:gd name="connsiteY24" fmla="*/ 1411 h 10147"/>
                    <a:gd name="connsiteX25" fmla="*/ 1673 w 10000"/>
                    <a:gd name="connsiteY25" fmla="*/ 1600 h 10147"/>
                    <a:gd name="connsiteX26" fmla="*/ 1673 w 10000"/>
                    <a:gd name="connsiteY26" fmla="*/ 1921 h 10147"/>
                    <a:gd name="connsiteX27" fmla="*/ 907 w 10000"/>
                    <a:gd name="connsiteY27" fmla="*/ 2996 h 10147"/>
                    <a:gd name="connsiteX28" fmla="*/ 323 w 10000"/>
                    <a:gd name="connsiteY28" fmla="*/ 3185 h 10147"/>
                    <a:gd name="connsiteX29" fmla="*/ 1028 w 10000"/>
                    <a:gd name="connsiteY29" fmla="*/ 4015 h 10147"/>
                    <a:gd name="connsiteX30" fmla="*/ 786 w 10000"/>
                    <a:gd name="connsiteY30" fmla="*/ 4260 h 10147"/>
                    <a:gd name="connsiteX31" fmla="*/ 0 w 10000"/>
                    <a:gd name="connsiteY31" fmla="*/ 4449 h 10147"/>
                    <a:gd name="connsiteX32" fmla="*/ 202 w 10000"/>
                    <a:gd name="connsiteY32" fmla="*/ 4789 h 10147"/>
                    <a:gd name="connsiteX33" fmla="*/ 665 w 10000"/>
                    <a:gd name="connsiteY33" fmla="*/ 4789 h 10147"/>
                    <a:gd name="connsiteX34" fmla="*/ 323 w 10000"/>
                    <a:gd name="connsiteY34" fmla="*/ 4977 h 10147"/>
                    <a:gd name="connsiteX35" fmla="*/ 786 w 10000"/>
                    <a:gd name="connsiteY35" fmla="*/ 5524 h 10147"/>
                    <a:gd name="connsiteX36" fmla="*/ 1109 w 10000"/>
                    <a:gd name="connsiteY36" fmla="*/ 5279 h 10147"/>
                    <a:gd name="connsiteX37" fmla="*/ 1431 w 10000"/>
                    <a:gd name="connsiteY37" fmla="*/ 4902 h 10147"/>
                    <a:gd name="connsiteX38" fmla="*/ 1552 w 10000"/>
                    <a:gd name="connsiteY38" fmla="*/ 5204 h 10147"/>
                    <a:gd name="connsiteX39" fmla="*/ 1794 w 10000"/>
                    <a:gd name="connsiteY39" fmla="*/ 5279 h 10147"/>
                    <a:gd name="connsiteX40" fmla="*/ 1794 w 10000"/>
                    <a:gd name="connsiteY40" fmla="*/ 6789 h 10147"/>
                    <a:gd name="connsiteX41" fmla="*/ 2339 w 10000"/>
                    <a:gd name="connsiteY41" fmla="*/ 7619 h 10147"/>
                    <a:gd name="connsiteX42" fmla="*/ 2581 w 10000"/>
                    <a:gd name="connsiteY42" fmla="*/ 8166 h 10147"/>
                    <a:gd name="connsiteX43" fmla="*/ 3488 w 10000"/>
                    <a:gd name="connsiteY43" fmla="*/ 9807 h 10147"/>
                    <a:gd name="connsiteX44" fmla="*/ 3810 w 10000"/>
                    <a:gd name="connsiteY44" fmla="*/ 10147 h 10147"/>
                    <a:gd name="connsiteX45" fmla="*/ 4375 w 10000"/>
                    <a:gd name="connsiteY45" fmla="*/ 9732 h 10147"/>
                    <a:gd name="connsiteX46" fmla="*/ 4254 w 10000"/>
                    <a:gd name="connsiteY46" fmla="*/ 9505 h 10147"/>
                    <a:gd name="connsiteX47" fmla="*/ 4456 w 10000"/>
                    <a:gd name="connsiteY47" fmla="*/ 9317 h 10147"/>
                    <a:gd name="connsiteX48" fmla="*/ 4456 w 10000"/>
                    <a:gd name="connsiteY48" fmla="*/ 8996 h 10147"/>
                    <a:gd name="connsiteX49" fmla="*/ 4375 w 10000"/>
                    <a:gd name="connsiteY49" fmla="*/ 8883 h 10147"/>
                    <a:gd name="connsiteX50" fmla="*/ 4718 w 10000"/>
                    <a:gd name="connsiteY50" fmla="*/ 8241 h 10147"/>
                    <a:gd name="connsiteX51" fmla="*/ 4597 w 10000"/>
                    <a:gd name="connsiteY51" fmla="*/ 8053 h 10147"/>
                    <a:gd name="connsiteX52" fmla="*/ 4597 w 10000"/>
                    <a:gd name="connsiteY52" fmla="*/ 7317 h 10147"/>
                    <a:gd name="connsiteX53" fmla="*/ 4919 w 10000"/>
                    <a:gd name="connsiteY53" fmla="*/ 7204 h 10147"/>
                    <a:gd name="connsiteX54" fmla="*/ 5806 w 10000"/>
                    <a:gd name="connsiteY54" fmla="*/ 6355 h 10147"/>
                    <a:gd name="connsiteX55" fmla="*/ 5806 w 10000"/>
                    <a:gd name="connsiteY55" fmla="*/ 6053 h 10147"/>
                    <a:gd name="connsiteX56" fmla="*/ 6714 w 10000"/>
                    <a:gd name="connsiteY56" fmla="*/ 5638 h 10147"/>
                    <a:gd name="connsiteX57" fmla="*/ 6593 w 10000"/>
                    <a:gd name="connsiteY57" fmla="*/ 5411 h 10147"/>
                    <a:gd name="connsiteX58" fmla="*/ 6956 w 10000"/>
                    <a:gd name="connsiteY58" fmla="*/ 5204 h 10147"/>
                    <a:gd name="connsiteX59" fmla="*/ 7500 w 10000"/>
                    <a:gd name="connsiteY59" fmla="*/ 5204 h 10147"/>
                    <a:gd name="connsiteX60" fmla="*/ 7379 w 10000"/>
                    <a:gd name="connsiteY60" fmla="*/ 4562 h 10147"/>
                    <a:gd name="connsiteX61" fmla="*/ 6956 w 10000"/>
                    <a:gd name="connsiteY61" fmla="*/ 4373 h 10147"/>
                    <a:gd name="connsiteX62" fmla="*/ 7157 w 10000"/>
                    <a:gd name="connsiteY62" fmla="*/ 4015 h 10147"/>
                    <a:gd name="connsiteX63" fmla="*/ 6956 w 10000"/>
                    <a:gd name="connsiteY63" fmla="*/ 3826 h 10147"/>
                    <a:gd name="connsiteX64" fmla="*/ 7036 w 10000"/>
                    <a:gd name="connsiteY64" fmla="*/ 3638 h 10147"/>
                    <a:gd name="connsiteX65" fmla="*/ 7379 w 10000"/>
                    <a:gd name="connsiteY65" fmla="*/ 3638 h 10147"/>
                    <a:gd name="connsiteX66" fmla="*/ 7621 w 10000"/>
                    <a:gd name="connsiteY66" fmla="*/ 4015 h 10147"/>
                    <a:gd name="connsiteX67" fmla="*/ 8387 w 10000"/>
                    <a:gd name="connsiteY67" fmla="*/ 4015 h 10147"/>
                    <a:gd name="connsiteX68" fmla="*/ 8185 w 10000"/>
                    <a:gd name="connsiteY68" fmla="*/ 4562 h 10147"/>
                    <a:gd name="connsiteX69" fmla="*/ 8387 w 10000"/>
                    <a:gd name="connsiteY69" fmla="*/ 4675 h 10147"/>
                    <a:gd name="connsiteX70" fmla="*/ 8508 w 10000"/>
                    <a:gd name="connsiteY70" fmla="*/ 4562 h 10147"/>
                    <a:gd name="connsiteX71" fmla="*/ 8730 w 10000"/>
                    <a:gd name="connsiteY71" fmla="*/ 5090 h 10147"/>
                    <a:gd name="connsiteX72" fmla="*/ 8972 w 10000"/>
                    <a:gd name="connsiteY72" fmla="*/ 4373 h 10147"/>
                    <a:gd name="connsiteX73" fmla="*/ 9294 w 10000"/>
                    <a:gd name="connsiteY73" fmla="*/ 4260 h 10147"/>
                    <a:gd name="connsiteX74" fmla="*/ 9415 w 10000"/>
                    <a:gd name="connsiteY74" fmla="*/ 3411 h 10147"/>
                    <a:gd name="connsiteX75" fmla="*/ 9738 w 10000"/>
                    <a:gd name="connsiteY75" fmla="*/ 3185 h 10147"/>
                    <a:gd name="connsiteX76" fmla="*/ 10000 w 10000"/>
                    <a:gd name="connsiteY76" fmla="*/ 2751 h 10147"/>
                    <a:gd name="connsiteX77" fmla="*/ 9617 w 10000"/>
                    <a:gd name="connsiteY77" fmla="*/ 2675 h 10147"/>
                    <a:gd name="connsiteX78" fmla="*/ 9294 w 10000"/>
                    <a:gd name="connsiteY78" fmla="*/ 2373 h 10147"/>
                    <a:gd name="connsiteX79" fmla="*/ 8065 w 10000"/>
                    <a:gd name="connsiteY79" fmla="*/ 2996 h 10147"/>
                    <a:gd name="connsiteX80" fmla="*/ 7823 w 10000"/>
                    <a:gd name="connsiteY80" fmla="*/ 3411 h 10147"/>
                    <a:gd name="connsiteX81" fmla="*/ 7621 w 10000"/>
                    <a:gd name="connsiteY81" fmla="*/ 3524 h 10147"/>
                    <a:gd name="connsiteX82" fmla="*/ 7500 w 10000"/>
                    <a:gd name="connsiteY82" fmla="*/ 3298 h 10147"/>
                    <a:gd name="connsiteX83" fmla="*/ 7036 w 10000"/>
                    <a:gd name="connsiteY83" fmla="*/ 3185 h 10147"/>
                    <a:gd name="connsiteX84" fmla="*/ 7157 w 10000"/>
                    <a:gd name="connsiteY84" fmla="*/ 2996 h 10147"/>
                    <a:gd name="connsiteX0" fmla="*/ 7157 w 10000"/>
                    <a:gd name="connsiteY0" fmla="*/ 2996 h 10147"/>
                    <a:gd name="connsiteX1" fmla="*/ 6956 w 10000"/>
                    <a:gd name="connsiteY1" fmla="*/ 2864 h 10147"/>
                    <a:gd name="connsiteX2" fmla="*/ 6714 w 10000"/>
                    <a:gd name="connsiteY2" fmla="*/ 2864 h 10147"/>
                    <a:gd name="connsiteX3" fmla="*/ 6714 w 10000"/>
                    <a:gd name="connsiteY3" fmla="*/ 3109 h 10147"/>
                    <a:gd name="connsiteX4" fmla="*/ 6835 w 10000"/>
                    <a:gd name="connsiteY4" fmla="*/ 3638 h 10147"/>
                    <a:gd name="connsiteX5" fmla="*/ 5806 w 10000"/>
                    <a:gd name="connsiteY5" fmla="*/ 3411 h 10147"/>
                    <a:gd name="connsiteX6" fmla="*/ 5484 w 10000"/>
                    <a:gd name="connsiteY6" fmla="*/ 3109 h 10147"/>
                    <a:gd name="connsiteX7" fmla="*/ 4919 w 10000"/>
                    <a:gd name="connsiteY7" fmla="*/ 3185 h 10147"/>
                    <a:gd name="connsiteX8" fmla="*/ 4839 w 10000"/>
                    <a:gd name="connsiteY8" fmla="*/ 2996 h 10147"/>
                    <a:gd name="connsiteX9" fmla="*/ 3891 w 10000"/>
                    <a:gd name="connsiteY9" fmla="*/ 2751 h 10147"/>
                    <a:gd name="connsiteX10" fmla="*/ 3891 w 10000"/>
                    <a:gd name="connsiteY10" fmla="*/ 2034 h 10147"/>
                    <a:gd name="connsiteX11" fmla="*/ 3246 w 10000"/>
                    <a:gd name="connsiteY11" fmla="*/ 1600 h 10147"/>
                    <a:gd name="connsiteX12" fmla="*/ 3024 w 10000"/>
                    <a:gd name="connsiteY12" fmla="*/ 1411 h 10147"/>
                    <a:gd name="connsiteX13" fmla="*/ 3367 w 10000"/>
                    <a:gd name="connsiteY13" fmla="*/ 1185 h 10147"/>
                    <a:gd name="connsiteX14" fmla="*/ 3105 w 10000"/>
                    <a:gd name="connsiteY14" fmla="*/ 883 h 10147"/>
                    <a:gd name="connsiteX15" fmla="*/ 3367 w 10000"/>
                    <a:gd name="connsiteY15" fmla="*/ 656 h 10147"/>
                    <a:gd name="connsiteX16" fmla="*/ 3517 w 10000"/>
                    <a:gd name="connsiteY16" fmla="*/ 601 h 10147"/>
                    <a:gd name="connsiteX17" fmla="*/ 3527 w 10000"/>
                    <a:gd name="connsiteY17" fmla="*/ 345 h 10147"/>
                    <a:gd name="connsiteX18" fmla="*/ 3343 w 10000"/>
                    <a:gd name="connsiteY18" fmla="*/ 69 h 10147"/>
                    <a:gd name="connsiteX19" fmla="*/ 2278 w 10000"/>
                    <a:gd name="connsiteY19" fmla="*/ 215 h 10147"/>
                    <a:gd name="connsiteX20" fmla="*/ 1910 w 10000"/>
                    <a:gd name="connsiteY20" fmla="*/ 44 h 10147"/>
                    <a:gd name="connsiteX21" fmla="*/ 2077 w 10000"/>
                    <a:gd name="connsiteY21" fmla="*/ 479 h 10147"/>
                    <a:gd name="connsiteX22" fmla="*/ 1194 w 10000"/>
                    <a:gd name="connsiteY22" fmla="*/ 648 h 10147"/>
                    <a:gd name="connsiteX23" fmla="*/ 1351 w 10000"/>
                    <a:gd name="connsiteY23" fmla="*/ 996 h 10147"/>
                    <a:gd name="connsiteX24" fmla="*/ 1895 w 10000"/>
                    <a:gd name="connsiteY24" fmla="*/ 1411 h 10147"/>
                    <a:gd name="connsiteX25" fmla="*/ 1673 w 10000"/>
                    <a:gd name="connsiteY25" fmla="*/ 1600 h 10147"/>
                    <a:gd name="connsiteX26" fmla="*/ 1673 w 10000"/>
                    <a:gd name="connsiteY26" fmla="*/ 1921 h 10147"/>
                    <a:gd name="connsiteX27" fmla="*/ 907 w 10000"/>
                    <a:gd name="connsiteY27" fmla="*/ 2996 h 10147"/>
                    <a:gd name="connsiteX28" fmla="*/ 323 w 10000"/>
                    <a:gd name="connsiteY28" fmla="*/ 3185 h 10147"/>
                    <a:gd name="connsiteX29" fmla="*/ 1028 w 10000"/>
                    <a:gd name="connsiteY29" fmla="*/ 4015 h 10147"/>
                    <a:gd name="connsiteX30" fmla="*/ 786 w 10000"/>
                    <a:gd name="connsiteY30" fmla="*/ 4260 h 10147"/>
                    <a:gd name="connsiteX31" fmla="*/ 0 w 10000"/>
                    <a:gd name="connsiteY31" fmla="*/ 4449 h 10147"/>
                    <a:gd name="connsiteX32" fmla="*/ 202 w 10000"/>
                    <a:gd name="connsiteY32" fmla="*/ 4789 h 10147"/>
                    <a:gd name="connsiteX33" fmla="*/ 665 w 10000"/>
                    <a:gd name="connsiteY33" fmla="*/ 4789 h 10147"/>
                    <a:gd name="connsiteX34" fmla="*/ 323 w 10000"/>
                    <a:gd name="connsiteY34" fmla="*/ 4977 h 10147"/>
                    <a:gd name="connsiteX35" fmla="*/ 786 w 10000"/>
                    <a:gd name="connsiteY35" fmla="*/ 5524 h 10147"/>
                    <a:gd name="connsiteX36" fmla="*/ 1109 w 10000"/>
                    <a:gd name="connsiteY36" fmla="*/ 5279 h 10147"/>
                    <a:gd name="connsiteX37" fmla="*/ 1431 w 10000"/>
                    <a:gd name="connsiteY37" fmla="*/ 4902 h 10147"/>
                    <a:gd name="connsiteX38" fmla="*/ 1552 w 10000"/>
                    <a:gd name="connsiteY38" fmla="*/ 5204 h 10147"/>
                    <a:gd name="connsiteX39" fmla="*/ 1794 w 10000"/>
                    <a:gd name="connsiteY39" fmla="*/ 5279 h 10147"/>
                    <a:gd name="connsiteX40" fmla="*/ 1794 w 10000"/>
                    <a:gd name="connsiteY40" fmla="*/ 6789 h 10147"/>
                    <a:gd name="connsiteX41" fmla="*/ 2339 w 10000"/>
                    <a:gd name="connsiteY41" fmla="*/ 7619 h 10147"/>
                    <a:gd name="connsiteX42" fmla="*/ 2581 w 10000"/>
                    <a:gd name="connsiteY42" fmla="*/ 8166 h 10147"/>
                    <a:gd name="connsiteX43" fmla="*/ 3488 w 10000"/>
                    <a:gd name="connsiteY43" fmla="*/ 9807 h 10147"/>
                    <a:gd name="connsiteX44" fmla="*/ 3810 w 10000"/>
                    <a:gd name="connsiteY44" fmla="*/ 10147 h 10147"/>
                    <a:gd name="connsiteX45" fmla="*/ 4375 w 10000"/>
                    <a:gd name="connsiteY45" fmla="*/ 9732 h 10147"/>
                    <a:gd name="connsiteX46" fmla="*/ 4254 w 10000"/>
                    <a:gd name="connsiteY46" fmla="*/ 9505 h 10147"/>
                    <a:gd name="connsiteX47" fmla="*/ 4456 w 10000"/>
                    <a:gd name="connsiteY47" fmla="*/ 9317 h 10147"/>
                    <a:gd name="connsiteX48" fmla="*/ 4456 w 10000"/>
                    <a:gd name="connsiteY48" fmla="*/ 8996 h 10147"/>
                    <a:gd name="connsiteX49" fmla="*/ 4375 w 10000"/>
                    <a:gd name="connsiteY49" fmla="*/ 8883 h 10147"/>
                    <a:gd name="connsiteX50" fmla="*/ 4718 w 10000"/>
                    <a:gd name="connsiteY50" fmla="*/ 8241 h 10147"/>
                    <a:gd name="connsiteX51" fmla="*/ 4597 w 10000"/>
                    <a:gd name="connsiteY51" fmla="*/ 8053 h 10147"/>
                    <a:gd name="connsiteX52" fmla="*/ 4597 w 10000"/>
                    <a:gd name="connsiteY52" fmla="*/ 7317 h 10147"/>
                    <a:gd name="connsiteX53" fmla="*/ 4919 w 10000"/>
                    <a:gd name="connsiteY53" fmla="*/ 7204 h 10147"/>
                    <a:gd name="connsiteX54" fmla="*/ 5806 w 10000"/>
                    <a:gd name="connsiteY54" fmla="*/ 6355 h 10147"/>
                    <a:gd name="connsiteX55" fmla="*/ 5806 w 10000"/>
                    <a:gd name="connsiteY55" fmla="*/ 6053 h 10147"/>
                    <a:gd name="connsiteX56" fmla="*/ 6714 w 10000"/>
                    <a:gd name="connsiteY56" fmla="*/ 5638 h 10147"/>
                    <a:gd name="connsiteX57" fmla="*/ 6593 w 10000"/>
                    <a:gd name="connsiteY57" fmla="*/ 5411 h 10147"/>
                    <a:gd name="connsiteX58" fmla="*/ 6956 w 10000"/>
                    <a:gd name="connsiteY58" fmla="*/ 5204 h 10147"/>
                    <a:gd name="connsiteX59" fmla="*/ 7500 w 10000"/>
                    <a:gd name="connsiteY59" fmla="*/ 5204 h 10147"/>
                    <a:gd name="connsiteX60" fmla="*/ 7379 w 10000"/>
                    <a:gd name="connsiteY60" fmla="*/ 4562 h 10147"/>
                    <a:gd name="connsiteX61" fmla="*/ 6956 w 10000"/>
                    <a:gd name="connsiteY61" fmla="*/ 4373 h 10147"/>
                    <a:gd name="connsiteX62" fmla="*/ 7157 w 10000"/>
                    <a:gd name="connsiteY62" fmla="*/ 4015 h 10147"/>
                    <a:gd name="connsiteX63" fmla="*/ 6956 w 10000"/>
                    <a:gd name="connsiteY63" fmla="*/ 3826 h 10147"/>
                    <a:gd name="connsiteX64" fmla="*/ 7036 w 10000"/>
                    <a:gd name="connsiteY64" fmla="*/ 3638 h 10147"/>
                    <a:gd name="connsiteX65" fmla="*/ 7379 w 10000"/>
                    <a:gd name="connsiteY65" fmla="*/ 3638 h 10147"/>
                    <a:gd name="connsiteX66" fmla="*/ 7621 w 10000"/>
                    <a:gd name="connsiteY66" fmla="*/ 4015 h 10147"/>
                    <a:gd name="connsiteX67" fmla="*/ 8387 w 10000"/>
                    <a:gd name="connsiteY67" fmla="*/ 4015 h 10147"/>
                    <a:gd name="connsiteX68" fmla="*/ 8185 w 10000"/>
                    <a:gd name="connsiteY68" fmla="*/ 4562 h 10147"/>
                    <a:gd name="connsiteX69" fmla="*/ 8387 w 10000"/>
                    <a:gd name="connsiteY69" fmla="*/ 4675 h 10147"/>
                    <a:gd name="connsiteX70" fmla="*/ 8508 w 10000"/>
                    <a:gd name="connsiteY70" fmla="*/ 4562 h 10147"/>
                    <a:gd name="connsiteX71" fmla="*/ 8730 w 10000"/>
                    <a:gd name="connsiteY71" fmla="*/ 5090 h 10147"/>
                    <a:gd name="connsiteX72" fmla="*/ 8972 w 10000"/>
                    <a:gd name="connsiteY72" fmla="*/ 4373 h 10147"/>
                    <a:gd name="connsiteX73" fmla="*/ 9294 w 10000"/>
                    <a:gd name="connsiteY73" fmla="*/ 4260 h 10147"/>
                    <a:gd name="connsiteX74" fmla="*/ 9415 w 10000"/>
                    <a:gd name="connsiteY74" fmla="*/ 3411 h 10147"/>
                    <a:gd name="connsiteX75" fmla="*/ 9738 w 10000"/>
                    <a:gd name="connsiteY75" fmla="*/ 3185 h 10147"/>
                    <a:gd name="connsiteX76" fmla="*/ 10000 w 10000"/>
                    <a:gd name="connsiteY76" fmla="*/ 2751 h 10147"/>
                    <a:gd name="connsiteX77" fmla="*/ 9617 w 10000"/>
                    <a:gd name="connsiteY77" fmla="*/ 2675 h 10147"/>
                    <a:gd name="connsiteX78" fmla="*/ 9294 w 10000"/>
                    <a:gd name="connsiteY78" fmla="*/ 2373 h 10147"/>
                    <a:gd name="connsiteX79" fmla="*/ 8065 w 10000"/>
                    <a:gd name="connsiteY79" fmla="*/ 2996 h 10147"/>
                    <a:gd name="connsiteX80" fmla="*/ 7823 w 10000"/>
                    <a:gd name="connsiteY80" fmla="*/ 3411 h 10147"/>
                    <a:gd name="connsiteX81" fmla="*/ 7621 w 10000"/>
                    <a:gd name="connsiteY81" fmla="*/ 3524 h 10147"/>
                    <a:gd name="connsiteX82" fmla="*/ 7500 w 10000"/>
                    <a:gd name="connsiteY82" fmla="*/ 3298 h 10147"/>
                    <a:gd name="connsiteX83" fmla="*/ 7036 w 10000"/>
                    <a:gd name="connsiteY83" fmla="*/ 3185 h 10147"/>
                    <a:gd name="connsiteX84" fmla="*/ 7157 w 10000"/>
                    <a:gd name="connsiteY84" fmla="*/ 2996 h 10147"/>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52 h 10103"/>
                    <a:gd name="connsiteX1" fmla="*/ 6956 w 10000"/>
                    <a:gd name="connsiteY1" fmla="*/ 2820 h 10103"/>
                    <a:gd name="connsiteX2" fmla="*/ 6714 w 10000"/>
                    <a:gd name="connsiteY2" fmla="*/ 2820 h 10103"/>
                    <a:gd name="connsiteX3" fmla="*/ 6714 w 10000"/>
                    <a:gd name="connsiteY3" fmla="*/ 3065 h 10103"/>
                    <a:gd name="connsiteX4" fmla="*/ 6835 w 10000"/>
                    <a:gd name="connsiteY4" fmla="*/ 3594 h 10103"/>
                    <a:gd name="connsiteX5" fmla="*/ 5806 w 10000"/>
                    <a:gd name="connsiteY5" fmla="*/ 3367 h 10103"/>
                    <a:gd name="connsiteX6" fmla="*/ 5484 w 10000"/>
                    <a:gd name="connsiteY6" fmla="*/ 3065 h 10103"/>
                    <a:gd name="connsiteX7" fmla="*/ 4919 w 10000"/>
                    <a:gd name="connsiteY7" fmla="*/ 3141 h 10103"/>
                    <a:gd name="connsiteX8" fmla="*/ 4839 w 10000"/>
                    <a:gd name="connsiteY8" fmla="*/ 2952 h 10103"/>
                    <a:gd name="connsiteX9" fmla="*/ 3891 w 10000"/>
                    <a:gd name="connsiteY9" fmla="*/ 2707 h 10103"/>
                    <a:gd name="connsiteX10" fmla="*/ 3891 w 10000"/>
                    <a:gd name="connsiteY10" fmla="*/ 1990 h 10103"/>
                    <a:gd name="connsiteX11" fmla="*/ 3246 w 10000"/>
                    <a:gd name="connsiteY11" fmla="*/ 1556 h 10103"/>
                    <a:gd name="connsiteX12" fmla="*/ 3024 w 10000"/>
                    <a:gd name="connsiteY12" fmla="*/ 1367 h 10103"/>
                    <a:gd name="connsiteX13" fmla="*/ 3367 w 10000"/>
                    <a:gd name="connsiteY13" fmla="*/ 1141 h 10103"/>
                    <a:gd name="connsiteX14" fmla="*/ 3105 w 10000"/>
                    <a:gd name="connsiteY14" fmla="*/ 839 h 10103"/>
                    <a:gd name="connsiteX15" fmla="*/ 3367 w 10000"/>
                    <a:gd name="connsiteY15" fmla="*/ 612 h 10103"/>
                    <a:gd name="connsiteX16" fmla="*/ 3517 w 10000"/>
                    <a:gd name="connsiteY16" fmla="*/ 557 h 10103"/>
                    <a:gd name="connsiteX17" fmla="*/ 3527 w 10000"/>
                    <a:gd name="connsiteY17" fmla="*/ 301 h 10103"/>
                    <a:gd name="connsiteX18" fmla="*/ 3343 w 10000"/>
                    <a:gd name="connsiteY18" fmla="*/ 25 h 10103"/>
                    <a:gd name="connsiteX19" fmla="*/ 2278 w 10000"/>
                    <a:gd name="connsiteY19" fmla="*/ 171 h 10103"/>
                    <a:gd name="connsiteX20" fmla="*/ 1910 w 10000"/>
                    <a:gd name="connsiteY20" fmla="*/ 0 h 10103"/>
                    <a:gd name="connsiteX21" fmla="*/ 2077 w 10000"/>
                    <a:gd name="connsiteY21" fmla="*/ 435 h 10103"/>
                    <a:gd name="connsiteX22" fmla="*/ 1194 w 10000"/>
                    <a:gd name="connsiteY22" fmla="*/ 604 h 10103"/>
                    <a:gd name="connsiteX23" fmla="*/ 1351 w 10000"/>
                    <a:gd name="connsiteY23" fmla="*/ 952 h 10103"/>
                    <a:gd name="connsiteX24" fmla="*/ 1895 w 10000"/>
                    <a:gd name="connsiteY24" fmla="*/ 1367 h 10103"/>
                    <a:gd name="connsiteX25" fmla="*/ 1673 w 10000"/>
                    <a:gd name="connsiteY25" fmla="*/ 1556 h 10103"/>
                    <a:gd name="connsiteX26" fmla="*/ 1673 w 10000"/>
                    <a:gd name="connsiteY26" fmla="*/ 1877 h 10103"/>
                    <a:gd name="connsiteX27" fmla="*/ 907 w 10000"/>
                    <a:gd name="connsiteY27" fmla="*/ 2952 h 10103"/>
                    <a:gd name="connsiteX28" fmla="*/ 323 w 10000"/>
                    <a:gd name="connsiteY28" fmla="*/ 3141 h 10103"/>
                    <a:gd name="connsiteX29" fmla="*/ 1028 w 10000"/>
                    <a:gd name="connsiteY29" fmla="*/ 3971 h 10103"/>
                    <a:gd name="connsiteX30" fmla="*/ 786 w 10000"/>
                    <a:gd name="connsiteY30" fmla="*/ 4216 h 10103"/>
                    <a:gd name="connsiteX31" fmla="*/ 0 w 10000"/>
                    <a:gd name="connsiteY31" fmla="*/ 4405 h 10103"/>
                    <a:gd name="connsiteX32" fmla="*/ 202 w 10000"/>
                    <a:gd name="connsiteY32" fmla="*/ 4745 h 10103"/>
                    <a:gd name="connsiteX33" fmla="*/ 665 w 10000"/>
                    <a:gd name="connsiteY33" fmla="*/ 4745 h 10103"/>
                    <a:gd name="connsiteX34" fmla="*/ 323 w 10000"/>
                    <a:gd name="connsiteY34" fmla="*/ 4933 h 10103"/>
                    <a:gd name="connsiteX35" fmla="*/ 786 w 10000"/>
                    <a:gd name="connsiteY35" fmla="*/ 5480 h 10103"/>
                    <a:gd name="connsiteX36" fmla="*/ 1109 w 10000"/>
                    <a:gd name="connsiteY36" fmla="*/ 5235 h 10103"/>
                    <a:gd name="connsiteX37" fmla="*/ 1431 w 10000"/>
                    <a:gd name="connsiteY37" fmla="*/ 4858 h 10103"/>
                    <a:gd name="connsiteX38" fmla="*/ 1552 w 10000"/>
                    <a:gd name="connsiteY38" fmla="*/ 5160 h 10103"/>
                    <a:gd name="connsiteX39" fmla="*/ 1794 w 10000"/>
                    <a:gd name="connsiteY39" fmla="*/ 5235 h 10103"/>
                    <a:gd name="connsiteX40" fmla="*/ 1794 w 10000"/>
                    <a:gd name="connsiteY40" fmla="*/ 6745 h 10103"/>
                    <a:gd name="connsiteX41" fmla="*/ 2339 w 10000"/>
                    <a:gd name="connsiteY41" fmla="*/ 7575 h 10103"/>
                    <a:gd name="connsiteX42" fmla="*/ 2581 w 10000"/>
                    <a:gd name="connsiteY42" fmla="*/ 8122 h 10103"/>
                    <a:gd name="connsiteX43" fmla="*/ 3488 w 10000"/>
                    <a:gd name="connsiteY43" fmla="*/ 9763 h 10103"/>
                    <a:gd name="connsiteX44" fmla="*/ 3810 w 10000"/>
                    <a:gd name="connsiteY44" fmla="*/ 10103 h 10103"/>
                    <a:gd name="connsiteX45" fmla="*/ 4375 w 10000"/>
                    <a:gd name="connsiteY45" fmla="*/ 9688 h 10103"/>
                    <a:gd name="connsiteX46" fmla="*/ 4254 w 10000"/>
                    <a:gd name="connsiteY46" fmla="*/ 9461 h 10103"/>
                    <a:gd name="connsiteX47" fmla="*/ 4456 w 10000"/>
                    <a:gd name="connsiteY47" fmla="*/ 9273 h 10103"/>
                    <a:gd name="connsiteX48" fmla="*/ 4456 w 10000"/>
                    <a:gd name="connsiteY48" fmla="*/ 8952 h 10103"/>
                    <a:gd name="connsiteX49" fmla="*/ 4375 w 10000"/>
                    <a:gd name="connsiteY49" fmla="*/ 8839 h 10103"/>
                    <a:gd name="connsiteX50" fmla="*/ 4718 w 10000"/>
                    <a:gd name="connsiteY50" fmla="*/ 8197 h 10103"/>
                    <a:gd name="connsiteX51" fmla="*/ 4597 w 10000"/>
                    <a:gd name="connsiteY51" fmla="*/ 8009 h 10103"/>
                    <a:gd name="connsiteX52" fmla="*/ 4597 w 10000"/>
                    <a:gd name="connsiteY52" fmla="*/ 7273 h 10103"/>
                    <a:gd name="connsiteX53" fmla="*/ 4919 w 10000"/>
                    <a:gd name="connsiteY53" fmla="*/ 7160 h 10103"/>
                    <a:gd name="connsiteX54" fmla="*/ 5806 w 10000"/>
                    <a:gd name="connsiteY54" fmla="*/ 6311 h 10103"/>
                    <a:gd name="connsiteX55" fmla="*/ 5806 w 10000"/>
                    <a:gd name="connsiteY55" fmla="*/ 6009 h 10103"/>
                    <a:gd name="connsiteX56" fmla="*/ 6714 w 10000"/>
                    <a:gd name="connsiteY56" fmla="*/ 5594 h 10103"/>
                    <a:gd name="connsiteX57" fmla="*/ 6593 w 10000"/>
                    <a:gd name="connsiteY57" fmla="*/ 5367 h 10103"/>
                    <a:gd name="connsiteX58" fmla="*/ 6956 w 10000"/>
                    <a:gd name="connsiteY58" fmla="*/ 5160 h 10103"/>
                    <a:gd name="connsiteX59" fmla="*/ 7500 w 10000"/>
                    <a:gd name="connsiteY59" fmla="*/ 5160 h 10103"/>
                    <a:gd name="connsiteX60" fmla="*/ 7379 w 10000"/>
                    <a:gd name="connsiteY60" fmla="*/ 4518 h 10103"/>
                    <a:gd name="connsiteX61" fmla="*/ 6956 w 10000"/>
                    <a:gd name="connsiteY61" fmla="*/ 4329 h 10103"/>
                    <a:gd name="connsiteX62" fmla="*/ 7157 w 10000"/>
                    <a:gd name="connsiteY62" fmla="*/ 3971 h 10103"/>
                    <a:gd name="connsiteX63" fmla="*/ 6956 w 10000"/>
                    <a:gd name="connsiteY63" fmla="*/ 3782 h 10103"/>
                    <a:gd name="connsiteX64" fmla="*/ 7036 w 10000"/>
                    <a:gd name="connsiteY64" fmla="*/ 3594 h 10103"/>
                    <a:gd name="connsiteX65" fmla="*/ 7379 w 10000"/>
                    <a:gd name="connsiteY65" fmla="*/ 3594 h 10103"/>
                    <a:gd name="connsiteX66" fmla="*/ 7621 w 10000"/>
                    <a:gd name="connsiteY66" fmla="*/ 3971 h 10103"/>
                    <a:gd name="connsiteX67" fmla="*/ 8387 w 10000"/>
                    <a:gd name="connsiteY67" fmla="*/ 3971 h 10103"/>
                    <a:gd name="connsiteX68" fmla="*/ 8185 w 10000"/>
                    <a:gd name="connsiteY68" fmla="*/ 4518 h 10103"/>
                    <a:gd name="connsiteX69" fmla="*/ 8387 w 10000"/>
                    <a:gd name="connsiteY69" fmla="*/ 4631 h 10103"/>
                    <a:gd name="connsiteX70" fmla="*/ 8508 w 10000"/>
                    <a:gd name="connsiteY70" fmla="*/ 4518 h 10103"/>
                    <a:gd name="connsiteX71" fmla="*/ 8730 w 10000"/>
                    <a:gd name="connsiteY71" fmla="*/ 5046 h 10103"/>
                    <a:gd name="connsiteX72" fmla="*/ 8972 w 10000"/>
                    <a:gd name="connsiteY72" fmla="*/ 4329 h 10103"/>
                    <a:gd name="connsiteX73" fmla="*/ 9294 w 10000"/>
                    <a:gd name="connsiteY73" fmla="*/ 4216 h 10103"/>
                    <a:gd name="connsiteX74" fmla="*/ 9415 w 10000"/>
                    <a:gd name="connsiteY74" fmla="*/ 3367 h 10103"/>
                    <a:gd name="connsiteX75" fmla="*/ 9738 w 10000"/>
                    <a:gd name="connsiteY75" fmla="*/ 3141 h 10103"/>
                    <a:gd name="connsiteX76" fmla="*/ 10000 w 10000"/>
                    <a:gd name="connsiteY76" fmla="*/ 2707 h 10103"/>
                    <a:gd name="connsiteX77" fmla="*/ 9617 w 10000"/>
                    <a:gd name="connsiteY77" fmla="*/ 2631 h 10103"/>
                    <a:gd name="connsiteX78" fmla="*/ 9294 w 10000"/>
                    <a:gd name="connsiteY78" fmla="*/ 2329 h 10103"/>
                    <a:gd name="connsiteX79" fmla="*/ 8065 w 10000"/>
                    <a:gd name="connsiteY79" fmla="*/ 2952 h 10103"/>
                    <a:gd name="connsiteX80" fmla="*/ 7823 w 10000"/>
                    <a:gd name="connsiteY80" fmla="*/ 3367 h 10103"/>
                    <a:gd name="connsiteX81" fmla="*/ 7621 w 10000"/>
                    <a:gd name="connsiteY81" fmla="*/ 3480 h 10103"/>
                    <a:gd name="connsiteX82" fmla="*/ 7500 w 10000"/>
                    <a:gd name="connsiteY82" fmla="*/ 3254 h 10103"/>
                    <a:gd name="connsiteX83" fmla="*/ 7036 w 10000"/>
                    <a:gd name="connsiteY83" fmla="*/ 3141 h 10103"/>
                    <a:gd name="connsiteX84" fmla="*/ 7157 w 10000"/>
                    <a:gd name="connsiteY84" fmla="*/ 2952 h 10103"/>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2077 w 10000"/>
                    <a:gd name="connsiteY21" fmla="*/ 457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363 w 10000"/>
                    <a:gd name="connsiteY21" fmla="*/ 346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363 w 10000"/>
                    <a:gd name="connsiteY21" fmla="*/ 346 h 10125"/>
                    <a:gd name="connsiteX22" fmla="*/ 1194 w 10000"/>
                    <a:gd name="connsiteY22" fmla="*/ 626 h 10125"/>
                    <a:gd name="connsiteX23" fmla="*/ 1351 w 10000"/>
                    <a:gd name="connsiteY23" fmla="*/ 974 h 10125"/>
                    <a:gd name="connsiteX24" fmla="*/ 1895 w 10000"/>
                    <a:gd name="connsiteY24" fmla="*/ 1389 h 10125"/>
                    <a:gd name="connsiteX25" fmla="*/ 1673 w 10000"/>
                    <a:gd name="connsiteY25" fmla="*/ 1578 h 10125"/>
                    <a:gd name="connsiteX26" fmla="*/ 1673 w 10000"/>
                    <a:gd name="connsiteY26" fmla="*/ 1899 h 10125"/>
                    <a:gd name="connsiteX27" fmla="*/ 907 w 10000"/>
                    <a:gd name="connsiteY27" fmla="*/ 2974 h 10125"/>
                    <a:gd name="connsiteX28" fmla="*/ 323 w 10000"/>
                    <a:gd name="connsiteY28" fmla="*/ 3163 h 10125"/>
                    <a:gd name="connsiteX29" fmla="*/ 1028 w 10000"/>
                    <a:gd name="connsiteY29" fmla="*/ 3993 h 10125"/>
                    <a:gd name="connsiteX30" fmla="*/ 786 w 10000"/>
                    <a:gd name="connsiteY30" fmla="*/ 4238 h 10125"/>
                    <a:gd name="connsiteX31" fmla="*/ 0 w 10000"/>
                    <a:gd name="connsiteY31" fmla="*/ 4427 h 10125"/>
                    <a:gd name="connsiteX32" fmla="*/ 202 w 10000"/>
                    <a:gd name="connsiteY32" fmla="*/ 4767 h 10125"/>
                    <a:gd name="connsiteX33" fmla="*/ 665 w 10000"/>
                    <a:gd name="connsiteY33" fmla="*/ 4767 h 10125"/>
                    <a:gd name="connsiteX34" fmla="*/ 323 w 10000"/>
                    <a:gd name="connsiteY34" fmla="*/ 4955 h 10125"/>
                    <a:gd name="connsiteX35" fmla="*/ 786 w 10000"/>
                    <a:gd name="connsiteY35" fmla="*/ 5502 h 10125"/>
                    <a:gd name="connsiteX36" fmla="*/ 1109 w 10000"/>
                    <a:gd name="connsiteY36" fmla="*/ 5257 h 10125"/>
                    <a:gd name="connsiteX37" fmla="*/ 1431 w 10000"/>
                    <a:gd name="connsiteY37" fmla="*/ 4880 h 10125"/>
                    <a:gd name="connsiteX38" fmla="*/ 1552 w 10000"/>
                    <a:gd name="connsiteY38" fmla="*/ 5182 h 10125"/>
                    <a:gd name="connsiteX39" fmla="*/ 1794 w 10000"/>
                    <a:gd name="connsiteY39" fmla="*/ 5257 h 10125"/>
                    <a:gd name="connsiteX40" fmla="*/ 1794 w 10000"/>
                    <a:gd name="connsiteY40" fmla="*/ 6767 h 10125"/>
                    <a:gd name="connsiteX41" fmla="*/ 2339 w 10000"/>
                    <a:gd name="connsiteY41" fmla="*/ 7597 h 10125"/>
                    <a:gd name="connsiteX42" fmla="*/ 2581 w 10000"/>
                    <a:gd name="connsiteY42" fmla="*/ 8144 h 10125"/>
                    <a:gd name="connsiteX43" fmla="*/ 3488 w 10000"/>
                    <a:gd name="connsiteY43" fmla="*/ 9785 h 10125"/>
                    <a:gd name="connsiteX44" fmla="*/ 3810 w 10000"/>
                    <a:gd name="connsiteY44" fmla="*/ 10125 h 10125"/>
                    <a:gd name="connsiteX45" fmla="*/ 4375 w 10000"/>
                    <a:gd name="connsiteY45" fmla="*/ 9710 h 10125"/>
                    <a:gd name="connsiteX46" fmla="*/ 4254 w 10000"/>
                    <a:gd name="connsiteY46" fmla="*/ 9483 h 10125"/>
                    <a:gd name="connsiteX47" fmla="*/ 4456 w 10000"/>
                    <a:gd name="connsiteY47" fmla="*/ 9295 h 10125"/>
                    <a:gd name="connsiteX48" fmla="*/ 4456 w 10000"/>
                    <a:gd name="connsiteY48" fmla="*/ 8974 h 10125"/>
                    <a:gd name="connsiteX49" fmla="*/ 4375 w 10000"/>
                    <a:gd name="connsiteY49" fmla="*/ 8861 h 10125"/>
                    <a:gd name="connsiteX50" fmla="*/ 4718 w 10000"/>
                    <a:gd name="connsiteY50" fmla="*/ 8219 h 10125"/>
                    <a:gd name="connsiteX51" fmla="*/ 4597 w 10000"/>
                    <a:gd name="connsiteY51" fmla="*/ 8031 h 10125"/>
                    <a:gd name="connsiteX52" fmla="*/ 4597 w 10000"/>
                    <a:gd name="connsiteY52" fmla="*/ 7295 h 10125"/>
                    <a:gd name="connsiteX53" fmla="*/ 4919 w 10000"/>
                    <a:gd name="connsiteY53" fmla="*/ 7182 h 10125"/>
                    <a:gd name="connsiteX54" fmla="*/ 5806 w 10000"/>
                    <a:gd name="connsiteY54" fmla="*/ 6333 h 10125"/>
                    <a:gd name="connsiteX55" fmla="*/ 5806 w 10000"/>
                    <a:gd name="connsiteY55" fmla="*/ 6031 h 10125"/>
                    <a:gd name="connsiteX56" fmla="*/ 6714 w 10000"/>
                    <a:gd name="connsiteY56" fmla="*/ 5616 h 10125"/>
                    <a:gd name="connsiteX57" fmla="*/ 6593 w 10000"/>
                    <a:gd name="connsiteY57" fmla="*/ 5389 h 10125"/>
                    <a:gd name="connsiteX58" fmla="*/ 6956 w 10000"/>
                    <a:gd name="connsiteY58" fmla="*/ 5182 h 10125"/>
                    <a:gd name="connsiteX59" fmla="*/ 7500 w 10000"/>
                    <a:gd name="connsiteY59" fmla="*/ 5182 h 10125"/>
                    <a:gd name="connsiteX60" fmla="*/ 7379 w 10000"/>
                    <a:gd name="connsiteY60" fmla="*/ 4540 h 10125"/>
                    <a:gd name="connsiteX61" fmla="*/ 6956 w 10000"/>
                    <a:gd name="connsiteY61" fmla="*/ 4351 h 10125"/>
                    <a:gd name="connsiteX62" fmla="*/ 7157 w 10000"/>
                    <a:gd name="connsiteY62" fmla="*/ 3993 h 10125"/>
                    <a:gd name="connsiteX63" fmla="*/ 6956 w 10000"/>
                    <a:gd name="connsiteY63" fmla="*/ 3804 h 10125"/>
                    <a:gd name="connsiteX64" fmla="*/ 7036 w 10000"/>
                    <a:gd name="connsiteY64" fmla="*/ 3616 h 10125"/>
                    <a:gd name="connsiteX65" fmla="*/ 7379 w 10000"/>
                    <a:gd name="connsiteY65" fmla="*/ 3616 h 10125"/>
                    <a:gd name="connsiteX66" fmla="*/ 7621 w 10000"/>
                    <a:gd name="connsiteY66" fmla="*/ 3993 h 10125"/>
                    <a:gd name="connsiteX67" fmla="*/ 8387 w 10000"/>
                    <a:gd name="connsiteY67" fmla="*/ 3993 h 10125"/>
                    <a:gd name="connsiteX68" fmla="*/ 8185 w 10000"/>
                    <a:gd name="connsiteY68" fmla="*/ 4540 h 10125"/>
                    <a:gd name="connsiteX69" fmla="*/ 8387 w 10000"/>
                    <a:gd name="connsiteY69" fmla="*/ 4653 h 10125"/>
                    <a:gd name="connsiteX70" fmla="*/ 8508 w 10000"/>
                    <a:gd name="connsiteY70" fmla="*/ 4540 h 10125"/>
                    <a:gd name="connsiteX71" fmla="*/ 8730 w 10000"/>
                    <a:gd name="connsiteY71" fmla="*/ 5068 h 10125"/>
                    <a:gd name="connsiteX72" fmla="*/ 8972 w 10000"/>
                    <a:gd name="connsiteY72" fmla="*/ 4351 h 10125"/>
                    <a:gd name="connsiteX73" fmla="*/ 9294 w 10000"/>
                    <a:gd name="connsiteY73" fmla="*/ 4238 h 10125"/>
                    <a:gd name="connsiteX74" fmla="*/ 9415 w 10000"/>
                    <a:gd name="connsiteY74" fmla="*/ 3389 h 10125"/>
                    <a:gd name="connsiteX75" fmla="*/ 9738 w 10000"/>
                    <a:gd name="connsiteY75" fmla="*/ 3163 h 10125"/>
                    <a:gd name="connsiteX76" fmla="*/ 10000 w 10000"/>
                    <a:gd name="connsiteY76" fmla="*/ 2729 h 10125"/>
                    <a:gd name="connsiteX77" fmla="*/ 9617 w 10000"/>
                    <a:gd name="connsiteY77" fmla="*/ 2653 h 10125"/>
                    <a:gd name="connsiteX78" fmla="*/ 9294 w 10000"/>
                    <a:gd name="connsiteY78" fmla="*/ 2351 h 10125"/>
                    <a:gd name="connsiteX79" fmla="*/ 8065 w 10000"/>
                    <a:gd name="connsiteY79" fmla="*/ 2974 h 10125"/>
                    <a:gd name="connsiteX80" fmla="*/ 7823 w 10000"/>
                    <a:gd name="connsiteY80" fmla="*/ 3389 h 10125"/>
                    <a:gd name="connsiteX81" fmla="*/ 7621 w 10000"/>
                    <a:gd name="connsiteY81" fmla="*/ 3502 h 10125"/>
                    <a:gd name="connsiteX82" fmla="*/ 7500 w 10000"/>
                    <a:gd name="connsiteY82" fmla="*/ 3276 h 10125"/>
                    <a:gd name="connsiteX83" fmla="*/ 7036 w 10000"/>
                    <a:gd name="connsiteY83" fmla="*/ 3163 h 10125"/>
                    <a:gd name="connsiteX84" fmla="*/ 7157 w 10000"/>
                    <a:gd name="connsiteY84" fmla="*/ 2974 h 10125"/>
                    <a:gd name="connsiteX0" fmla="*/ 7157 w 10000"/>
                    <a:gd name="connsiteY0" fmla="*/ 2974 h 10125"/>
                    <a:gd name="connsiteX1" fmla="*/ 6956 w 10000"/>
                    <a:gd name="connsiteY1" fmla="*/ 2842 h 10125"/>
                    <a:gd name="connsiteX2" fmla="*/ 6714 w 10000"/>
                    <a:gd name="connsiteY2" fmla="*/ 2842 h 10125"/>
                    <a:gd name="connsiteX3" fmla="*/ 6714 w 10000"/>
                    <a:gd name="connsiteY3" fmla="*/ 3087 h 10125"/>
                    <a:gd name="connsiteX4" fmla="*/ 6835 w 10000"/>
                    <a:gd name="connsiteY4" fmla="*/ 3616 h 10125"/>
                    <a:gd name="connsiteX5" fmla="*/ 5806 w 10000"/>
                    <a:gd name="connsiteY5" fmla="*/ 3389 h 10125"/>
                    <a:gd name="connsiteX6" fmla="*/ 5484 w 10000"/>
                    <a:gd name="connsiteY6" fmla="*/ 3087 h 10125"/>
                    <a:gd name="connsiteX7" fmla="*/ 4919 w 10000"/>
                    <a:gd name="connsiteY7" fmla="*/ 3163 h 10125"/>
                    <a:gd name="connsiteX8" fmla="*/ 4839 w 10000"/>
                    <a:gd name="connsiteY8" fmla="*/ 2974 h 10125"/>
                    <a:gd name="connsiteX9" fmla="*/ 3891 w 10000"/>
                    <a:gd name="connsiteY9" fmla="*/ 2729 h 10125"/>
                    <a:gd name="connsiteX10" fmla="*/ 3891 w 10000"/>
                    <a:gd name="connsiteY10" fmla="*/ 2012 h 10125"/>
                    <a:gd name="connsiteX11" fmla="*/ 3246 w 10000"/>
                    <a:gd name="connsiteY11" fmla="*/ 1578 h 10125"/>
                    <a:gd name="connsiteX12" fmla="*/ 3024 w 10000"/>
                    <a:gd name="connsiteY12" fmla="*/ 1389 h 10125"/>
                    <a:gd name="connsiteX13" fmla="*/ 3367 w 10000"/>
                    <a:gd name="connsiteY13" fmla="*/ 1163 h 10125"/>
                    <a:gd name="connsiteX14" fmla="*/ 3105 w 10000"/>
                    <a:gd name="connsiteY14" fmla="*/ 861 h 10125"/>
                    <a:gd name="connsiteX15" fmla="*/ 3367 w 10000"/>
                    <a:gd name="connsiteY15" fmla="*/ 634 h 10125"/>
                    <a:gd name="connsiteX16" fmla="*/ 3517 w 10000"/>
                    <a:gd name="connsiteY16" fmla="*/ 579 h 10125"/>
                    <a:gd name="connsiteX17" fmla="*/ 3527 w 10000"/>
                    <a:gd name="connsiteY17" fmla="*/ 323 h 10125"/>
                    <a:gd name="connsiteX18" fmla="*/ 3343 w 10000"/>
                    <a:gd name="connsiteY18" fmla="*/ 47 h 10125"/>
                    <a:gd name="connsiteX19" fmla="*/ 2278 w 10000"/>
                    <a:gd name="connsiteY19" fmla="*/ 193 h 10125"/>
                    <a:gd name="connsiteX20" fmla="*/ 1946 w 10000"/>
                    <a:gd name="connsiteY20" fmla="*/ 0 h 10125"/>
                    <a:gd name="connsiteX21" fmla="*/ 1672 w 10000"/>
                    <a:gd name="connsiteY21" fmla="*/ 167 h 10125"/>
                    <a:gd name="connsiteX22" fmla="*/ 1363 w 10000"/>
                    <a:gd name="connsiteY22" fmla="*/ 346 h 10125"/>
                    <a:gd name="connsiteX23" fmla="*/ 1194 w 10000"/>
                    <a:gd name="connsiteY23" fmla="*/ 626 h 10125"/>
                    <a:gd name="connsiteX24" fmla="*/ 1351 w 10000"/>
                    <a:gd name="connsiteY24" fmla="*/ 974 h 10125"/>
                    <a:gd name="connsiteX25" fmla="*/ 1895 w 10000"/>
                    <a:gd name="connsiteY25" fmla="*/ 1389 h 10125"/>
                    <a:gd name="connsiteX26" fmla="*/ 1673 w 10000"/>
                    <a:gd name="connsiteY26" fmla="*/ 1578 h 10125"/>
                    <a:gd name="connsiteX27" fmla="*/ 1673 w 10000"/>
                    <a:gd name="connsiteY27" fmla="*/ 1899 h 10125"/>
                    <a:gd name="connsiteX28" fmla="*/ 907 w 10000"/>
                    <a:gd name="connsiteY28" fmla="*/ 2974 h 10125"/>
                    <a:gd name="connsiteX29" fmla="*/ 323 w 10000"/>
                    <a:gd name="connsiteY29" fmla="*/ 3163 h 10125"/>
                    <a:gd name="connsiteX30" fmla="*/ 1028 w 10000"/>
                    <a:gd name="connsiteY30" fmla="*/ 3993 h 10125"/>
                    <a:gd name="connsiteX31" fmla="*/ 786 w 10000"/>
                    <a:gd name="connsiteY31" fmla="*/ 4238 h 10125"/>
                    <a:gd name="connsiteX32" fmla="*/ 0 w 10000"/>
                    <a:gd name="connsiteY32" fmla="*/ 4427 h 10125"/>
                    <a:gd name="connsiteX33" fmla="*/ 202 w 10000"/>
                    <a:gd name="connsiteY33" fmla="*/ 4767 h 10125"/>
                    <a:gd name="connsiteX34" fmla="*/ 665 w 10000"/>
                    <a:gd name="connsiteY34" fmla="*/ 4767 h 10125"/>
                    <a:gd name="connsiteX35" fmla="*/ 323 w 10000"/>
                    <a:gd name="connsiteY35" fmla="*/ 4955 h 10125"/>
                    <a:gd name="connsiteX36" fmla="*/ 786 w 10000"/>
                    <a:gd name="connsiteY36" fmla="*/ 5502 h 10125"/>
                    <a:gd name="connsiteX37" fmla="*/ 1109 w 10000"/>
                    <a:gd name="connsiteY37" fmla="*/ 5257 h 10125"/>
                    <a:gd name="connsiteX38" fmla="*/ 1431 w 10000"/>
                    <a:gd name="connsiteY38" fmla="*/ 4880 h 10125"/>
                    <a:gd name="connsiteX39" fmla="*/ 1552 w 10000"/>
                    <a:gd name="connsiteY39" fmla="*/ 5182 h 10125"/>
                    <a:gd name="connsiteX40" fmla="*/ 1794 w 10000"/>
                    <a:gd name="connsiteY40" fmla="*/ 5257 h 10125"/>
                    <a:gd name="connsiteX41" fmla="*/ 1794 w 10000"/>
                    <a:gd name="connsiteY41" fmla="*/ 6767 h 10125"/>
                    <a:gd name="connsiteX42" fmla="*/ 2339 w 10000"/>
                    <a:gd name="connsiteY42" fmla="*/ 7597 h 10125"/>
                    <a:gd name="connsiteX43" fmla="*/ 2581 w 10000"/>
                    <a:gd name="connsiteY43" fmla="*/ 8144 h 10125"/>
                    <a:gd name="connsiteX44" fmla="*/ 3488 w 10000"/>
                    <a:gd name="connsiteY44" fmla="*/ 9785 h 10125"/>
                    <a:gd name="connsiteX45" fmla="*/ 3810 w 10000"/>
                    <a:gd name="connsiteY45" fmla="*/ 10125 h 10125"/>
                    <a:gd name="connsiteX46" fmla="*/ 4375 w 10000"/>
                    <a:gd name="connsiteY46" fmla="*/ 9710 h 10125"/>
                    <a:gd name="connsiteX47" fmla="*/ 4254 w 10000"/>
                    <a:gd name="connsiteY47" fmla="*/ 9483 h 10125"/>
                    <a:gd name="connsiteX48" fmla="*/ 4456 w 10000"/>
                    <a:gd name="connsiteY48" fmla="*/ 9295 h 10125"/>
                    <a:gd name="connsiteX49" fmla="*/ 4456 w 10000"/>
                    <a:gd name="connsiteY49" fmla="*/ 8974 h 10125"/>
                    <a:gd name="connsiteX50" fmla="*/ 4375 w 10000"/>
                    <a:gd name="connsiteY50" fmla="*/ 8861 h 10125"/>
                    <a:gd name="connsiteX51" fmla="*/ 4718 w 10000"/>
                    <a:gd name="connsiteY51" fmla="*/ 8219 h 10125"/>
                    <a:gd name="connsiteX52" fmla="*/ 4597 w 10000"/>
                    <a:gd name="connsiteY52" fmla="*/ 8031 h 10125"/>
                    <a:gd name="connsiteX53" fmla="*/ 4597 w 10000"/>
                    <a:gd name="connsiteY53" fmla="*/ 7295 h 10125"/>
                    <a:gd name="connsiteX54" fmla="*/ 4919 w 10000"/>
                    <a:gd name="connsiteY54" fmla="*/ 7182 h 10125"/>
                    <a:gd name="connsiteX55" fmla="*/ 5806 w 10000"/>
                    <a:gd name="connsiteY55" fmla="*/ 6333 h 10125"/>
                    <a:gd name="connsiteX56" fmla="*/ 5806 w 10000"/>
                    <a:gd name="connsiteY56" fmla="*/ 6031 h 10125"/>
                    <a:gd name="connsiteX57" fmla="*/ 6714 w 10000"/>
                    <a:gd name="connsiteY57" fmla="*/ 5616 h 10125"/>
                    <a:gd name="connsiteX58" fmla="*/ 6593 w 10000"/>
                    <a:gd name="connsiteY58" fmla="*/ 5389 h 10125"/>
                    <a:gd name="connsiteX59" fmla="*/ 6956 w 10000"/>
                    <a:gd name="connsiteY59" fmla="*/ 5182 h 10125"/>
                    <a:gd name="connsiteX60" fmla="*/ 7500 w 10000"/>
                    <a:gd name="connsiteY60" fmla="*/ 5182 h 10125"/>
                    <a:gd name="connsiteX61" fmla="*/ 7379 w 10000"/>
                    <a:gd name="connsiteY61" fmla="*/ 4540 h 10125"/>
                    <a:gd name="connsiteX62" fmla="*/ 6956 w 10000"/>
                    <a:gd name="connsiteY62" fmla="*/ 4351 h 10125"/>
                    <a:gd name="connsiteX63" fmla="*/ 7157 w 10000"/>
                    <a:gd name="connsiteY63" fmla="*/ 3993 h 10125"/>
                    <a:gd name="connsiteX64" fmla="*/ 6956 w 10000"/>
                    <a:gd name="connsiteY64" fmla="*/ 3804 h 10125"/>
                    <a:gd name="connsiteX65" fmla="*/ 7036 w 10000"/>
                    <a:gd name="connsiteY65" fmla="*/ 3616 h 10125"/>
                    <a:gd name="connsiteX66" fmla="*/ 7379 w 10000"/>
                    <a:gd name="connsiteY66" fmla="*/ 3616 h 10125"/>
                    <a:gd name="connsiteX67" fmla="*/ 7621 w 10000"/>
                    <a:gd name="connsiteY67" fmla="*/ 3993 h 10125"/>
                    <a:gd name="connsiteX68" fmla="*/ 8387 w 10000"/>
                    <a:gd name="connsiteY68" fmla="*/ 3993 h 10125"/>
                    <a:gd name="connsiteX69" fmla="*/ 8185 w 10000"/>
                    <a:gd name="connsiteY69" fmla="*/ 4540 h 10125"/>
                    <a:gd name="connsiteX70" fmla="*/ 8387 w 10000"/>
                    <a:gd name="connsiteY70" fmla="*/ 4653 h 10125"/>
                    <a:gd name="connsiteX71" fmla="*/ 8508 w 10000"/>
                    <a:gd name="connsiteY71" fmla="*/ 4540 h 10125"/>
                    <a:gd name="connsiteX72" fmla="*/ 8730 w 10000"/>
                    <a:gd name="connsiteY72" fmla="*/ 5068 h 10125"/>
                    <a:gd name="connsiteX73" fmla="*/ 8972 w 10000"/>
                    <a:gd name="connsiteY73" fmla="*/ 4351 h 10125"/>
                    <a:gd name="connsiteX74" fmla="*/ 9294 w 10000"/>
                    <a:gd name="connsiteY74" fmla="*/ 4238 h 10125"/>
                    <a:gd name="connsiteX75" fmla="*/ 9415 w 10000"/>
                    <a:gd name="connsiteY75" fmla="*/ 3389 h 10125"/>
                    <a:gd name="connsiteX76" fmla="*/ 9738 w 10000"/>
                    <a:gd name="connsiteY76" fmla="*/ 3163 h 10125"/>
                    <a:gd name="connsiteX77" fmla="*/ 10000 w 10000"/>
                    <a:gd name="connsiteY77" fmla="*/ 2729 h 10125"/>
                    <a:gd name="connsiteX78" fmla="*/ 9617 w 10000"/>
                    <a:gd name="connsiteY78" fmla="*/ 2653 h 10125"/>
                    <a:gd name="connsiteX79" fmla="*/ 9294 w 10000"/>
                    <a:gd name="connsiteY79" fmla="*/ 2351 h 10125"/>
                    <a:gd name="connsiteX80" fmla="*/ 8065 w 10000"/>
                    <a:gd name="connsiteY80" fmla="*/ 2974 h 10125"/>
                    <a:gd name="connsiteX81" fmla="*/ 7823 w 10000"/>
                    <a:gd name="connsiteY81" fmla="*/ 3389 h 10125"/>
                    <a:gd name="connsiteX82" fmla="*/ 7621 w 10000"/>
                    <a:gd name="connsiteY82" fmla="*/ 3502 h 10125"/>
                    <a:gd name="connsiteX83" fmla="*/ 7500 w 10000"/>
                    <a:gd name="connsiteY83" fmla="*/ 3276 h 10125"/>
                    <a:gd name="connsiteX84" fmla="*/ 7036 w 10000"/>
                    <a:gd name="connsiteY84" fmla="*/ 3163 h 10125"/>
                    <a:gd name="connsiteX85" fmla="*/ 7157 w 10000"/>
                    <a:gd name="connsiteY85" fmla="*/ 2974 h 10125"/>
                    <a:gd name="connsiteX0" fmla="*/ 7157 w 10000"/>
                    <a:gd name="connsiteY0" fmla="*/ 3019 h 10170"/>
                    <a:gd name="connsiteX1" fmla="*/ 6956 w 10000"/>
                    <a:gd name="connsiteY1" fmla="*/ 2887 h 10170"/>
                    <a:gd name="connsiteX2" fmla="*/ 6714 w 10000"/>
                    <a:gd name="connsiteY2" fmla="*/ 2887 h 10170"/>
                    <a:gd name="connsiteX3" fmla="*/ 6714 w 10000"/>
                    <a:gd name="connsiteY3" fmla="*/ 3132 h 10170"/>
                    <a:gd name="connsiteX4" fmla="*/ 6835 w 10000"/>
                    <a:gd name="connsiteY4" fmla="*/ 3661 h 10170"/>
                    <a:gd name="connsiteX5" fmla="*/ 5806 w 10000"/>
                    <a:gd name="connsiteY5" fmla="*/ 3434 h 10170"/>
                    <a:gd name="connsiteX6" fmla="*/ 5484 w 10000"/>
                    <a:gd name="connsiteY6" fmla="*/ 3132 h 10170"/>
                    <a:gd name="connsiteX7" fmla="*/ 4919 w 10000"/>
                    <a:gd name="connsiteY7" fmla="*/ 3208 h 10170"/>
                    <a:gd name="connsiteX8" fmla="*/ 4839 w 10000"/>
                    <a:gd name="connsiteY8" fmla="*/ 3019 h 10170"/>
                    <a:gd name="connsiteX9" fmla="*/ 3891 w 10000"/>
                    <a:gd name="connsiteY9" fmla="*/ 2774 h 10170"/>
                    <a:gd name="connsiteX10" fmla="*/ 3891 w 10000"/>
                    <a:gd name="connsiteY10" fmla="*/ 2057 h 10170"/>
                    <a:gd name="connsiteX11" fmla="*/ 3246 w 10000"/>
                    <a:gd name="connsiteY11" fmla="*/ 1623 h 10170"/>
                    <a:gd name="connsiteX12" fmla="*/ 3024 w 10000"/>
                    <a:gd name="connsiteY12" fmla="*/ 1434 h 10170"/>
                    <a:gd name="connsiteX13" fmla="*/ 3367 w 10000"/>
                    <a:gd name="connsiteY13" fmla="*/ 1208 h 10170"/>
                    <a:gd name="connsiteX14" fmla="*/ 3105 w 10000"/>
                    <a:gd name="connsiteY14" fmla="*/ 906 h 10170"/>
                    <a:gd name="connsiteX15" fmla="*/ 3367 w 10000"/>
                    <a:gd name="connsiteY15" fmla="*/ 679 h 10170"/>
                    <a:gd name="connsiteX16" fmla="*/ 3517 w 10000"/>
                    <a:gd name="connsiteY16" fmla="*/ 624 h 10170"/>
                    <a:gd name="connsiteX17" fmla="*/ 3527 w 10000"/>
                    <a:gd name="connsiteY17" fmla="*/ 368 h 10170"/>
                    <a:gd name="connsiteX18" fmla="*/ 3343 w 10000"/>
                    <a:gd name="connsiteY18" fmla="*/ 92 h 10170"/>
                    <a:gd name="connsiteX19" fmla="*/ 2278 w 10000"/>
                    <a:gd name="connsiteY19" fmla="*/ 238 h 10170"/>
                    <a:gd name="connsiteX20" fmla="*/ 1946 w 10000"/>
                    <a:gd name="connsiteY20" fmla="*/ 45 h 10170"/>
                    <a:gd name="connsiteX21" fmla="*/ 1422 w 10000"/>
                    <a:gd name="connsiteY21" fmla="*/ 0 h 10170"/>
                    <a:gd name="connsiteX22" fmla="*/ 1363 w 10000"/>
                    <a:gd name="connsiteY22" fmla="*/ 391 h 10170"/>
                    <a:gd name="connsiteX23" fmla="*/ 1194 w 10000"/>
                    <a:gd name="connsiteY23" fmla="*/ 671 h 10170"/>
                    <a:gd name="connsiteX24" fmla="*/ 1351 w 10000"/>
                    <a:gd name="connsiteY24" fmla="*/ 1019 h 10170"/>
                    <a:gd name="connsiteX25" fmla="*/ 1895 w 10000"/>
                    <a:gd name="connsiteY25" fmla="*/ 1434 h 10170"/>
                    <a:gd name="connsiteX26" fmla="*/ 1673 w 10000"/>
                    <a:gd name="connsiteY26" fmla="*/ 1623 h 10170"/>
                    <a:gd name="connsiteX27" fmla="*/ 1673 w 10000"/>
                    <a:gd name="connsiteY27" fmla="*/ 1944 h 10170"/>
                    <a:gd name="connsiteX28" fmla="*/ 907 w 10000"/>
                    <a:gd name="connsiteY28" fmla="*/ 3019 h 10170"/>
                    <a:gd name="connsiteX29" fmla="*/ 323 w 10000"/>
                    <a:gd name="connsiteY29" fmla="*/ 3208 h 10170"/>
                    <a:gd name="connsiteX30" fmla="*/ 1028 w 10000"/>
                    <a:gd name="connsiteY30" fmla="*/ 4038 h 10170"/>
                    <a:gd name="connsiteX31" fmla="*/ 786 w 10000"/>
                    <a:gd name="connsiteY31" fmla="*/ 4283 h 10170"/>
                    <a:gd name="connsiteX32" fmla="*/ 0 w 10000"/>
                    <a:gd name="connsiteY32" fmla="*/ 4472 h 10170"/>
                    <a:gd name="connsiteX33" fmla="*/ 202 w 10000"/>
                    <a:gd name="connsiteY33" fmla="*/ 4812 h 10170"/>
                    <a:gd name="connsiteX34" fmla="*/ 665 w 10000"/>
                    <a:gd name="connsiteY34" fmla="*/ 4812 h 10170"/>
                    <a:gd name="connsiteX35" fmla="*/ 323 w 10000"/>
                    <a:gd name="connsiteY35" fmla="*/ 5000 h 10170"/>
                    <a:gd name="connsiteX36" fmla="*/ 786 w 10000"/>
                    <a:gd name="connsiteY36" fmla="*/ 5547 h 10170"/>
                    <a:gd name="connsiteX37" fmla="*/ 1109 w 10000"/>
                    <a:gd name="connsiteY37" fmla="*/ 5302 h 10170"/>
                    <a:gd name="connsiteX38" fmla="*/ 1431 w 10000"/>
                    <a:gd name="connsiteY38" fmla="*/ 4925 h 10170"/>
                    <a:gd name="connsiteX39" fmla="*/ 1552 w 10000"/>
                    <a:gd name="connsiteY39" fmla="*/ 5227 h 10170"/>
                    <a:gd name="connsiteX40" fmla="*/ 1794 w 10000"/>
                    <a:gd name="connsiteY40" fmla="*/ 5302 h 10170"/>
                    <a:gd name="connsiteX41" fmla="*/ 1794 w 10000"/>
                    <a:gd name="connsiteY41" fmla="*/ 6812 h 10170"/>
                    <a:gd name="connsiteX42" fmla="*/ 2339 w 10000"/>
                    <a:gd name="connsiteY42" fmla="*/ 7642 h 10170"/>
                    <a:gd name="connsiteX43" fmla="*/ 2581 w 10000"/>
                    <a:gd name="connsiteY43" fmla="*/ 8189 h 10170"/>
                    <a:gd name="connsiteX44" fmla="*/ 3488 w 10000"/>
                    <a:gd name="connsiteY44" fmla="*/ 9830 h 10170"/>
                    <a:gd name="connsiteX45" fmla="*/ 3810 w 10000"/>
                    <a:gd name="connsiteY45" fmla="*/ 10170 h 10170"/>
                    <a:gd name="connsiteX46" fmla="*/ 4375 w 10000"/>
                    <a:gd name="connsiteY46" fmla="*/ 9755 h 10170"/>
                    <a:gd name="connsiteX47" fmla="*/ 4254 w 10000"/>
                    <a:gd name="connsiteY47" fmla="*/ 9528 h 10170"/>
                    <a:gd name="connsiteX48" fmla="*/ 4456 w 10000"/>
                    <a:gd name="connsiteY48" fmla="*/ 9340 h 10170"/>
                    <a:gd name="connsiteX49" fmla="*/ 4456 w 10000"/>
                    <a:gd name="connsiteY49" fmla="*/ 9019 h 10170"/>
                    <a:gd name="connsiteX50" fmla="*/ 4375 w 10000"/>
                    <a:gd name="connsiteY50" fmla="*/ 8906 h 10170"/>
                    <a:gd name="connsiteX51" fmla="*/ 4718 w 10000"/>
                    <a:gd name="connsiteY51" fmla="*/ 8264 h 10170"/>
                    <a:gd name="connsiteX52" fmla="*/ 4597 w 10000"/>
                    <a:gd name="connsiteY52" fmla="*/ 8076 h 10170"/>
                    <a:gd name="connsiteX53" fmla="*/ 4597 w 10000"/>
                    <a:gd name="connsiteY53" fmla="*/ 7340 h 10170"/>
                    <a:gd name="connsiteX54" fmla="*/ 4919 w 10000"/>
                    <a:gd name="connsiteY54" fmla="*/ 7227 h 10170"/>
                    <a:gd name="connsiteX55" fmla="*/ 5806 w 10000"/>
                    <a:gd name="connsiteY55" fmla="*/ 6378 h 10170"/>
                    <a:gd name="connsiteX56" fmla="*/ 5806 w 10000"/>
                    <a:gd name="connsiteY56" fmla="*/ 6076 h 10170"/>
                    <a:gd name="connsiteX57" fmla="*/ 6714 w 10000"/>
                    <a:gd name="connsiteY57" fmla="*/ 5661 h 10170"/>
                    <a:gd name="connsiteX58" fmla="*/ 6593 w 10000"/>
                    <a:gd name="connsiteY58" fmla="*/ 5434 h 10170"/>
                    <a:gd name="connsiteX59" fmla="*/ 6956 w 10000"/>
                    <a:gd name="connsiteY59" fmla="*/ 5227 h 10170"/>
                    <a:gd name="connsiteX60" fmla="*/ 7500 w 10000"/>
                    <a:gd name="connsiteY60" fmla="*/ 5227 h 10170"/>
                    <a:gd name="connsiteX61" fmla="*/ 7379 w 10000"/>
                    <a:gd name="connsiteY61" fmla="*/ 4585 h 10170"/>
                    <a:gd name="connsiteX62" fmla="*/ 6956 w 10000"/>
                    <a:gd name="connsiteY62" fmla="*/ 4396 h 10170"/>
                    <a:gd name="connsiteX63" fmla="*/ 7157 w 10000"/>
                    <a:gd name="connsiteY63" fmla="*/ 4038 h 10170"/>
                    <a:gd name="connsiteX64" fmla="*/ 6956 w 10000"/>
                    <a:gd name="connsiteY64" fmla="*/ 3849 h 10170"/>
                    <a:gd name="connsiteX65" fmla="*/ 7036 w 10000"/>
                    <a:gd name="connsiteY65" fmla="*/ 3661 h 10170"/>
                    <a:gd name="connsiteX66" fmla="*/ 7379 w 10000"/>
                    <a:gd name="connsiteY66" fmla="*/ 3661 h 10170"/>
                    <a:gd name="connsiteX67" fmla="*/ 7621 w 10000"/>
                    <a:gd name="connsiteY67" fmla="*/ 4038 h 10170"/>
                    <a:gd name="connsiteX68" fmla="*/ 8387 w 10000"/>
                    <a:gd name="connsiteY68" fmla="*/ 4038 h 10170"/>
                    <a:gd name="connsiteX69" fmla="*/ 8185 w 10000"/>
                    <a:gd name="connsiteY69" fmla="*/ 4585 h 10170"/>
                    <a:gd name="connsiteX70" fmla="*/ 8387 w 10000"/>
                    <a:gd name="connsiteY70" fmla="*/ 4698 h 10170"/>
                    <a:gd name="connsiteX71" fmla="*/ 8508 w 10000"/>
                    <a:gd name="connsiteY71" fmla="*/ 4585 h 10170"/>
                    <a:gd name="connsiteX72" fmla="*/ 8730 w 10000"/>
                    <a:gd name="connsiteY72" fmla="*/ 5113 h 10170"/>
                    <a:gd name="connsiteX73" fmla="*/ 8972 w 10000"/>
                    <a:gd name="connsiteY73" fmla="*/ 4396 h 10170"/>
                    <a:gd name="connsiteX74" fmla="*/ 9294 w 10000"/>
                    <a:gd name="connsiteY74" fmla="*/ 4283 h 10170"/>
                    <a:gd name="connsiteX75" fmla="*/ 9415 w 10000"/>
                    <a:gd name="connsiteY75" fmla="*/ 3434 h 10170"/>
                    <a:gd name="connsiteX76" fmla="*/ 9738 w 10000"/>
                    <a:gd name="connsiteY76" fmla="*/ 3208 h 10170"/>
                    <a:gd name="connsiteX77" fmla="*/ 10000 w 10000"/>
                    <a:gd name="connsiteY77" fmla="*/ 2774 h 10170"/>
                    <a:gd name="connsiteX78" fmla="*/ 9617 w 10000"/>
                    <a:gd name="connsiteY78" fmla="*/ 2698 h 10170"/>
                    <a:gd name="connsiteX79" fmla="*/ 9294 w 10000"/>
                    <a:gd name="connsiteY79" fmla="*/ 2396 h 10170"/>
                    <a:gd name="connsiteX80" fmla="*/ 8065 w 10000"/>
                    <a:gd name="connsiteY80" fmla="*/ 3019 h 10170"/>
                    <a:gd name="connsiteX81" fmla="*/ 7823 w 10000"/>
                    <a:gd name="connsiteY81" fmla="*/ 3434 h 10170"/>
                    <a:gd name="connsiteX82" fmla="*/ 7621 w 10000"/>
                    <a:gd name="connsiteY82" fmla="*/ 3547 h 10170"/>
                    <a:gd name="connsiteX83" fmla="*/ 7500 w 10000"/>
                    <a:gd name="connsiteY83" fmla="*/ 3321 h 10170"/>
                    <a:gd name="connsiteX84" fmla="*/ 7036 w 10000"/>
                    <a:gd name="connsiteY84" fmla="*/ 3208 h 10170"/>
                    <a:gd name="connsiteX85" fmla="*/ 7157 w 10000"/>
                    <a:gd name="connsiteY85" fmla="*/ 3019 h 10170"/>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363 w 10000"/>
                    <a:gd name="connsiteY22" fmla="*/ 603 h 10382"/>
                    <a:gd name="connsiteX23" fmla="*/ 1194 w 10000"/>
                    <a:gd name="connsiteY23" fmla="*/ 883 h 10382"/>
                    <a:gd name="connsiteX24" fmla="*/ 1351 w 10000"/>
                    <a:gd name="connsiteY24" fmla="*/ 1231 h 10382"/>
                    <a:gd name="connsiteX25" fmla="*/ 1895 w 10000"/>
                    <a:gd name="connsiteY25" fmla="*/ 1646 h 10382"/>
                    <a:gd name="connsiteX26" fmla="*/ 1673 w 10000"/>
                    <a:gd name="connsiteY26" fmla="*/ 1835 h 10382"/>
                    <a:gd name="connsiteX27" fmla="*/ 1673 w 10000"/>
                    <a:gd name="connsiteY27" fmla="*/ 2156 h 10382"/>
                    <a:gd name="connsiteX28" fmla="*/ 907 w 10000"/>
                    <a:gd name="connsiteY28" fmla="*/ 3231 h 10382"/>
                    <a:gd name="connsiteX29" fmla="*/ 323 w 10000"/>
                    <a:gd name="connsiteY29" fmla="*/ 3420 h 10382"/>
                    <a:gd name="connsiteX30" fmla="*/ 1028 w 10000"/>
                    <a:gd name="connsiteY30" fmla="*/ 4250 h 10382"/>
                    <a:gd name="connsiteX31" fmla="*/ 786 w 10000"/>
                    <a:gd name="connsiteY31" fmla="*/ 4495 h 10382"/>
                    <a:gd name="connsiteX32" fmla="*/ 0 w 10000"/>
                    <a:gd name="connsiteY32" fmla="*/ 4684 h 10382"/>
                    <a:gd name="connsiteX33" fmla="*/ 202 w 10000"/>
                    <a:gd name="connsiteY33" fmla="*/ 5024 h 10382"/>
                    <a:gd name="connsiteX34" fmla="*/ 665 w 10000"/>
                    <a:gd name="connsiteY34" fmla="*/ 5024 h 10382"/>
                    <a:gd name="connsiteX35" fmla="*/ 323 w 10000"/>
                    <a:gd name="connsiteY35" fmla="*/ 5212 h 10382"/>
                    <a:gd name="connsiteX36" fmla="*/ 786 w 10000"/>
                    <a:gd name="connsiteY36" fmla="*/ 5759 h 10382"/>
                    <a:gd name="connsiteX37" fmla="*/ 1109 w 10000"/>
                    <a:gd name="connsiteY37" fmla="*/ 5514 h 10382"/>
                    <a:gd name="connsiteX38" fmla="*/ 1431 w 10000"/>
                    <a:gd name="connsiteY38" fmla="*/ 5137 h 10382"/>
                    <a:gd name="connsiteX39" fmla="*/ 1552 w 10000"/>
                    <a:gd name="connsiteY39" fmla="*/ 5439 h 10382"/>
                    <a:gd name="connsiteX40" fmla="*/ 1794 w 10000"/>
                    <a:gd name="connsiteY40" fmla="*/ 5514 h 10382"/>
                    <a:gd name="connsiteX41" fmla="*/ 1794 w 10000"/>
                    <a:gd name="connsiteY41" fmla="*/ 7024 h 10382"/>
                    <a:gd name="connsiteX42" fmla="*/ 2339 w 10000"/>
                    <a:gd name="connsiteY42" fmla="*/ 7854 h 10382"/>
                    <a:gd name="connsiteX43" fmla="*/ 2581 w 10000"/>
                    <a:gd name="connsiteY43" fmla="*/ 8401 h 10382"/>
                    <a:gd name="connsiteX44" fmla="*/ 3488 w 10000"/>
                    <a:gd name="connsiteY44" fmla="*/ 10042 h 10382"/>
                    <a:gd name="connsiteX45" fmla="*/ 3810 w 10000"/>
                    <a:gd name="connsiteY45" fmla="*/ 10382 h 10382"/>
                    <a:gd name="connsiteX46" fmla="*/ 4375 w 10000"/>
                    <a:gd name="connsiteY46" fmla="*/ 9967 h 10382"/>
                    <a:gd name="connsiteX47" fmla="*/ 4254 w 10000"/>
                    <a:gd name="connsiteY47" fmla="*/ 9740 h 10382"/>
                    <a:gd name="connsiteX48" fmla="*/ 4456 w 10000"/>
                    <a:gd name="connsiteY48" fmla="*/ 9552 h 10382"/>
                    <a:gd name="connsiteX49" fmla="*/ 4456 w 10000"/>
                    <a:gd name="connsiteY49" fmla="*/ 9231 h 10382"/>
                    <a:gd name="connsiteX50" fmla="*/ 4375 w 10000"/>
                    <a:gd name="connsiteY50" fmla="*/ 9118 h 10382"/>
                    <a:gd name="connsiteX51" fmla="*/ 4718 w 10000"/>
                    <a:gd name="connsiteY51" fmla="*/ 8476 h 10382"/>
                    <a:gd name="connsiteX52" fmla="*/ 4597 w 10000"/>
                    <a:gd name="connsiteY52" fmla="*/ 8288 h 10382"/>
                    <a:gd name="connsiteX53" fmla="*/ 4597 w 10000"/>
                    <a:gd name="connsiteY53" fmla="*/ 7552 h 10382"/>
                    <a:gd name="connsiteX54" fmla="*/ 4919 w 10000"/>
                    <a:gd name="connsiteY54" fmla="*/ 7439 h 10382"/>
                    <a:gd name="connsiteX55" fmla="*/ 5806 w 10000"/>
                    <a:gd name="connsiteY55" fmla="*/ 6590 h 10382"/>
                    <a:gd name="connsiteX56" fmla="*/ 5806 w 10000"/>
                    <a:gd name="connsiteY56" fmla="*/ 6288 h 10382"/>
                    <a:gd name="connsiteX57" fmla="*/ 6714 w 10000"/>
                    <a:gd name="connsiteY57" fmla="*/ 5873 h 10382"/>
                    <a:gd name="connsiteX58" fmla="*/ 6593 w 10000"/>
                    <a:gd name="connsiteY58" fmla="*/ 5646 h 10382"/>
                    <a:gd name="connsiteX59" fmla="*/ 6956 w 10000"/>
                    <a:gd name="connsiteY59" fmla="*/ 5439 h 10382"/>
                    <a:gd name="connsiteX60" fmla="*/ 7500 w 10000"/>
                    <a:gd name="connsiteY60" fmla="*/ 5439 h 10382"/>
                    <a:gd name="connsiteX61" fmla="*/ 7379 w 10000"/>
                    <a:gd name="connsiteY61" fmla="*/ 4797 h 10382"/>
                    <a:gd name="connsiteX62" fmla="*/ 6956 w 10000"/>
                    <a:gd name="connsiteY62" fmla="*/ 4608 h 10382"/>
                    <a:gd name="connsiteX63" fmla="*/ 7157 w 10000"/>
                    <a:gd name="connsiteY63" fmla="*/ 4250 h 10382"/>
                    <a:gd name="connsiteX64" fmla="*/ 6956 w 10000"/>
                    <a:gd name="connsiteY64" fmla="*/ 4061 h 10382"/>
                    <a:gd name="connsiteX65" fmla="*/ 7036 w 10000"/>
                    <a:gd name="connsiteY65" fmla="*/ 3873 h 10382"/>
                    <a:gd name="connsiteX66" fmla="*/ 7379 w 10000"/>
                    <a:gd name="connsiteY66" fmla="*/ 3873 h 10382"/>
                    <a:gd name="connsiteX67" fmla="*/ 7621 w 10000"/>
                    <a:gd name="connsiteY67" fmla="*/ 4250 h 10382"/>
                    <a:gd name="connsiteX68" fmla="*/ 8387 w 10000"/>
                    <a:gd name="connsiteY68" fmla="*/ 4250 h 10382"/>
                    <a:gd name="connsiteX69" fmla="*/ 8185 w 10000"/>
                    <a:gd name="connsiteY69" fmla="*/ 4797 h 10382"/>
                    <a:gd name="connsiteX70" fmla="*/ 8387 w 10000"/>
                    <a:gd name="connsiteY70" fmla="*/ 4910 h 10382"/>
                    <a:gd name="connsiteX71" fmla="*/ 8508 w 10000"/>
                    <a:gd name="connsiteY71" fmla="*/ 4797 h 10382"/>
                    <a:gd name="connsiteX72" fmla="*/ 8730 w 10000"/>
                    <a:gd name="connsiteY72" fmla="*/ 5325 h 10382"/>
                    <a:gd name="connsiteX73" fmla="*/ 8972 w 10000"/>
                    <a:gd name="connsiteY73" fmla="*/ 4608 h 10382"/>
                    <a:gd name="connsiteX74" fmla="*/ 9294 w 10000"/>
                    <a:gd name="connsiteY74" fmla="*/ 4495 h 10382"/>
                    <a:gd name="connsiteX75" fmla="*/ 9415 w 10000"/>
                    <a:gd name="connsiteY75" fmla="*/ 3646 h 10382"/>
                    <a:gd name="connsiteX76" fmla="*/ 9738 w 10000"/>
                    <a:gd name="connsiteY76" fmla="*/ 3420 h 10382"/>
                    <a:gd name="connsiteX77" fmla="*/ 10000 w 10000"/>
                    <a:gd name="connsiteY77" fmla="*/ 2986 h 10382"/>
                    <a:gd name="connsiteX78" fmla="*/ 9617 w 10000"/>
                    <a:gd name="connsiteY78" fmla="*/ 2910 h 10382"/>
                    <a:gd name="connsiteX79" fmla="*/ 9294 w 10000"/>
                    <a:gd name="connsiteY79" fmla="*/ 2608 h 10382"/>
                    <a:gd name="connsiteX80" fmla="*/ 8065 w 10000"/>
                    <a:gd name="connsiteY80" fmla="*/ 3231 h 10382"/>
                    <a:gd name="connsiteX81" fmla="*/ 7823 w 10000"/>
                    <a:gd name="connsiteY81" fmla="*/ 3646 h 10382"/>
                    <a:gd name="connsiteX82" fmla="*/ 7621 w 10000"/>
                    <a:gd name="connsiteY82" fmla="*/ 3759 h 10382"/>
                    <a:gd name="connsiteX83" fmla="*/ 7500 w 10000"/>
                    <a:gd name="connsiteY83" fmla="*/ 3533 h 10382"/>
                    <a:gd name="connsiteX84" fmla="*/ 7036 w 10000"/>
                    <a:gd name="connsiteY84" fmla="*/ 3420 h 10382"/>
                    <a:gd name="connsiteX85" fmla="*/ 7157 w 10000"/>
                    <a:gd name="connsiteY85"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434 w 10000"/>
                    <a:gd name="connsiteY22" fmla="*/ 2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63 w 10000"/>
                    <a:gd name="connsiteY23" fmla="*/ 603 h 10382"/>
                    <a:gd name="connsiteX24" fmla="*/ 1194 w 10000"/>
                    <a:gd name="connsiteY24" fmla="*/ 883 h 10382"/>
                    <a:gd name="connsiteX25" fmla="*/ 1351 w 10000"/>
                    <a:gd name="connsiteY25" fmla="*/ 1231 h 10382"/>
                    <a:gd name="connsiteX26" fmla="*/ 1895 w 10000"/>
                    <a:gd name="connsiteY26" fmla="*/ 1646 h 10382"/>
                    <a:gd name="connsiteX27" fmla="*/ 1673 w 10000"/>
                    <a:gd name="connsiteY27" fmla="*/ 1835 h 10382"/>
                    <a:gd name="connsiteX28" fmla="*/ 1673 w 10000"/>
                    <a:gd name="connsiteY28" fmla="*/ 2156 h 10382"/>
                    <a:gd name="connsiteX29" fmla="*/ 907 w 10000"/>
                    <a:gd name="connsiteY29" fmla="*/ 3231 h 10382"/>
                    <a:gd name="connsiteX30" fmla="*/ 323 w 10000"/>
                    <a:gd name="connsiteY30" fmla="*/ 3420 h 10382"/>
                    <a:gd name="connsiteX31" fmla="*/ 1028 w 10000"/>
                    <a:gd name="connsiteY31" fmla="*/ 4250 h 10382"/>
                    <a:gd name="connsiteX32" fmla="*/ 786 w 10000"/>
                    <a:gd name="connsiteY32" fmla="*/ 4495 h 10382"/>
                    <a:gd name="connsiteX33" fmla="*/ 0 w 10000"/>
                    <a:gd name="connsiteY33" fmla="*/ 4684 h 10382"/>
                    <a:gd name="connsiteX34" fmla="*/ 202 w 10000"/>
                    <a:gd name="connsiteY34" fmla="*/ 5024 h 10382"/>
                    <a:gd name="connsiteX35" fmla="*/ 665 w 10000"/>
                    <a:gd name="connsiteY35" fmla="*/ 5024 h 10382"/>
                    <a:gd name="connsiteX36" fmla="*/ 323 w 10000"/>
                    <a:gd name="connsiteY36" fmla="*/ 5212 h 10382"/>
                    <a:gd name="connsiteX37" fmla="*/ 786 w 10000"/>
                    <a:gd name="connsiteY37" fmla="*/ 5759 h 10382"/>
                    <a:gd name="connsiteX38" fmla="*/ 1109 w 10000"/>
                    <a:gd name="connsiteY38" fmla="*/ 5514 h 10382"/>
                    <a:gd name="connsiteX39" fmla="*/ 1431 w 10000"/>
                    <a:gd name="connsiteY39" fmla="*/ 5137 h 10382"/>
                    <a:gd name="connsiteX40" fmla="*/ 1552 w 10000"/>
                    <a:gd name="connsiteY40" fmla="*/ 5439 h 10382"/>
                    <a:gd name="connsiteX41" fmla="*/ 1794 w 10000"/>
                    <a:gd name="connsiteY41" fmla="*/ 5514 h 10382"/>
                    <a:gd name="connsiteX42" fmla="*/ 1794 w 10000"/>
                    <a:gd name="connsiteY42" fmla="*/ 7024 h 10382"/>
                    <a:gd name="connsiteX43" fmla="*/ 2339 w 10000"/>
                    <a:gd name="connsiteY43" fmla="*/ 7854 h 10382"/>
                    <a:gd name="connsiteX44" fmla="*/ 2581 w 10000"/>
                    <a:gd name="connsiteY44" fmla="*/ 8401 h 10382"/>
                    <a:gd name="connsiteX45" fmla="*/ 3488 w 10000"/>
                    <a:gd name="connsiteY45" fmla="*/ 10042 h 10382"/>
                    <a:gd name="connsiteX46" fmla="*/ 3810 w 10000"/>
                    <a:gd name="connsiteY46" fmla="*/ 10382 h 10382"/>
                    <a:gd name="connsiteX47" fmla="*/ 4375 w 10000"/>
                    <a:gd name="connsiteY47" fmla="*/ 9967 h 10382"/>
                    <a:gd name="connsiteX48" fmla="*/ 4254 w 10000"/>
                    <a:gd name="connsiteY48" fmla="*/ 9740 h 10382"/>
                    <a:gd name="connsiteX49" fmla="*/ 4456 w 10000"/>
                    <a:gd name="connsiteY49" fmla="*/ 9552 h 10382"/>
                    <a:gd name="connsiteX50" fmla="*/ 4456 w 10000"/>
                    <a:gd name="connsiteY50" fmla="*/ 9231 h 10382"/>
                    <a:gd name="connsiteX51" fmla="*/ 4375 w 10000"/>
                    <a:gd name="connsiteY51" fmla="*/ 9118 h 10382"/>
                    <a:gd name="connsiteX52" fmla="*/ 4718 w 10000"/>
                    <a:gd name="connsiteY52" fmla="*/ 8476 h 10382"/>
                    <a:gd name="connsiteX53" fmla="*/ 4597 w 10000"/>
                    <a:gd name="connsiteY53" fmla="*/ 8288 h 10382"/>
                    <a:gd name="connsiteX54" fmla="*/ 4597 w 10000"/>
                    <a:gd name="connsiteY54" fmla="*/ 7552 h 10382"/>
                    <a:gd name="connsiteX55" fmla="*/ 4919 w 10000"/>
                    <a:gd name="connsiteY55" fmla="*/ 7439 h 10382"/>
                    <a:gd name="connsiteX56" fmla="*/ 5806 w 10000"/>
                    <a:gd name="connsiteY56" fmla="*/ 6590 h 10382"/>
                    <a:gd name="connsiteX57" fmla="*/ 5806 w 10000"/>
                    <a:gd name="connsiteY57" fmla="*/ 6288 h 10382"/>
                    <a:gd name="connsiteX58" fmla="*/ 6714 w 10000"/>
                    <a:gd name="connsiteY58" fmla="*/ 5873 h 10382"/>
                    <a:gd name="connsiteX59" fmla="*/ 6593 w 10000"/>
                    <a:gd name="connsiteY59" fmla="*/ 5646 h 10382"/>
                    <a:gd name="connsiteX60" fmla="*/ 6956 w 10000"/>
                    <a:gd name="connsiteY60" fmla="*/ 5439 h 10382"/>
                    <a:gd name="connsiteX61" fmla="*/ 7500 w 10000"/>
                    <a:gd name="connsiteY61" fmla="*/ 5439 h 10382"/>
                    <a:gd name="connsiteX62" fmla="*/ 7379 w 10000"/>
                    <a:gd name="connsiteY62" fmla="*/ 4797 h 10382"/>
                    <a:gd name="connsiteX63" fmla="*/ 6956 w 10000"/>
                    <a:gd name="connsiteY63" fmla="*/ 4608 h 10382"/>
                    <a:gd name="connsiteX64" fmla="*/ 7157 w 10000"/>
                    <a:gd name="connsiteY64" fmla="*/ 4250 h 10382"/>
                    <a:gd name="connsiteX65" fmla="*/ 6956 w 10000"/>
                    <a:gd name="connsiteY65" fmla="*/ 4061 h 10382"/>
                    <a:gd name="connsiteX66" fmla="*/ 7036 w 10000"/>
                    <a:gd name="connsiteY66" fmla="*/ 3873 h 10382"/>
                    <a:gd name="connsiteX67" fmla="*/ 7379 w 10000"/>
                    <a:gd name="connsiteY67" fmla="*/ 3873 h 10382"/>
                    <a:gd name="connsiteX68" fmla="*/ 7621 w 10000"/>
                    <a:gd name="connsiteY68" fmla="*/ 4250 h 10382"/>
                    <a:gd name="connsiteX69" fmla="*/ 8387 w 10000"/>
                    <a:gd name="connsiteY69" fmla="*/ 4250 h 10382"/>
                    <a:gd name="connsiteX70" fmla="*/ 8185 w 10000"/>
                    <a:gd name="connsiteY70" fmla="*/ 4797 h 10382"/>
                    <a:gd name="connsiteX71" fmla="*/ 8387 w 10000"/>
                    <a:gd name="connsiteY71" fmla="*/ 4910 h 10382"/>
                    <a:gd name="connsiteX72" fmla="*/ 8508 w 10000"/>
                    <a:gd name="connsiteY72" fmla="*/ 4797 h 10382"/>
                    <a:gd name="connsiteX73" fmla="*/ 8730 w 10000"/>
                    <a:gd name="connsiteY73" fmla="*/ 5325 h 10382"/>
                    <a:gd name="connsiteX74" fmla="*/ 8972 w 10000"/>
                    <a:gd name="connsiteY74" fmla="*/ 4608 h 10382"/>
                    <a:gd name="connsiteX75" fmla="*/ 9294 w 10000"/>
                    <a:gd name="connsiteY75" fmla="*/ 4495 h 10382"/>
                    <a:gd name="connsiteX76" fmla="*/ 9415 w 10000"/>
                    <a:gd name="connsiteY76" fmla="*/ 3646 h 10382"/>
                    <a:gd name="connsiteX77" fmla="*/ 9738 w 10000"/>
                    <a:gd name="connsiteY77" fmla="*/ 3420 h 10382"/>
                    <a:gd name="connsiteX78" fmla="*/ 10000 w 10000"/>
                    <a:gd name="connsiteY78" fmla="*/ 2986 h 10382"/>
                    <a:gd name="connsiteX79" fmla="*/ 9617 w 10000"/>
                    <a:gd name="connsiteY79" fmla="*/ 2910 h 10382"/>
                    <a:gd name="connsiteX80" fmla="*/ 9294 w 10000"/>
                    <a:gd name="connsiteY80" fmla="*/ 2608 h 10382"/>
                    <a:gd name="connsiteX81" fmla="*/ 8065 w 10000"/>
                    <a:gd name="connsiteY81" fmla="*/ 3231 h 10382"/>
                    <a:gd name="connsiteX82" fmla="*/ 7823 w 10000"/>
                    <a:gd name="connsiteY82" fmla="*/ 3646 h 10382"/>
                    <a:gd name="connsiteX83" fmla="*/ 7621 w 10000"/>
                    <a:gd name="connsiteY83" fmla="*/ 3759 h 10382"/>
                    <a:gd name="connsiteX84" fmla="*/ 7500 w 10000"/>
                    <a:gd name="connsiteY84" fmla="*/ 3533 h 10382"/>
                    <a:gd name="connsiteX85" fmla="*/ 7036 w 10000"/>
                    <a:gd name="connsiteY85" fmla="*/ 3420 h 10382"/>
                    <a:gd name="connsiteX86" fmla="*/ 7157 w 10000"/>
                    <a:gd name="connsiteY86"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315 w 10000"/>
                    <a:gd name="connsiteY23" fmla="*/ 424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553 w 10000"/>
                    <a:gd name="connsiteY23" fmla="*/ 680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363 w 10000"/>
                    <a:gd name="connsiteY24" fmla="*/ 603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613 w 10000"/>
                    <a:gd name="connsiteY24" fmla="*/ 547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194 w 10000"/>
                    <a:gd name="connsiteY25" fmla="*/ 883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351 w 10000"/>
                    <a:gd name="connsiteY26" fmla="*/ 1231 h 10382"/>
                    <a:gd name="connsiteX27" fmla="*/ 1895 w 10000"/>
                    <a:gd name="connsiteY27" fmla="*/ 1646 h 10382"/>
                    <a:gd name="connsiteX28" fmla="*/ 1673 w 10000"/>
                    <a:gd name="connsiteY28" fmla="*/ 1835 h 10382"/>
                    <a:gd name="connsiteX29" fmla="*/ 1673 w 10000"/>
                    <a:gd name="connsiteY29" fmla="*/ 2156 h 10382"/>
                    <a:gd name="connsiteX30" fmla="*/ 907 w 10000"/>
                    <a:gd name="connsiteY30" fmla="*/ 3231 h 10382"/>
                    <a:gd name="connsiteX31" fmla="*/ 323 w 10000"/>
                    <a:gd name="connsiteY31" fmla="*/ 3420 h 10382"/>
                    <a:gd name="connsiteX32" fmla="*/ 1028 w 10000"/>
                    <a:gd name="connsiteY32" fmla="*/ 4250 h 10382"/>
                    <a:gd name="connsiteX33" fmla="*/ 786 w 10000"/>
                    <a:gd name="connsiteY33" fmla="*/ 4495 h 10382"/>
                    <a:gd name="connsiteX34" fmla="*/ 0 w 10000"/>
                    <a:gd name="connsiteY34" fmla="*/ 4684 h 10382"/>
                    <a:gd name="connsiteX35" fmla="*/ 202 w 10000"/>
                    <a:gd name="connsiteY35" fmla="*/ 5024 h 10382"/>
                    <a:gd name="connsiteX36" fmla="*/ 665 w 10000"/>
                    <a:gd name="connsiteY36" fmla="*/ 5024 h 10382"/>
                    <a:gd name="connsiteX37" fmla="*/ 323 w 10000"/>
                    <a:gd name="connsiteY37" fmla="*/ 5212 h 10382"/>
                    <a:gd name="connsiteX38" fmla="*/ 786 w 10000"/>
                    <a:gd name="connsiteY38" fmla="*/ 5759 h 10382"/>
                    <a:gd name="connsiteX39" fmla="*/ 1109 w 10000"/>
                    <a:gd name="connsiteY39" fmla="*/ 5514 h 10382"/>
                    <a:gd name="connsiteX40" fmla="*/ 1431 w 10000"/>
                    <a:gd name="connsiteY40" fmla="*/ 5137 h 10382"/>
                    <a:gd name="connsiteX41" fmla="*/ 1552 w 10000"/>
                    <a:gd name="connsiteY41" fmla="*/ 5439 h 10382"/>
                    <a:gd name="connsiteX42" fmla="*/ 1794 w 10000"/>
                    <a:gd name="connsiteY42" fmla="*/ 5514 h 10382"/>
                    <a:gd name="connsiteX43" fmla="*/ 1794 w 10000"/>
                    <a:gd name="connsiteY43" fmla="*/ 7024 h 10382"/>
                    <a:gd name="connsiteX44" fmla="*/ 2339 w 10000"/>
                    <a:gd name="connsiteY44" fmla="*/ 7854 h 10382"/>
                    <a:gd name="connsiteX45" fmla="*/ 2581 w 10000"/>
                    <a:gd name="connsiteY45" fmla="*/ 8401 h 10382"/>
                    <a:gd name="connsiteX46" fmla="*/ 3488 w 10000"/>
                    <a:gd name="connsiteY46" fmla="*/ 10042 h 10382"/>
                    <a:gd name="connsiteX47" fmla="*/ 3810 w 10000"/>
                    <a:gd name="connsiteY47" fmla="*/ 10382 h 10382"/>
                    <a:gd name="connsiteX48" fmla="*/ 4375 w 10000"/>
                    <a:gd name="connsiteY48" fmla="*/ 9967 h 10382"/>
                    <a:gd name="connsiteX49" fmla="*/ 4254 w 10000"/>
                    <a:gd name="connsiteY49" fmla="*/ 9740 h 10382"/>
                    <a:gd name="connsiteX50" fmla="*/ 4456 w 10000"/>
                    <a:gd name="connsiteY50" fmla="*/ 9552 h 10382"/>
                    <a:gd name="connsiteX51" fmla="*/ 4456 w 10000"/>
                    <a:gd name="connsiteY51" fmla="*/ 9231 h 10382"/>
                    <a:gd name="connsiteX52" fmla="*/ 4375 w 10000"/>
                    <a:gd name="connsiteY52" fmla="*/ 9118 h 10382"/>
                    <a:gd name="connsiteX53" fmla="*/ 4718 w 10000"/>
                    <a:gd name="connsiteY53" fmla="*/ 8476 h 10382"/>
                    <a:gd name="connsiteX54" fmla="*/ 4597 w 10000"/>
                    <a:gd name="connsiteY54" fmla="*/ 8288 h 10382"/>
                    <a:gd name="connsiteX55" fmla="*/ 4597 w 10000"/>
                    <a:gd name="connsiteY55" fmla="*/ 7552 h 10382"/>
                    <a:gd name="connsiteX56" fmla="*/ 4919 w 10000"/>
                    <a:gd name="connsiteY56" fmla="*/ 7439 h 10382"/>
                    <a:gd name="connsiteX57" fmla="*/ 5806 w 10000"/>
                    <a:gd name="connsiteY57" fmla="*/ 6590 h 10382"/>
                    <a:gd name="connsiteX58" fmla="*/ 5806 w 10000"/>
                    <a:gd name="connsiteY58" fmla="*/ 6288 h 10382"/>
                    <a:gd name="connsiteX59" fmla="*/ 6714 w 10000"/>
                    <a:gd name="connsiteY59" fmla="*/ 5873 h 10382"/>
                    <a:gd name="connsiteX60" fmla="*/ 6593 w 10000"/>
                    <a:gd name="connsiteY60" fmla="*/ 5646 h 10382"/>
                    <a:gd name="connsiteX61" fmla="*/ 6956 w 10000"/>
                    <a:gd name="connsiteY61" fmla="*/ 5439 h 10382"/>
                    <a:gd name="connsiteX62" fmla="*/ 7500 w 10000"/>
                    <a:gd name="connsiteY62" fmla="*/ 5439 h 10382"/>
                    <a:gd name="connsiteX63" fmla="*/ 7379 w 10000"/>
                    <a:gd name="connsiteY63" fmla="*/ 4797 h 10382"/>
                    <a:gd name="connsiteX64" fmla="*/ 6956 w 10000"/>
                    <a:gd name="connsiteY64" fmla="*/ 4608 h 10382"/>
                    <a:gd name="connsiteX65" fmla="*/ 7157 w 10000"/>
                    <a:gd name="connsiteY65" fmla="*/ 4250 h 10382"/>
                    <a:gd name="connsiteX66" fmla="*/ 6956 w 10000"/>
                    <a:gd name="connsiteY66" fmla="*/ 4061 h 10382"/>
                    <a:gd name="connsiteX67" fmla="*/ 7036 w 10000"/>
                    <a:gd name="connsiteY67" fmla="*/ 3873 h 10382"/>
                    <a:gd name="connsiteX68" fmla="*/ 7379 w 10000"/>
                    <a:gd name="connsiteY68" fmla="*/ 3873 h 10382"/>
                    <a:gd name="connsiteX69" fmla="*/ 7621 w 10000"/>
                    <a:gd name="connsiteY69" fmla="*/ 4250 h 10382"/>
                    <a:gd name="connsiteX70" fmla="*/ 8387 w 10000"/>
                    <a:gd name="connsiteY70" fmla="*/ 4250 h 10382"/>
                    <a:gd name="connsiteX71" fmla="*/ 8185 w 10000"/>
                    <a:gd name="connsiteY71" fmla="*/ 4797 h 10382"/>
                    <a:gd name="connsiteX72" fmla="*/ 8387 w 10000"/>
                    <a:gd name="connsiteY72" fmla="*/ 4910 h 10382"/>
                    <a:gd name="connsiteX73" fmla="*/ 8508 w 10000"/>
                    <a:gd name="connsiteY73" fmla="*/ 4797 h 10382"/>
                    <a:gd name="connsiteX74" fmla="*/ 8730 w 10000"/>
                    <a:gd name="connsiteY74" fmla="*/ 5325 h 10382"/>
                    <a:gd name="connsiteX75" fmla="*/ 8972 w 10000"/>
                    <a:gd name="connsiteY75" fmla="*/ 4608 h 10382"/>
                    <a:gd name="connsiteX76" fmla="*/ 9294 w 10000"/>
                    <a:gd name="connsiteY76" fmla="*/ 4495 h 10382"/>
                    <a:gd name="connsiteX77" fmla="*/ 9415 w 10000"/>
                    <a:gd name="connsiteY77" fmla="*/ 3646 h 10382"/>
                    <a:gd name="connsiteX78" fmla="*/ 9738 w 10000"/>
                    <a:gd name="connsiteY78" fmla="*/ 3420 h 10382"/>
                    <a:gd name="connsiteX79" fmla="*/ 10000 w 10000"/>
                    <a:gd name="connsiteY79" fmla="*/ 2986 h 10382"/>
                    <a:gd name="connsiteX80" fmla="*/ 9617 w 10000"/>
                    <a:gd name="connsiteY80" fmla="*/ 2910 h 10382"/>
                    <a:gd name="connsiteX81" fmla="*/ 9294 w 10000"/>
                    <a:gd name="connsiteY81" fmla="*/ 2608 h 10382"/>
                    <a:gd name="connsiteX82" fmla="*/ 8065 w 10000"/>
                    <a:gd name="connsiteY82" fmla="*/ 3231 h 10382"/>
                    <a:gd name="connsiteX83" fmla="*/ 7823 w 10000"/>
                    <a:gd name="connsiteY83" fmla="*/ 3646 h 10382"/>
                    <a:gd name="connsiteX84" fmla="*/ 7621 w 10000"/>
                    <a:gd name="connsiteY84" fmla="*/ 3759 h 10382"/>
                    <a:gd name="connsiteX85" fmla="*/ 7500 w 10000"/>
                    <a:gd name="connsiteY85" fmla="*/ 3533 h 10382"/>
                    <a:gd name="connsiteX86" fmla="*/ 7036 w 10000"/>
                    <a:gd name="connsiteY86" fmla="*/ 3420 h 10382"/>
                    <a:gd name="connsiteX87" fmla="*/ 7157 w 10000"/>
                    <a:gd name="connsiteY87"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315 w 10000"/>
                    <a:gd name="connsiteY26" fmla="*/ 1003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756 w 10000"/>
                    <a:gd name="connsiteY26" fmla="*/ 1170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482 w 10000"/>
                    <a:gd name="connsiteY21" fmla="*/ 0 h 10382"/>
                    <a:gd name="connsiteX22" fmla="*/ 1244 w 10000"/>
                    <a:gd name="connsiteY22" fmla="*/ 190 h 10382"/>
                    <a:gd name="connsiteX23" fmla="*/ 1184 w 10000"/>
                    <a:gd name="connsiteY23" fmla="*/ 357 h 10382"/>
                    <a:gd name="connsiteX24" fmla="*/ 1423 w 10000"/>
                    <a:gd name="connsiteY24" fmla="*/ 558 h 10382"/>
                    <a:gd name="connsiteX25" fmla="*/ 1230 w 10000"/>
                    <a:gd name="connsiteY25" fmla="*/ 760 h 10382"/>
                    <a:gd name="connsiteX26" fmla="*/ 1220 w 10000"/>
                    <a:gd name="connsiteY26" fmla="*/ 925 h 10382"/>
                    <a:gd name="connsiteX27" fmla="*/ 1351 w 10000"/>
                    <a:gd name="connsiteY27" fmla="*/ 1231 h 10382"/>
                    <a:gd name="connsiteX28" fmla="*/ 1895 w 10000"/>
                    <a:gd name="connsiteY28" fmla="*/ 1646 h 10382"/>
                    <a:gd name="connsiteX29" fmla="*/ 1673 w 10000"/>
                    <a:gd name="connsiteY29" fmla="*/ 1835 h 10382"/>
                    <a:gd name="connsiteX30" fmla="*/ 1673 w 10000"/>
                    <a:gd name="connsiteY30" fmla="*/ 2156 h 10382"/>
                    <a:gd name="connsiteX31" fmla="*/ 907 w 10000"/>
                    <a:gd name="connsiteY31" fmla="*/ 3231 h 10382"/>
                    <a:gd name="connsiteX32" fmla="*/ 323 w 10000"/>
                    <a:gd name="connsiteY32" fmla="*/ 3420 h 10382"/>
                    <a:gd name="connsiteX33" fmla="*/ 1028 w 10000"/>
                    <a:gd name="connsiteY33" fmla="*/ 4250 h 10382"/>
                    <a:gd name="connsiteX34" fmla="*/ 786 w 10000"/>
                    <a:gd name="connsiteY34" fmla="*/ 4495 h 10382"/>
                    <a:gd name="connsiteX35" fmla="*/ 0 w 10000"/>
                    <a:gd name="connsiteY35" fmla="*/ 4684 h 10382"/>
                    <a:gd name="connsiteX36" fmla="*/ 202 w 10000"/>
                    <a:gd name="connsiteY36" fmla="*/ 5024 h 10382"/>
                    <a:gd name="connsiteX37" fmla="*/ 665 w 10000"/>
                    <a:gd name="connsiteY37" fmla="*/ 5024 h 10382"/>
                    <a:gd name="connsiteX38" fmla="*/ 323 w 10000"/>
                    <a:gd name="connsiteY38" fmla="*/ 5212 h 10382"/>
                    <a:gd name="connsiteX39" fmla="*/ 786 w 10000"/>
                    <a:gd name="connsiteY39" fmla="*/ 5759 h 10382"/>
                    <a:gd name="connsiteX40" fmla="*/ 1109 w 10000"/>
                    <a:gd name="connsiteY40" fmla="*/ 5514 h 10382"/>
                    <a:gd name="connsiteX41" fmla="*/ 1431 w 10000"/>
                    <a:gd name="connsiteY41" fmla="*/ 5137 h 10382"/>
                    <a:gd name="connsiteX42" fmla="*/ 1552 w 10000"/>
                    <a:gd name="connsiteY42" fmla="*/ 5439 h 10382"/>
                    <a:gd name="connsiteX43" fmla="*/ 1794 w 10000"/>
                    <a:gd name="connsiteY43" fmla="*/ 5514 h 10382"/>
                    <a:gd name="connsiteX44" fmla="*/ 1794 w 10000"/>
                    <a:gd name="connsiteY44" fmla="*/ 7024 h 10382"/>
                    <a:gd name="connsiteX45" fmla="*/ 2339 w 10000"/>
                    <a:gd name="connsiteY45" fmla="*/ 7854 h 10382"/>
                    <a:gd name="connsiteX46" fmla="*/ 2581 w 10000"/>
                    <a:gd name="connsiteY46" fmla="*/ 8401 h 10382"/>
                    <a:gd name="connsiteX47" fmla="*/ 3488 w 10000"/>
                    <a:gd name="connsiteY47" fmla="*/ 10042 h 10382"/>
                    <a:gd name="connsiteX48" fmla="*/ 3810 w 10000"/>
                    <a:gd name="connsiteY48" fmla="*/ 10382 h 10382"/>
                    <a:gd name="connsiteX49" fmla="*/ 4375 w 10000"/>
                    <a:gd name="connsiteY49" fmla="*/ 9967 h 10382"/>
                    <a:gd name="connsiteX50" fmla="*/ 4254 w 10000"/>
                    <a:gd name="connsiteY50" fmla="*/ 9740 h 10382"/>
                    <a:gd name="connsiteX51" fmla="*/ 4456 w 10000"/>
                    <a:gd name="connsiteY51" fmla="*/ 9552 h 10382"/>
                    <a:gd name="connsiteX52" fmla="*/ 4456 w 10000"/>
                    <a:gd name="connsiteY52" fmla="*/ 9231 h 10382"/>
                    <a:gd name="connsiteX53" fmla="*/ 4375 w 10000"/>
                    <a:gd name="connsiteY53" fmla="*/ 9118 h 10382"/>
                    <a:gd name="connsiteX54" fmla="*/ 4718 w 10000"/>
                    <a:gd name="connsiteY54" fmla="*/ 8476 h 10382"/>
                    <a:gd name="connsiteX55" fmla="*/ 4597 w 10000"/>
                    <a:gd name="connsiteY55" fmla="*/ 8288 h 10382"/>
                    <a:gd name="connsiteX56" fmla="*/ 4597 w 10000"/>
                    <a:gd name="connsiteY56" fmla="*/ 7552 h 10382"/>
                    <a:gd name="connsiteX57" fmla="*/ 4919 w 10000"/>
                    <a:gd name="connsiteY57" fmla="*/ 7439 h 10382"/>
                    <a:gd name="connsiteX58" fmla="*/ 5806 w 10000"/>
                    <a:gd name="connsiteY58" fmla="*/ 6590 h 10382"/>
                    <a:gd name="connsiteX59" fmla="*/ 5806 w 10000"/>
                    <a:gd name="connsiteY59" fmla="*/ 6288 h 10382"/>
                    <a:gd name="connsiteX60" fmla="*/ 6714 w 10000"/>
                    <a:gd name="connsiteY60" fmla="*/ 5873 h 10382"/>
                    <a:gd name="connsiteX61" fmla="*/ 6593 w 10000"/>
                    <a:gd name="connsiteY61" fmla="*/ 5646 h 10382"/>
                    <a:gd name="connsiteX62" fmla="*/ 6956 w 10000"/>
                    <a:gd name="connsiteY62" fmla="*/ 5439 h 10382"/>
                    <a:gd name="connsiteX63" fmla="*/ 7500 w 10000"/>
                    <a:gd name="connsiteY63" fmla="*/ 5439 h 10382"/>
                    <a:gd name="connsiteX64" fmla="*/ 7379 w 10000"/>
                    <a:gd name="connsiteY64" fmla="*/ 4797 h 10382"/>
                    <a:gd name="connsiteX65" fmla="*/ 6956 w 10000"/>
                    <a:gd name="connsiteY65" fmla="*/ 4608 h 10382"/>
                    <a:gd name="connsiteX66" fmla="*/ 7157 w 10000"/>
                    <a:gd name="connsiteY66" fmla="*/ 4250 h 10382"/>
                    <a:gd name="connsiteX67" fmla="*/ 6956 w 10000"/>
                    <a:gd name="connsiteY67" fmla="*/ 4061 h 10382"/>
                    <a:gd name="connsiteX68" fmla="*/ 7036 w 10000"/>
                    <a:gd name="connsiteY68" fmla="*/ 3873 h 10382"/>
                    <a:gd name="connsiteX69" fmla="*/ 7379 w 10000"/>
                    <a:gd name="connsiteY69" fmla="*/ 3873 h 10382"/>
                    <a:gd name="connsiteX70" fmla="*/ 7621 w 10000"/>
                    <a:gd name="connsiteY70" fmla="*/ 4250 h 10382"/>
                    <a:gd name="connsiteX71" fmla="*/ 8387 w 10000"/>
                    <a:gd name="connsiteY71" fmla="*/ 4250 h 10382"/>
                    <a:gd name="connsiteX72" fmla="*/ 8185 w 10000"/>
                    <a:gd name="connsiteY72" fmla="*/ 4797 h 10382"/>
                    <a:gd name="connsiteX73" fmla="*/ 8387 w 10000"/>
                    <a:gd name="connsiteY73" fmla="*/ 4910 h 10382"/>
                    <a:gd name="connsiteX74" fmla="*/ 8508 w 10000"/>
                    <a:gd name="connsiteY74" fmla="*/ 4797 h 10382"/>
                    <a:gd name="connsiteX75" fmla="*/ 8730 w 10000"/>
                    <a:gd name="connsiteY75" fmla="*/ 5325 h 10382"/>
                    <a:gd name="connsiteX76" fmla="*/ 8972 w 10000"/>
                    <a:gd name="connsiteY76" fmla="*/ 4608 h 10382"/>
                    <a:gd name="connsiteX77" fmla="*/ 9294 w 10000"/>
                    <a:gd name="connsiteY77" fmla="*/ 4495 h 10382"/>
                    <a:gd name="connsiteX78" fmla="*/ 9415 w 10000"/>
                    <a:gd name="connsiteY78" fmla="*/ 3646 h 10382"/>
                    <a:gd name="connsiteX79" fmla="*/ 9738 w 10000"/>
                    <a:gd name="connsiteY79" fmla="*/ 3420 h 10382"/>
                    <a:gd name="connsiteX80" fmla="*/ 10000 w 10000"/>
                    <a:gd name="connsiteY80" fmla="*/ 2986 h 10382"/>
                    <a:gd name="connsiteX81" fmla="*/ 9617 w 10000"/>
                    <a:gd name="connsiteY81" fmla="*/ 2910 h 10382"/>
                    <a:gd name="connsiteX82" fmla="*/ 9294 w 10000"/>
                    <a:gd name="connsiteY82" fmla="*/ 2608 h 10382"/>
                    <a:gd name="connsiteX83" fmla="*/ 8065 w 10000"/>
                    <a:gd name="connsiteY83" fmla="*/ 3231 h 10382"/>
                    <a:gd name="connsiteX84" fmla="*/ 7823 w 10000"/>
                    <a:gd name="connsiteY84" fmla="*/ 3646 h 10382"/>
                    <a:gd name="connsiteX85" fmla="*/ 7621 w 10000"/>
                    <a:gd name="connsiteY85" fmla="*/ 3759 h 10382"/>
                    <a:gd name="connsiteX86" fmla="*/ 7500 w 10000"/>
                    <a:gd name="connsiteY86" fmla="*/ 3533 h 10382"/>
                    <a:gd name="connsiteX87" fmla="*/ 7036 w 10000"/>
                    <a:gd name="connsiteY87" fmla="*/ 3420 h 10382"/>
                    <a:gd name="connsiteX88" fmla="*/ 7157 w 10000"/>
                    <a:gd name="connsiteY88"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672 w 10000"/>
                    <a:gd name="connsiteY21" fmla="*/ 112 h 10382"/>
                    <a:gd name="connsiteX22" fmla="*/ 1482 w 10000"/>
                    <a:gd name="connsiteY22" fmla="*/ 0 h 10382"/>
                    <a:gd name="connsiteX23" fmla="*/ 1244 w 10000"/>
                    <a:gd name="connsiteY23" fmla="*/ 190 h 10382"/>
                    <a:gd name="connsiteX24" fmla="*/ 1184 w 10000"/>
                    <a:gd name="connsiteY24" fmla="*/ 357 h 10382"/>
                    <a:gd name="connsiteX25" fmla="*/ 1423 w 10000"/>
                    <a:gd name="connsiteY25" fmla="*/ 558 h 10382"/>
                    <a:gd name="connsiteX26" fmla="*/ 1230 w 10000"/>
                    <a:gd name="connsiteY26" fmla="*/ 760 h 10382"/>
                    <a:gd name="connsiteX27" fmla="*/ 1220 w 10000"/>
                    <a:gd name="connsiteY27" fmla="*/ 925 h 10382"/>
                    <a:gd name="connsiteX28" fmla="*/ 1351 w 10000"/>
                    <a:gd name="connsiteY28" fmla="*/ 1231 h 10382"/>
                    <a:gd name="connsiteX29" fmla="*/ 1895 w 10000"/>
                    <a:gd name="connsiteY29" fmla="*/ 1646 h 10382"/>
                    <a:gd name="connsiteX30" fmla="*/ 1673 w 10000"/>
                    <a:gd name="connsiteY30" fmla="*/ 1835 h 10382"/>
                    <a:gd name="connsiteX31" fmla="*/ 1673 w 10000"/>
                    <a:gd name="connsiteY31" fmla="*/ 2156 h 10382"/>
                    <a:gd name="connsiteX32" fmla="*/ 907 w 10000"/>
                    <a:gd name="connsiteY32" fmla="*/ 3231 h 10382"/>
                    <a:gd name="connsiteX33" fmla="*/ 323 w 10000"/>
                    <a:gd name="connsiteY33" fmla="*/ 3420 h 10382"/>
                    <a:gd name="connsiteX34" fmla="*/ 1028 w 10000"/>
                    <a:gd name="connsiteY34" fmla="*/ 4250 h 10382"/>
                    <a:gd name="connsiteX35" fmla="*/ 786 w 10000"/>
                    <a:gd name="connsiteY35" fmla="*/ 4495 h 10382"/>
                    <a:gd name="connsiteX36" fmla="*/ 0 w 10000"/>
                    <a:gd name="connsiteY36" fmla="*/ 4684 h 10382"/>
                    <a:gd name="connsiteX37" fmla="*/ 202 w 10000"/>
                    <a:gd name="connsiteY37" fmla="*/ 5024 h 10382"/>
                    <a:gd name="connsiteX38" fmla="*/ 665 w 10000"/>
                    <a:gd name="connsiteY38" fmla="*/ 5024 h 10382"/>
                    <a:gd name="connsiteX39" fmla="*/ 323 w 10000"/>
                    <a:gd name="connsiteY39" fmla="*/ 5212 h 10382"/>
                    <a:gd name="connsiteX40" fmla="*/ 786 w 10000"/>
                    <a:gd name="connsiteY40" fmla="*/ 5759 h 10382"/>
                    <a:gd name="connsiteX41" fmla="*/ 1109 w 10000"/>
                    <a:gd name="connsiteY41" fmla="*/ 5514 h 10382"/>
                    <a:gd name="connsiteX42" fmla="*/ 1431 w 10000"/>
                    <a:gd name="connsiteY42" fmla="*/ 5137 h 10382"/>
                    <a:gd name="connsiteX43" fmla="*/ 1552 w 10000"/>
                    <a:gd name="connsiteY43" fmla="*/ 5439 h 10382"/>
                    <a:gd name="connsiteX44" fmla="*/ 1794 w 10000"/>
                    <a:gd name="connsiteY44" fmla="*/ 5514 h 10382"/>
                    <a:gd name="connsiteX45" fmla="*/ 1794 w 10000"/>
                    <a:gd name="connsiteY45" fmla="*/ 7024 h 10382"/>
                    <a:gd name="connsiteX46" fmla="*/ 2339 w 10000"/>
                    <a:gd name="connsiteY46" fmla="*/ 7854 h 10382"/>
                    <a:gd name="connsiteX47" fmla="*/ 2581 w 10000"/>
                    <a:gd name="connsiteY47" fmla="*/ 8401 h 10382"/>
                    <a:gd name="connsiteX48" fmla="*/ 3488 w 10000"/>
                    <a:gd name="connsiteY48" fmla="*/ 10042 h 10382"/>
                    <a:gd name="connsiteX49" fmla="*/ 3810 w 10000"/>
                    <a:gd name="connsiteY49" fmla="*/ 10382 h 10382"/>
                    <a:gd name="connsiteX50" fmla="*/ 4375 w 10000"/>
                    <a:gd name="connsiteY50" fmla="*/ 9967 h 10382"/>
                    <a:gd name="connsiteX51" fmla="*/ 4254 w 10000"/>
                    <a:gd name="connsiteY51" fmla="*/ 9740 h 10382"/>
                    <a:gd name="connsiteX52" fmla="*/ 4456 w 10000"/>
                    <a:gd name="connsiteY52" fmla="*/ 9552 h 10382"/>
                    <a:gd name="connsiteX53" fmla="*/ 4456 w 10000"/>
                    <a:gd name="connsiteY53" fmla="*/ 9231 h 10382"/>
                    <a:gd name="connsiteX54" fmla="*/ 4375 w 10000"/>
                    <a:gd name="connsiteY54" fmla="*/ 9118 h 10382"/>
                    <a:gd name="connsiteX55" fmla="*/ 4718 w 10000"/>
                    <a:gd name="connsiteY55" fmla="*/ 8476 h 10382"/>
                    <a:gd name="connsiteX56" fmla="*/ 4597 w 10000"/>
                    <a:gd name="connsiteY56" fmla="*/ 8288 h 10382"/>
                    <a:gd name="connsiteX57" fmla="*/ 4597 w 10000"/>
                    <a:gd name="connsiteY57" fmla="*/ 7552 h 10382"/>
                    <a:gd name="connsiteX58" fmla="*/ 4919 w 10000"/>
                    <a:gd name="connsiteY58" fmla="*/ 7439 h 10382"/>
                    <a:gd name="connsiteX59" fmla="*/ 5806 w 10000"/>
                    <a:gd name="connsiteY59" fmla="*/ 6590 h 10382"/>
                    <a:gd name="connsiteX60" fmla="*/ 5806 w 10000"/>
                    <a:gd name="connsiteY60" fmla="*/ 6288 h 10382"/>
                    <a:gd name="connsiteX61" fmla="*/ 6714 w 10000"/>
                    <a:gd name="connsiteY61" fmla="*/ 5873 h 10382"/>
                    <a:gd name="connsiteX62" fmla="*/ 6593 w 10000"/>
                    <a:gd name="connsiteY62" fmla="*/ 5646 h 10382"/>
                    <a:gd name="connsiteX63" fmla="*/ 6956 w 10000"/>
                    <a:gd name="connsiteY63" fmla="*/ 5439 h 10382"/>
                    <a:gd name="connsiteX64" fmla="*/ 7500 w 10000"/>
                    <a:gd name="connsiteY64" fmla="*/ 5439 h 10382"/>
                    <a:gd name="connsiteX65" fmla="*/ 7379 w 10000"/>
                    <a:gd name="connsiteY65" fmla="*/ 4797 h 10382"/>
                    <a:gd name="connsiteX66" fmla="*/ 6956 w 10000"/>
                    <a:gd name="connsiteY66" fmla="*/ 4608 h 10382"/>
                    <a:gd name="connsiteX67" fmla="*/ 7157 w 10000"/>
                    <a:gd name="connsiteY67" fmla="*/ 4250 h 10382"/>
                    <a:gd name="connsiteX68" fmla="*/ 6956 w 10000"/>
                    <a:gd name="connsiteY68" fmla="*/ 4061 h 10382"/>
                    <a:gd name="connsiteX69" fmla="*/ 7036 w 10000"/>
                    <a:gd name="connsiteY69" fmla="*/ 3873 h 10382"/>
                    <a:gd name="connsiteX70" fmla="*/ 7379 w 10000"/>
                    <a:gd name="connsiteY70" fmla="*/ 3873 h 10382"/>
                    <a:gd name="connsiteX71" fmla="*/ 7621 w 10000"/>
                    <a:gd name="connsiteY71" fmla="*/ 4250 h 10382"/>
                    <a:gd name="connsiteX72" fmla="*/ 8387 w 10000"/>
                    <a:gd name="connsiteY72" fmla="*/ 4250 h 10382"/>
                    <a:gd name="connsiteX73" fmla="*/ 8185 w 10000"/>
                    <a:gd name="connsiteY73" fmla="*/ 4797 h 10382"/>
                    <a:gd name="connsiteX74" fmla="*/ 8387 w 10000"/>
                    <a:gd name="connsiteY74" fmla="*/ 4910 h 10382"/>
                    <a:gd name="connsiteX75" fmla="*/ 8508 w 10000"/>
                    <a:gd name="connsiteY75" fmla="*/ 4797 h 10382"/>
                    <a:gd name="connsiteX76" fmla="*/ 8730 w 10000"/>
                    <a:gd name="connsiteY76" fmla="*/ 5325 h 10382"/>
                    <a:gd name="connsiteX77" fmla="*/ 8972 w 10000"/>
                    <a:gd name="connsiteY77" fmla="*/ 4608 h 10382"/>
                    <a:gd name="connsiteX78" fmla="*/ 9294 w 10000"/>
                    <a:gd name="connsiteY78" fmla="*/ 4495 h 10382"/>
                    <a:gd name="connsiteX79" fmla="*/ 9415 w 10000"/>
                    <a:gd name="connsiteY79" fmla="*/ 3646 h 10382"/>
                    <a:gd name="connsiteX80" fmla="*/ 9738 w 10000"/>
                    <a:gd name="connsiteY80" fmla="*/ 3420 h 10382"/>
                    <a:gd name="connsiteX81" fmla="*/ 10000 w 10000"/>
                    <a:gd name="connsiteY81" fmla="*/ 2986 h 10382"/>
                    <a:gd name="connsiteX82" fmla="*/ 9617 w 10000"/>
                    <a:gd name="connsiteY82" fmla="*/ 2910 h 10382"/>
                    <a:gd name="connsiteX83" fmla="*/ 9294 w 10000"/>
                    <a:gd name="connsiteY83" fmla="*/ 2608 h 10382"/>
                    <a:gd name="connsiteX84" fmla="*/ 8065 w 10000"/>
                    <a:gd name="connsiteY84" fmla="*/ 3231 h 10382"/>
                    <a:gd name="connsiteX85" fmla="*/ 7823 w 10000"/>
                    <a:gd name="connsiteY85" fmla="*/ 3646 h 10382"/>
                    <a:gd name="connsiteX86" fmla="*/ 7621 w 10000"/>
                    <a:gd name="connsiteY86" fmla="*/ 3759 h 10382"/>
                    <a:gd name="connsiteX87" fmla="*/ 7500 w 10000"/>
                    <a:gd name="connsiteY87" fmla="*/ 3533 h 10382"/>
                    <a:gd name="connsiteX88" fmla="*/ 7036 w 10000"/>
                    <a:gd name="connsiteY88" fmla="*/ 3420 h 10382"/>
                    <a:gd name="connsiteX89" fmla="*/ 7157 w 10000"/>
                    <a:gd name="connsiteY89"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1946 w 10000"/>
                    <a:gd name="connsiteY20" fmla="*/ 257 h 10382"/>
                    <a:gd name="connsiteX21" fmla="*/ 1874 w 10000"/>
                    <a:gd name="connsiteY21" fmla="*/ 168 h 10382"/>
                    <a:gd name="connsiteX22" fmla="*/ 1482 w 10000"/>
                    <a:gd name="connsiteY22" fmla="*/ 0 h 10382"/>
                    <a:gd name="connsiteX23" fmla="*/ 1244 w 10000"/>
                    <a:gd name="connsiteY23" fmla="*/ 190 h 10382"/>
                    <a:gd name="connsiteX24" fmla="*/ 1184 w 10000"/>
                    <a:gd name="connsiteY24" fmla="*/ 357 h 10382"/>
                    <a:gd name="connsiteX25" fmla="*/ 1423 w 10000"/>
                    <a:gd name="connsiteY25" fmla="*/ 558 h 10382"/>
                    <a:gd name="connsiteX26" fmla="*/ 1230 w 10000"/>
                    <a:gd name="connsiteY26" fmla="*/ 760 h 10382"/>
                    <a:gd name="connsiteX27" fmla="*/ 1220 w 10000"/>
                    <a:gd name="connsiteY27" fmla="*/ 925 h 10382"/>
                    <a:gd name="connsiteX28" fmla="*/ 1351 w 10000"/>
                    <a:gd name="connsiteY28" fmla="*/ 1231 h 10382"/>
                    <a:gd name="connsiteX29" fmla="*/ 1895 w 10000"/>
                    <a:gd name="connsiteY29" fmla="*/ 1646 h 10382"/>
                    <a:gd name="connsiteX30" fmla="*/ 1673 w 10000"/>
                    <a:gd name="connsiteY30" fmla="*/ 1835 h 10382"/>
                    <a:gd name="connsiteX31" fmla="*/ 1673 w 10000"/>
                    <a:gd name="connsiteY31" fmla="*/ 2156 h 10382"/>
                    <a:gd name="connsiteX32" fmla="*/ 907 w 10000"/>
                    <a:gd name="connsiteY32" fmla="*/ 3231 h 10382"/>
                    <a:gd name="connsiteX33" fmla="*/ 323 w 10000"/>
                    <a:gd name="connsiteY33" fmla="*/ 3420 h 10382"/>
                    <a:gd name="connsiteX34" fmla="*/ 1028 w 10000"/>
                    <a:gd name="connsiteY34" fmla="*/ 4250 h 10382"/>
                    <a:gd name="connsiteX35" fmla="*/ 786 w 10000"/>
                    <a:gd name="connsiteY35" fmla="*/ 4495 h 10382"/>
                    <a:gd name="connsiteX36" fmla="*/ 0 w 10000"/>
                    <a:gd name="connsiteY36" fmla="*/ 4684 h 10382"/>
                    <a:gd name="connsiteX37" fmla="*/ 202 w 10000"/>
                    <a:gd name="connsiteY37" fmla="*/ 5024 h 10382"/>
                    <a:gd name="connsiteX38" fmla="*/ 665 w 10000"/>
                    <a:gd name="connsiteY38" fmla="*/ 5024 h 10382"/>
                    <a:gd name="connsiteX39" fmla="*/ 323 w 10000"/>
                    <a:gd name="connsiteY39" fmla="*/ 5212 h 10382"/>
                    <a:gd name="connsiteX40" fmla="*/ 786 w 10000"/>
                    <a:gd name="connsiteY40" fmla="*/ 5759 h 10382"/>
                    <a:gd name="connsiteX41" fmla="*/ 1109 w 10000"/>
                    <a:gd name="connsiteY41" fmla="*/ 5514 h 10382"/>
                    <a:gd name="connsiteX42" fmla="*/ 1431 w 10000"/>
                    <a:gd name="connsiteY42" fmla="*/ 5137 h 10382"/>
                    <a:gd name="connsiteX43" fmla="*/ 1552 w 10000"/>
                    <a:gd name="connsiteY43" fmla="*/ 5439 h 10382"/>
                    <a:gd name="connsiteX44" fmla="*/ 1794 w 10000"/>
                    <a:gd name="connsiteY44" fmla="*/ 5514 h 10382"/>
                    <a:gd name="connsiteX45" fmla="*/ 1794 w 10000"/>
                    <a:gd name="connsiteY45" fmla="*/ 7024 h 10382"/>
                    <a:gd name="connsiteX46" fmla="*/ 2339 w 10000"/>
                    <a:gd name="connsiteY46" fmla="*/ 7854 h 10382"/>
                    <a:gd name="connsiteX47" fmla="*/ 2581 w 10000"/>
                    <a:gd name="connsiteY47" fmla="*/ 8401 h 10382"/>
                    <a:gd name="connsiteX48" fmla="*/ 3488 w 10000"/>
                    <a:gd name="connsiteY48" fmla="*/ 10042 h 10382"/>
                    <a:gd name="connsiteX49" fmla="*/ 3810 w 10000"/>
                    <a:gd name="connsiteY49" fmla="*/ 10382 h 10382"/>
                    <a:gd name="connsiteX50" fmla="*/ 4375 w 10000"/>
                    <a:gd name="connsiteY50" fmla="*/ 9967 h 10382"/>
                    <a:gd name="connsiteX51" fmla="*/ 4254 w 10000"/>
                    <a:gd name="connsiteY51" fmla="*/ 9740 h 10382"/>
                    <a:gd name="connsiteX52" fmla="*/ 4456 w 10000"/>
                    <a:gd name="connsiteY52" fmla="*/ 9552 h 10382"/>
                    <a:gd name="connsiteX53" fmla="*/ 4456 w 10000"/>
                    <a:gd name="connsiteY53" fmla="*/ 9231 h 10382"/>
                    <a:gd name="connsiteX54" fmla="*/ 4375 w 10000"/>
                    <a:gd name="connsiteY54" fmla="*/ 9118 h 10382"/>
                    <a:gd name="connsiteX55" fmla="*/ 4718 w 10000"/>
                    <a:gd name="connsiteY55" fmla="*/ 8476 h 10382"/>
                    <a:gd name="connsiteX56" fmla="*/ 4597 w 10000"/>
                    <a:gd name="connsiteY56" fmla="*/ 8288 h 10382"/>
                    <a:gd name="connsiteX57" fmla="*/ 4597 w 10000"/>
                    <a:gd name="connsiteY57" fmla="*/ 7552 h 10382"/>
                    <a:gd name="connsiteX58" fmla="*/ 4919 w 10000"/>
                    <a:gd name="connsiteY58" fmla="*/ 7439 h 10382"/>
                    <a:gd name="connsiteX59" fmla="*/ 5806 w 10000"/>
                    <a:gd name="connsiteY59" fmla="*/ 6590 h 10382"/>
                    <a:gd name="connsiteX60" fmla="*/ 5806 w 10000"/>
                    <a:gd name="connsiteY60" fmla="*/ 6288 h 10382"/>
                    <a:gd name="connsiteX61" fmla="*/ 6714 w 10000"/>
                    <a:gd name="connsiteY61" fmla="*/ 5873 h 10382"/>
                    <a:gd name="connsiteX62" fmla="*/ 6593 w 10000"/>
                    <a:gd name="connsiteY62" fmla="*/ 5646 h 10382"/>
                    <a:gd name="connsiteX63" fmla="*/ 6956 w 10000"/>
                    <a:gd name="connsiteY63" fmla="*/ 5439 h 10382"/>
                    <a:gd name="connsiteX64" fmla="*/ 7500 w 10000"/>
                    <a:gd name="connsiteY64" fmla="*/ 5439 h 10382"/>
                    <a:gd name="connsiteX65" fmla="*/ 7379 w 10000"/>
                    <a:gd name="connsiteY65" fmla="*/ 4797 h 10382"/>
                    <a:gd name="connsiteX66" fmla="*/ 6956 w 10000"/>
                    <a:gd name="connsiteY66" fmla="*/ 4608 h 10382"/>
                    <a:gd name="connsiteX67" fmla="*/ 7157 w 10000"/>
                    <a:gd name="connsiteY67" fmla="*/ 4250 h 10382"/>
                    <a:gd name="connsiteX68" fmla="*/ 6956 w 10000"/>
                    <a:gd name="connsiteY68" fmla="*/ 4061 h 10382"/>
                    <a:gd name="connsiteX69" fmla="*/ 7036 w 10000"/>
                    <a:gd name="connsiteY69" fmla="*/ 3873 h 10382"/>
                    <a:gd name="connsiteX70" fmla="*/ 7379 w 10000"/>
                    <a:gd name="connsiteY70" fmla="*/ 3873 h 10382"/>
                    <a:gd name="connsiteX71" fmla="*/ 7621 w 10000"/>
                    <a:gd name="connsiteY71" fmla="*/ 4250 h 10382"/>
                    <a:gd name="connsiteX72" fmla="*/ 8387 w 10000"/>
                    <a:gd name="connsiteY72" fmla="*/ 4250 h 10382"/>
                    <a:gd name="connsiteX73" fmla="*/ 8185 w 10000"/>
                    <a:gd name="connsiteY73" fmla="*/ 4797 h 10382"/>
                    <a:gd name="connsiteX74" fmla="*/ 8387 w 10000"/>
                    <a:gd name="connsiteY74" fmla="*/ 4910 h 10382"/>
                    <a:gd name="connsiteX75" fmla="*/ 8508 w 10000"/>
                    <a:gd name="connsiteY75" fmla="*/ 4797 h 10382"/>
                    <a:gd name="connsiteX76" fmla="*/ 8730 w 10000"/>
                    <a:gd name="connsiteY76" fmla="*/ 5325 h 10382"/>
                    <a:gd name="connsiteX77" fmla="*/ 8972 w 10000"/>
                    <a:gd name="connsiteY77" fmla="*/ 4608 h 10382"/>
                    <a:gd name="connsiteX78" fmla="*/ 9294 w 10000"/>
                    <a:gd name="connsiteY78" fmla="*/ 4495 h 10382"/>
                    <a:gd name="connsiteX79" fmla="*/ 9415 w 10000"/>
                    <a:gd name="connsiteY79" fmla="*/ 3646 h 10382"/>
                    <a:gd name="connsiteX80" fmla="*/ 9738 w 10000"/>
                    <a:gd name="connsiteY80" fmla="*/ 3420 h 10382"/>
                    <a:gd name="connsiteX81" fmla="*/ 10000 w 10000"/>
                    <a:gd name="connsiteY81" fmla="*/ 2986 h 10382"/>
                    <a:gd name="connsiteX82" fmla="*/ 9617 w 10000"/>
                    <a:gd name="connsiteY82" fmla="*/ 2910 h 10382"/>
                    <a:gd name="connsiteX83" fmla="*/ 9294 w 10000"/>
                    <a:gd name="connsiteY83" fmla="*/ 2608 h 10382"/>
                    <a:gd name="connsiteX84" fmla="*/ 8065 w 10000"/>
                    <a:gd name="connsiteY84" fmla="*/ 3231 h 10382"/>
                    <a:gd name="connsiteX85" fmla="*/ 7823 w 10000"/>
                    <a:gd name="connsiteY85" fmla="*/ 3646 h 10382"/>
                    <a:gd name="connsiteX86" fmla="*/ 7621 w 10000"/>
                    <a:gd name="connsiteY86" fmla="*/ 3759 h 10382"/>
                    <a:gd name="connsiteX87" fmla="*/ 7500 w 10000"/>
                    <a:gd name="connsiteY87" fmla="*/ 3533 h 10382"/>
                    <a:gd name="connsiteX88" fmla="*/ 7036 w 10000"/>
                    <a:gd name="connsiteY88" fmla="*/ 3420 h 10382"/>
                    <a:gd name="connsiteX89" fmla="*/ 7157 w 10000"/>
                    <a:gd name="connsiteY89"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12 w 10000"/>
                    <a:gd name="connsiteY20" fmla="*/ 357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600 w 10000"/>
                    <a:gd name="connsiteY20" fmla="*/ 1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74 w 10000"/>
                    <a:gd name="connsiteY22" fmla="*/ 168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520 h 10671"/>
                    <a:gd name="connsiteX1" fmla="*/ 6956 w 10000"/>
                    <a:gd name="connsiteY1" fmla="*/ 3388 h 10671"/>
                    <a:gd name="connsiteX2" fmla="*/ 6714 w 10000"/>
                    <a:gd name="connsiteY2" fmla="*/ 3388 h 10671"/>
                    <a:gd name="connsiteX3" fmla="*/ 6714 w 10000"/>
                    <a:gd name="connsiteY3" fmla="*/ 3633 h 10671"/>
                    <a:gd name="connsiteX4" fmla="*/ 6835 w 10000"/>
                    <a:gd name="connsiteY4" fmla="*/ 4162 h 10671"/>
                    <a:gd name="connsiteX5" fmla="*/ 5806 w 10000"/>
                    <a:gd name="connsiteY5" fmla="*/ 3935 h 10671"/>
                    <a:gd name="connsiteX6" fmla="*/ 5484 w 10000"/>
                    <a:gd name="connsiteY6" fmla="*/ 3633 h 10671"/>
                    <a:gd name="connsiteX7" fmla="*/ 4919 w 10000"/>
                    <a:gd name="connsiteY7" fmla="*/ 3709 h 10671"/>
                    <a:gd name="connsiteX8" fmla="*/ 4839 w 10000"/>
                    <a:gd name="connsiteY8" fmla="*/ 3520 h 10671"/>
                    <a:gd name="connsiteX9" fmla="*/ 3891 w 10000"/>
                    <a:gd name="connsiteY9" fmla="*/ 3275 h 10671"/>
                    <a:gd name="connsiteX10" fmla="*/ 3891 w 10000"/>
                    <a:gd name="connsiteY10" fmla="*/ 2558 h 10671"/>
                    <a:gd name="connsiteX11" fmla="*/ 3246 w 10000"/>
                    <a:gd name="connsiteY11" fmla="*/ 2124 h 10671"/>
                    <a:gd name="connsiteX12" fmla="*/ 3024 w 10000"/>
                    <a:gd name="connsiteY12" fmla="*/ 1935 h 10671"/>
                    <a:gd name="connsiteX13" fmla="*/ 3367 w 10000"/>
                    <a:gd name="connsiteY13" fmla="*/ 1709 h 10671"/>
                    <a:gd name="connsiteX14" fmla="*/ 3105 w 10000"/>
                    <a:gd name="connsiteY14" fmla="*/ 1407 h 10671"/>
                    <a:gd name="connsiteX15" fmla="*/ 3367 w 10000"/>
                    <a:gd name="connsiteY15" fmla="*/ 1180 h 10671"/>
                    <a:gd name="connsiteX16" fmla="*/ 3517 w 10000"/>
                    <a:gd name="connsiteY16" fmla="*/ 1125 h 10671"/>
                    <a:gd name="connsiteX17" fmla="*/ 3527 w 10000"/>
                    <a:gd name="connsiteY17" fmla="*/ 869 h 10671"/>
                    <a:gd name="connsiteX18" fmla="*/ 3343 w 10000"/>
                    <a:gd name="connsiteY18" fmla="*/ 593 h 10671"/>
                    <a:gd name="connsiteX19" fmla="*/ 2278 w 10000"/>
                    <a:gd name="connsiteY19" fmla="*/ 739 h 10671"/>
                    <a:gd name="connsiteX20" fmla="*/ 2148 w 10000"/>
                    <a:gd name="connsiteY20" fmla="*/ 580 h 10671"/>
                    <a:gd name="connsiteX21" fmla="*/ 1946 w 10000"/>
                    <a:gd name="connsiteY21" fmla="*/ 546 h 10671"/>
                    <a:gd name="connsiteX22" fmla="*/ 1791 w 10000"/>
                    <a:gd name="connsiteY22" fmla="*/ 0 h 10671"/>
                    <a:gd name="connsiteX23" fmla="*/ 1482 w 10000"/>
                    <a:gd name="connsiteY23" fmla="*/ 289 h 10671"/>
                    <a:gd name="connsiteX24" fmla="*/ 1244 w 10000"/>
                    <a:gd name="connsiteY24" fmla="*/ 479 h 10671"/>
                    <a:gd name="connsiteX25" fmla="*/ 1184 w 10000"/>
                    <a:gd name="connsiteY25" fmla="*/ 646 h 10671"/>
                    <a:gd name="connsiteX26" fmla="*/ 1423 w 10000"/>
                    <a:gd name="connsiteY26" fmla="*/ 847 h 10671"/>
                    <a:gd name="connsiteX27" fmla="*/ 1230 w 10000"/>
                    <a:gd name="connsiteY27" fmla="*/ 1049 h 10671"/>
                    <a:gd name="connsiteX28" fmla="*/ 1220 w 10000"/>
                    <a:gd name="connsiteY28" fmla="*/ 1214 h 10671"/>
                    <a:gd name="connsiteX29" fmla="*/ 1351 w 10000"/>
                    <a:gd name="connsiteY29" fmla="*/ 1520 h 10671"/>
                    <a:gd name="connsiteX30" fmla="*/ 1895 w 10000"/>
                    <a:gd name="connsiteY30" fmla="*/ 1935 h 10671"/>
                    <a:gd name="connsiteX31" fmla="*/ 1673 w 10000"/>
                    <a:gd name="connsiteY31" fmla="*/ 2124 h 10671"/>
                    <a:gd name="connsiteX32" fmla="*/ 1673 w 10000"/>
                    <a:gd name="connsiteY32" fmla="*/ 2445 h 10671"/>
                    <a:gd name="connsiteX33" fmla="*/ 907 w 10000"/>
                    <a:gd name="connsiteY33" fmla="*/ 3520 h 10671"/>
                    <a:gd name="connsiteX34" fmla="*/ 323 w 10000"/>
                    <a:gd name="connsiteY34" fmla="*/ 3709 h 10671"/>
                    <a:gd name="connsiteX35" fmla="*/ 1028 w 10000"/>
                    <a:gd name="connsiteY35" fmla="*/ 4539 h 10671"/>
                    <a:gd name="connsiteX36" fmla="*/ 786 w 10000"/>
                    <a:gd name="connsiteY36" fmla="*/ 4784 h 10671"/>
                    <a:gd name="connsiteX37" fmla="*/ 0 w 10000"/>
                    <a:gd name="connsiteY37" fmla="*/ 4973 h 10671"/>
                    <a:gd name="connsiteX38" fmla="*/ 202 w 10000"/>
                    <a:gd name="connsiteY38" fmla="*/ 5313 h 10671"/>
                    <a:gd name="connsiteX39" fmla="*/ 665 w 10000"/>
                    <a:gd name="connsiteY39" fmla="*/ 5313 h 10671"/>
                    <a:gd name="connsiteX40" fmla="*/ 323 w 10000"/>
                    <a:gd name="connsiteY40" fmla="*/ 5501 h 10671"/>
                    <a:gd name="connsiteX41" fmla="*/ 786 w 10000"/>
                    <a:gd name="connsiteY41" fmla="*/ 6048 h 10671"/>
                    <a:gd name="connsiteX42" fmla="*/ 1109 w 10000"/>
                    <a:gd name="connsiteY42" fmla="*/ 5803 h 10671"/>
                    <a:gd name="connsiteX43" fmla="*/ 1431 w 10000"/>
                    <a:gd name="connsiteY43" fmla="*/ 5426 h 10671"/>
                    <a:gd name="connsiteX44" fmla="*/ 1552 w 10000"/>
                    <a:gd name="connsiteY44" fmla="*/ 5728 h 10671"/>
                    <a:gd name="connsiteX45" fmla="*/ 1794 w 10000"/>
                    <a:gd name="connsiteY45" fmla="*/ 5803 h 10671"/>
                    <a:gd name="connsiteX46" fmla="*/ 1794 w 10000"/>
                    <a:gd name="connsiteY46" fmla="*/ 7313 h 10671"/>
                    <a:gd name="connsiteX47" fmla="*/ 2339 w 10000"/>
                    <a:gd name="connsiteY47" fmla="*/ 8143 h 10671"/>
                    <a:gd name="connsiteX48" fmla="*/ 2581 w 10000"/>
                    <a:gd name="connsiteY48" fmla="*/ 8690 h 10671"/>
                    <a:gd name="connsiteX49" fmla="*/ 3488 w 10000"/>
                    <a:gd name="connsiteY49" fmla="*/ 10331 h 10671"/>
                    <a:gd name="connsiteX50" fmla="*/ 3810 w 10000"/>
                    <a:gd name="connsiteY50" fmla="*/ 10671 h 10671"/>
                    <a:gd name="connsiteX51" fmla="*/ 4375 w 10000"/>
                    <a:gd name="connsiteY51" fmla="*/ 10256 h 10671"/>
                    <a:gd name="connsiteX52" fmla="*/ 4254 w 10000"/>
                    <a:gd name="connsiteY52" fmla="*/ 10029 h 10671"/>
                    <a:gd name="connsiteX53" fmla="*/ 4456 w 10000"/>
                    <a:gd name="connsiteY53" fmla="*/ 9841 h 10671"/>
                    <a:gd name="connsiteX54" fmla="*/ 4456 w 10000"/>
                    <a:gd name="connsiteY54" fmla="*/ 9520 h 10671"/>
                    <a:gd name="connsiteX55" fmla="*/ 4375 w 10000"/>
                    <a:gd name="connsiteY55" fmla="*/ 9407 h 10671"/>
                    <a:gd name="connsiteX56" fmla="*/ 4718 w 10000"/>
                    <a:gd name="connsiteY56" fmla="*/ 8765 h 10671"/>
                    <a:gd name="connsiteX57" fmla="*/ 4597 w 10000"/>
                    <a:gd name="connsiteY57" fmla="*/ 8577 h 10671"/>
                    <a:gd name="connsiteX58" fmla="*/ 4597 w 10000"/>
                    <a:gd name="connsiteY58" fmla="*/ 7841 h 10671"/>
                    <a:gd name="connsiteX59" fmla="*/ 4919 w 10000"/>
                    <a:gd name="connsiteY59" fmla="*/ 7728 h 10671"/>
                    <a:gd name="connsiteX60" fmla="*/ 5806 w 10000"/>
                    <a:gd name="connsiteY60" fmla="*/ 6879 h 10671"/>
                    <a:gd name="connsiteX61" fmla="*/ 5806 w 10000"/>
                    <a:gd name="connsiteY61" fmla="*/ 6577 h 10671"/>
                    <a:gd name="connsiteX62" fmla="*/ 6714 w 10000"/>
                    <a:gd name="connsiteY62" fmla="*/ 6162 h 10671"/>
                    <a:gd name="connsiteX63" fmla="*/ 6593 w 10000"/>
                    <a:gd name="connsiteY63" fmla="*/ 5935 h 10671"/>
                    <a:gd name="connsiteX64" fmla="*/ 6956 w 10000"/>
                    <a:gd name="connsiteY64" fmla="*/ 5728 h 10671"/>
                    <a:gd name="connsiteX65" fmla="*/ 7500 w 10000"/>
                    <a:gd name="connsiteY65" fmla="*/ 5728 h 10671"/>
                    <a:gd name="connsiteX66" fmla="*/ 7379 w 10000"/>
                    <a:gd name="connsiteY66" fmla="*/ 5086 h 10671"/>
                    <a:gd name="connsiteX67" fmla="*/ 6956 w 10000"/>
                    <a:gd name="connsiteY67" fmla="*/ 4897 h 10671"/>
                    <a:gd name="connsiteX68" fmla="*/ 7157 w 10000"/>
                    <a:gd name="connsiteY68" fmla="*/ 4539 h 10671"/>
                    <a:gd name="connsiteX69" fmla="*/ 6956 w 10000"/>
                    <a:gd name="connsiteY69" fmla="*/ 4350 h 10671"/>
                    <a:gd name="connsiteX70" fmla="*/ 7036 w 10000"/>
                    <a:gd name="connsiteY70" fmla="*/ 4162 h 10671"/>
                    <a:gd name="connsiteX71" fmla="*/ 7379 w 10000"/>
                    <a:gd name="connsiteY71" fmla="*/ 4162 h 10671"/>
                    <a:gd name="connsiteX72" fmla="*/ 7621 w 10000"/>
                    <a:gd name="connsiteY72" fmla="*/ 4539 h 10671"/>
                    <a:gd name="connsiteX73" fmla="*/ 8387 w 10000"/>
                    <a:gd name="connsiteY73" fmla="*/ 4539 h 10671"/>
                    <a:gd name="connsiteX74" fmla="*/ 8185 w 10000"/>
                    <a:gd name="connsiteY74" fmla="*/ 5086 h 10671"/>
                    <a:gd name="connsiteX75" fmla="*/ 8387 w 10000"/>
                    <a:gd name="connsiteY75" fmla="*/ 5199 h 10671"/>
                    <a:gd name="connsiteX76" fmla="*/ 8508 w 10000"/>
                    <a:gd name="connsiteY76" fmla="*/ 5086 h 10671"/>
                    <a:gd name="connsiteX77" fmla="*/ 8730 w 10000"/>
                    <a:gd name="connsiteY77" fmla="*/ 5614 h 10671"/>
                    <a:gd name="connsiteX78" fmla="*/ 8972 w 10000"/>
                    <a:gd name="connsiteY78" fmla="*/ 4897 h 10671"/>
                    <a:gd name="connsiteX79" fmla="*/ 9294 w 10000"/>
                    <a:gd name="connsiteY79" fmla="*/ 4784 h 10671"/>
                    <a:gd name="connsiteX80" fmla="*/ 9415 w 10000"/>
                    <a:gd name="connsiteY80" fmla="*/ 3935 h 10671"/>
                    <a:gd name="connsiteX81" fmla="*/ 9738 w 10000"/>
                    <a:gd name="connsiteY81" fmla="*/ 3709 h 10671"/>
                    <a:gd name="connsiteX82" fmla="*/ 10000 w 10000"/>
                    <a:gd name="connsiteY82" fmla="*/ 3275 h 10671"/>
                    <a:gd name="connsiteX83" fmla="*/ 9617 w 10000"/>
                    <a:gd name="connsiteY83" fmla="*/ 3199 h 10671"/>
                    <a:gd name="connsiteX84" fmla="*/ 9294 w 10000"/>
                    <a:gd name="connsiteY84" fmla="*/ 2897 h 10671"/>
                    <a:gd name="connsiteX85" fmla="*/ 8065 w 10000"/>
                    <a:gd name="connsiteY85" fmla="*/ 3520 h 10671"/>
                    <a:gd name="connsiteX86" fmla="*/ 7823 w 10000"/>
                    <a:gd name="connsiteY86" fmla="*/ 3935 h 10671"/>
                    <a:gd name="connsiteX87" fmla="*/ 7621 w 10000"/>
                    <a:gd name="connsiteY87" fmla="*/ 4048 h 10671"/>
                    <a:gd name="connsiteX88" fmla="*/ 7500 w 10000"/>
                    <a:gd name="connsiteY88" fmla="*/ 3822 h 10671"/>
                    <a:gd name="connsiteX89" fmla="*/ 7036 w 10000"/>
                    <a:gd name="connsiteY89" fmla="*/ 3709 h 10671"/>
                    <a:gd name="connsiteX90" fmla="*/ 7157 w 10000"/>
                    <a:gd name="connsiteY90" fmla="*/ 3520 h 10671"/>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27 w 10000"/>
                    <a:gd name="connsiteY17" fmla="*/ 580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146 w 10000"/>
                    <a:gd name="connsiteY17" fmla="*/ 658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491 w 10000"/>
                    <a:gd name="connsiteY17" fmla="*/ 591 h 10382"/>
                    <a:gd name="connsiteX18" fmla="*/ 3343 w 10000"/>
                    <a:gd name="connsiteY18" fmla="*/ 304 h 10382"/>
                    <a:gd name="connsiteX19" fmla="*/ 2278 w 10000"/>
                    <a:gd name="connsiteY19" fmla="*/ 450 h 10382"/>
                    <a:gd name="connsiteX20" fmla="*/ 2148 w 10000"/>
                    <a:gd name="connsiteY20" fmla="*/ 291 h 10382"/>
                    <a:gd name="connsiteX21" fmla="*/ 1946 w 10000"/>
                    <a:gd name="connsiteY21" fmla="*/ 257 h 10382"/>
                    <a:gd name="connsiteX22" fmla="*/ 1839 w 10000"/>
                    <a:gd name="connsiteY22" fmla="*/ 101 h 10382"/>
                    <a:gd name="connsiteX23" fmla="*/ 1482 w 10000"/>
                    <a:gd name="connsiteY23" fmla="*/ 0 h 10382"/>
                    <a:gd name="connsiteX24" fmla="*/ 1244 w 10000"/>
                    <a:gd name="connsiteY24" fmla="*/ 190 h 10382"/>
                    <a:gd name="connsiteX25" fmla="*/ 1184 w 10000"/>
                    <a:gd name="connsiteY25" fmla="*/ 357 h 10382"/>
                    <a:gd name="connsiteX26" fmla="*/ 1423 w 10000"/>
                    <a:gd name="connsiteY26" fmla="*/ 558 h 10382"/>
                    <a:gd name="connsiteX27" fmla="*/ 1230 w 10000"/>
                    <a:gd name="connsiteY27" fmla="*/ 760 h 10382"/>
                    <a:gd name="connsiteX28" fmla="*/ 1220 w 10000"/>
                    <a:gd name="connsiteY28" fmla="*/ 925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05 w 10000"/>
                    <a:gd name="connsiteY17" fmla="*/ 714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4552 w 10000"/>
                    <a:gd name="connsiteY17" fmla="*/ 647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124 w 10000"/>
                    <a:gd name="connsiteY17" fmla="*/ 758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20 w 10000"/>
                    <a:gd name="connsiteY29" fmla="*/ 925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768 w 10000"/>
                    <a:gd name="connsiteY29" fmla="*/ 1237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768 w 10000"/>
                    <a:gd name="connsiteY29" fmla="*/ 1237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875 w 10000"/>
                    <a:gd name="connsiteY29" fmla="*/ 959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17 w 10000"/>
                    <a:gd name="connsiteY16" fmla="*/ 836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88 w 10000"/>
                    <a:gd name="connsiteY16" fmla="*/ 959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88 w 10000"/>
                    <a:gd name="connsiteY16" fmla="*/ 959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209 w 10000"/>
                    <a:gd name="connsiteY29" fmla="*/ 970 h 10382"/>
                    <a:gd name="connsiteX30" fmla="*/ 1351 w 10000"/>
                    <a:gd name="connsiteY30" fmla="*/ 1231 h 10382"/>
                    <a:gd name="connsiteX31" fmla="*/ 1895 w 10000"/>
                    <a:gd name="connsiteY31" fmla="*/ 1646 h 10382"/>
                    <a:gd name="connsiteX32" fmla="*/ 1673 w 10000"/>
                    <a:gd name="connsiteY32" fmla="*/ 1835 h 10382"/>
                    <a:gd name="connsiteX33" fmla="*/ 1673 w 10000"/>
                    <a:gd name="connsiteY33" fmla="*/ 2156 h 10382"/>
                    <a:gd name="connsiteX34" fmla="*/ 907 w 10000"/>
                    <a:gd name="connsiteY34" fmla="*/ 3231 h 10382"/>
                    <a:gd name="connsiteX35" fmla="*/ 323 w 10000"/>
                    <a:gd name="connsiteY35" fmla="*/ 3420 h 10382"/>
                    <a:gd name="connsiteX36" fmla="*/ 1028 w 10000"/>
                    <a:gd name="connsiteY36" fmla="*/ 4250 h 10382"/>
                    <a:gd name="connsiteX37" fmla="*/ 786 w 10000"/>
                    <a:gd name="connsiteY37" fmla="*/ 4495 h 10382"/>
                    <a:gd name="connsiteX38" fmla="*/ 0 w 10000"/>
                    <a:gd name="connsiteY38" fmla="*/ 4684 h 10382"/>
                    <a:gd name="connsiteX39" fmla="*/ 202 w 10000"/>
                    <a:gd name="connsiteY39" fmla="*/ 5024 h 10382"/>
                    <a:gd name="connsiteX40" fmla="*/ 665 w 10000"/>
                    <a:gd name="connsiteY40" fmla="*/ 5024 h 10382"/>
                    <a:gd name="connsiteX41" fmla="*/ 323 w 10000"/>
                    <a:gd name="connsiteY41" fmla="*/ 5212 h 10382"/>
                    <a:gd name="connsiteX42" fmla="*/ 786 w 10000"/>
                    <a:gd name="connsiteY42" fmla="*/ 5759 h 10382"/>
                    <a:gd name="connsiteX43" fmla="*/ 1109 w 10000"/>
                    <a:gd name="connsiteY43" fmla="*/ 5514 h 10382"/>
                    <a:gd name="connsiteX44" fmla="*/ 1431 w 10000"/>
                    <a:gd name="connsiteY44" fmla="*/ 5137 h 10382"/>
                    <a:gd name="connsiteX45" fmla="*/ 1552 w 10000"/>
                    <a:gd name="connsiteY45" fmla="*/ 5439 h 10382"/>
                    <a:gd name="connsiteX46" fmla="*/ 1794 w 10000"/>
                    <a:gd name="connsiteY46" fmla="*/ 5514 h 10382"/>
                    <a:gd name="connsiteX47" fmla="*/ 1794 w 10000"/>
                    <a:gd name="connsiteY47" fmla="*/ 7024 h 10382"/>
                    <a:gd name="connsiteX48" fmla="*/ 2339 w 10000"/>
                    <a:gd name="connsiteY48" fmla="*/ 7854 h 10382"/>
                    <a:gd name="connsiteX49" fmla="*/ 2581 w 10000"/>
                    <a:gd name="connsiteY49" fmla="*/ 8401 h 10382"/>
                    <a:gd name="connsiteX50" fmla="*/ 3488 w 10000"/>
                    <a:gd name="connsiteY50" fmla="*/ 10042 h 10382"/>
                    <a:gd name="connsiteX51" fmla="*/ 3810 w 10000"/>
                    <a:gd name="connsiteY51" fmla="*/ 10382 h 10382"/>
                    <a:gd name="connsiteX52" fmla="*/ 4375 w 10000"/>
                    <a:gd name="connsiteY52" fmla="*/ 9967 h 10382"/>
                    <a:gd name="connsiteX53" fmla="*/ 4254 w 10000"/>
                    <a:gd name="connsiteY53" fmla="*/ 9740 h 10382"/>
                    <a:gd name="connsiteX54" fmla="*/ 4456 w 10000"/>
                    <a:gd name="connsiteY54" fmla="*/ 9552 h 10382"/>
                    <a:gd name="connsiteX55" fmla="*/ 4456 w 10000"/>
                    <a:gd name="connsiteY55" fmla="*/ 9231 h 10382"/>
                    <a:gd name="connsiteX56" fmla="*/ 4375 w 10000"/>
                    <a:gd name="connsiteY56" fmla="*/ 9118 h 10382"/>
                    <a:gd name="connsiteX57" fmla="*/ 4718 w 10000"/>
                    <a:gd name="connsiteY57" fmla="*/ 8476 h 10382"/>
                    <a:gd name="connsiteX58" fmla="*/ 4597 w 10000"/>
                    <a:gd name="connsiteY58" fmla="*/ 8288 h 10382"/>
                    <a:gd name="connsiteX59" fmla="*/ 4597 w 10000"/>
                    <a:gd name="connsiteY59" fmla="*/ 7552 h 10382"/>
                    <a:gd name="connsiteX60" fmla="*/ 4919 w 10000"/>
                    <a:gd name="connsiteY60" fmla="*/ 7439 h 10382"/>
                    <a:gd name="connsiteX61" fmla="*/ 5806 w 10000"/>
                    <a:gd name="connsiteY61" fmla="*/ 6590 h 10382"/>
                    <a:gd name="connsiteX62" fmla="*/ 5806 w 10000"/>
                    <a:gd name="connsiteY62" fmla="*/ 6288 h 10382"/>
                    <a:gd name="connsiteX63" fmla="*/ 6714 w 10000"/>
                    <a:gd name="connsiteY63" fmla="*/ 5873 h 10382"/>
                    <a:gd name="connsiteX64" fmla="*/ 6593 w 10000"/>
                    <a:gd name="connsiteY64" fmla="*/ 5646 h 10382"/>
                    <a:gd name="connsiteX65" fmla="*/ 6956 w 10000"/>
                    <a:gd name="connsiteY65" fmla="*/ 5439 h 10382"/>
                    <a:gd name="connsiteX66" fmla="*/ 7500 w 10000"/>
                    <a:gd name="connsiteY66" fmla="*/ 5439 h 10382"/>
                    <a:gd name="connsiteX67" fmla="*/ 7379 w 10000"/>
                    <a:gd name="connsiteY67" fmla="*/ 4797 h 10382"/>
                    <a:gd name="connsiteX68" fmla="*/ 6956 w 10000"/>
                    <a:gd name="connsiteY68" fmla="*/ 4608 h 10382"/>
                    <a:gd name="connsiteX69" fmla="*/ 7157 w 10000"/>
                    <a:gd name="connsiteY69" fmla="*/ 4250 h 10382"/>
                    <a:gd name="connsiteX70" fmla="*/ 6956 w 10000"/>
                    <a:gd name="connsiteY70" fmla="*/ 4061 h 10382"/>
                    <a:gd name="connsiteX71" fmla="*/ 7036 w 10000"/>
                    <a:gd name="connsiteY71" fmla="*/ 3873 h 10382"/>
                    <a:gd name="connsiteX72" fmla="*/ 7379 w 10000"/>
                    <a:gd name="connsiteY72" fmla="*/ 3873 h 10382"/>
                    <a:gd name="connsiteX73" fmla="*/ 7621 w 10000"/>
                    <a:gd name="connsiteY73" fmla="*/ 4250 h 10382"/>
                    <a:gd name="connsiteX74" fmla="*/ 8387 w 10000"/>
                    <a:gd name="connsiteY74" fmla="*/ 4250 h 10382"/>
                    <a:gd name="connsiteX75" fmla="*/ 8185 w 10000"/>
                    <a:gd name="connsiteY75" fmla="*/ 4797 h 10382"/>
                    <a:gd name="connsiteX76" fmla="*/ 8387 w 10000"/>
                    <a:gd name="connsiteY76" fmla="*/ 4910 h 10382"/>
                    <a:gd name="connsiteX77" fmla="*/ 8508 w 10000"/>
                    <a:gd name="connsiteY77" fmla="*/ 4797 h 10382"/>
                    <a:gd name="connsiteX78" fmla="*/ 8730 w 10000"/>
                    <a:gd name="connsiteY78" fmla="*/ 5325 h 10382"/>
                    <a:gd name="connsiteX79" fmla="*/ 8972 w 10000"/>
                    <a:gd name="connsiteY79" fmla="*/ 4608 h 10382"/>
                    <a:gd name="connsiteX80" fmla="*/ 9294 w 10000"/>
                    <a:gd name="connsiteY80" fmla="*/ 4495 h 10382"/>
                    <a:gd name="connsiteX81" fmla="*/ 9415 w 10000"/>
                    <a:gd name="connsiteY81" fmla="*/ 3646 h 10382"/>
                    <a:gd name="connsiteX82" fmla="*/ 9738 w 10000"/>
                    <a:gd name="connsiteY82" fmla="*/ 3420 h 10382"/>
                    <a:gd name="connsiteX83" fmla="*/ 10000 w 10000"/>
                    <a:gd name="connsiteY83" fmla="*/ 2986 h 10382"/>
                    <a:gd name="connsiteX84" fmla="*/ 9617 w 10000"/>
                    <a:gd name="connsiteY84" fmla="*/ 2910 h 10382"/>
                    <a:gd name="connsiteX85" fmla="*/ 9294 w 10000"/>
                    <a:gd name="connsiteY85" fmla="*/ 2608 h 10382"/>
                    <a:gd name="connsiteX86" fmla="*/ 8065 w 10000"/>
                    <a:gd name="connsiteY86" fmla="*/ 3231 h 10382"/>
                    <a:gd name="connsiteX87" fmla="*/ 7823 w 10000"/>
                    <a:gd name="connsiteY87" fmla="*/ 3646 h 10382"/>
                    <a:gd name="connsiteX88" fmla="*/ 7621 w 10000"/>
                    <a:gd name="connsiteY88" fmla="*/ 3759 h 10382"/>
                    <a:gd name="connsiteX89" fmla="*/ 7500 w 10000"/>
                    <a:gd name="connsiteY89" fmla="*/ 3533 h 10382"/>
                    <a:gd name="connsiteX90" fmla="*/ 7036 w 10000"/>
                    <a:gd name="connsiteY90" fmla="*/ 3420 h 10382"/>
                    <a:gd name="connsiteX91" fmla="*/ 7157 w 10000"/>
                    <a:gd name="connsiteY91"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 name="connsiteX0" fmla="*/ 7157 w 10000"/>
                    <a:gd name="connsiteY0" fmla="*/ 3231 h 10382"/>
                    <a:gd name="connsiteX1" fmla="*/ 6956 w 10000"/>
                    <a:gd name="connsiteY1" fmla="*/ 3099 h 10382"/>
                    <a:gd name="connsiteX2" fmla="*/ 6714 w 10000"/>
                    <a:gd name="connsiteY2" fmla="*/ 3099 h 10382"/>
                    <a:gd name="connsiteX3" fmla="*/ 6714 w 10000"/>
                    <a:gd name="connsiteY3" fmla="*/ 3344 h 10382"/>
                    <a:gd name="connsiteX4" fmla="*/ 6835 w 10000"/>
                    <a:gd name="connsiteY4" fmla="*/ 3873 h 10382"/>
                    <a:gd name="connsiteX5" fmla="*/ 5806 w 10000"/>
                    <a:gd name="connsiteY5" fmla="*/ 3646 h 10382"/>
                    <a:gd name="connsiteX6" fmla="*/ 5484 w 10000"/>
                    <a:gd name="connsiteY6" fmla="*/ 3344 h 10382"/>
                    <a:gd name="connsiteX7" fmla="*/ 4919 w 10000"/>
                    <a:gd name="connsiteY7" fmla="*/ 3420 h 10382"/>
                    <a:gd name="connsiteX8" fmla="*/ 4839 w 10000"/>
                    <a:gd name="connsiteY8" fmla="*/ 3231 h 10382"/>
                    <a:gd name="connsiteX9" fmla="*/ 3891 w 10000"/>
                    <a:gd name="connsiteY9" fmla="*/ 2986 h 10382"/>
                    <a:gd name="connsiteX10" fmla="*/ 3891 w 10000"/>
                    <a:gd name="connsiteY10" fmla="*/ 2269 h 10382"/>
                    <a:gd name="connsiteX11" fmla="*/ 3246 w 10000"/>
                    <a:gd name="connsiteY11" fmla="*/ 1835 h 10382"/>
                    <a:gd name="connsiteX12" fmla="*/ 3024 w 10000"/>
                    <a:gd name="connsiteY12" fmla="*/ 1646 h 10382"/>
                    <a:gd name="connsiteX13" fmla="*/ 3367 w 10000"/>
                    <a:gd name="connsiteY13" fmla="*/ 1420 h 10382"/>
                    <a:gd name="connsiteX14" fmla="*/ 3105 w 10000"/>
                    <a:gd name="connsiteY14" fmla="*/ 1118 h 10382"/>
                    <a:gd name="connsiteX15" fmla="*/ 3367 w 10000"/>
                    <a:gd name="connsiteY15" fmla="*/ 891 h 10382"/>
                    <a:gd name="connsiteX16" fmla="*/ 3540 w 10000"/>
                    <a:gd name="connsiteY16" fmla="*/ 870 h 10382"/>
                    <a:gd name="connsiteX17" fmla="*/ 3552 w 10000"/>
                    <a:gd name="connsiteY17" fmla="*/ 725 h 10382"/>
                    <a:gd name="connsiteX18" fmla="*/ 3491 w 10000"/>
                    <a:gd name="connsiteY18" fmla="*/ 591 h 10382"/>
                    <a:gd name="connsiteX19" fmla="*/ 3343 w 10000"/>
                    <a:gd name="connsiteY19" fmla="*/ 304 h 10382"/>
                    <a:gd name="connsiteX20" fmla="*/ 2278 w 10000"/>
                    <a:gd name="connsiteY20" fmla="*/ 450 h 10382"/>
                    <a:gd name="connsiteX21" fmla="*/ 2148 w 10000"/>
                    <a:gd name="connsiteY21" fmla="*/ 291 h 10382"/>
                    <a:gd name="connsiteX22" fmla="*/ 1946 w 10000"/>
                    <a:gd name="connsiteY22" fmla="*/ 257 h 10382"/>
                    <a:gd name="connsiteX23" fmla="*/ 1839 w 10000"/>
                    <a:gd name="connsiteY23" fmla="*/ 101 h 10382"/>
                    <a:gd name="connsiteX24" fmla="*/ 1482 w 10000"/>
                    <a:gd name="connsiteY24" fmla="*/ 0 h 10382"/>
                    <a:gd name="connsiteX25" fmla="*/ 1244 w 10000"/>
                    <a:gd name="connsiteY25" fmla="*/ 190 h 10382"/>
                    <a:gd name="connsiteX26" fmla="*/ 1184 w 10000"/>
                    <a:gd name="connsiteY26" fmla="*/ 357 h 10382"/>
                    <a:gd name="connsiteX27" fmla="*/ 1423 w 10000"/>
                    <a:gd name="connsiteY27" fmla="*/ 558 h 10382"/>
                    <a:gd name="connsiteX28" fmla="*/ 1230 w 10000"/>
                    <a:gd name="connsiteY28" fmla="*/ 760 h 10382"/>
                    <a:gd name="connsiteX29" fmla="*/ 1351 w 10000"/>
                    <a:gd name="connsiteY29" fmla="*/ 1231 h 10382"/>
                    <a:gd name="connsiteX30" fmla="*/ 1895 w 10000"/>
                    <a:gd name="connsiteY30" fmla="*/ 1646 h 10382"/>
                    <a:gd name="connsiteX31" fmla="*/ 1673 w 10000"/>
                    <a:gd name="connsiteY31" fmla="*/ 1835 h 10382"/>
                    <a:gd name="connsiteX32" fmla="*/ 1673 w 10000"/>
                    <a:gd name="connsiteY32" fmla="*/ 2156 h 10382"/>
                    <a:gd name="connsiteX33" fmla="*/ 907 w 10000"/>
                    <a:gd name="connsiteY33" fmla="*/ 3231 h 10382"/>
                    <a:gd name="connsiteX34" fmla="*/ 323 w 10000"/>
                    <a:gd name="connsiteY34" fmla="*/ 3420 h 10382"/>
                    <a:gd name="connsiteX35" fmla="*/ 1028 w 10000"/>
                    <a:gd name="connsiteY35" fmla="*/ 4250 h 10382"/>
                    <a:gd name="connsiteX36" fmla="*/ 786 w 10000"/>
                    <a:gd name="connsiteY36" fmla="*/ 4495 h 10382"/>
                    <a:gd name="connsiteX37" fmla="*/ 0 w 10000"/>
                    <a:gd name="connsiteY37" fmla="*/ 4684 h 10382"/>
                    <a:gd name="connsiteX38" fmla="*/ 202 w 10000"/>
                    <a:gd name="connsiteY38" fmla="*/ 5024 h 10382"/>
                    <a:gd name="connsiteX39" fmla="*/ 665 w 10000"/>
                    <a:gd name="connsiteY39" fmla="*/ 5024 h 10382"/>
                    <a:gd name="connsiteX40" fmla="*/ 323 w 10000"/>
                    <a:gd name="connsiteY40" fmla="*/ 5212 h 10382"/>
                    <a:gd name="connsiteX41" fmla="*/ 786 w 10000"/>
                    <a:gd name="connsiteY41" fmla="*/ 5759 h 10382"/>
                    <a:gd name="connsiteX42" fmla="*/ 1109 w 10000"/>
                    <a:gd name="connsiteY42" fmla="*/ 5514 h 10382"/>
                    <a:gd name="connsiteX43" fmla="*/ 1431 w 10000"/>
                    <a:gd name="connsiteY43" fmla="*/ 5137 h 10382"/>
                    <a:gd name="connsiteX44" fmla="*/ 1552 w 10000"/>
                    <a:gd name="connsiteY44" fmla="*/ 5439 h 10382"/>
                    <a:gd name="connsiteX45" fmla="*/ 1794 w 10000"/>
                    <a:gd name="connsiteY45" fmla="*/ 5514 h 10382"/>
                    <a:gd name="connsiteX46" fmla="*/ 1794 w 10000"/>
                    <a:gd name="connsiteY46" fmla="*/ 7024 h 10382"/>
                    <a:gd name="connsiteX47" fmla="*/ 2339 w 10000"/>
                    <a:gd name="connsiteY47" fmla="*/ 7854 h 10382"/>
                    <a:gd name="connsiteX48" fmla="*/ 2581 w 10000"/>
                    <a:gd name="connsiteY48" fmla="*/ 8401 h 10382"/>
                    <a:gd name="connsiteX49" fmla="*/ 3488 w 10000"/>
                    <a:gd name="connsiteY49" fmla="*/ 10042 h 10382"/>
                    <a:gd name="connsiteX50" fmla="*/ 3810 w 10000"/>
                    <a:gd name="connsiteY50" fmla="*/ 10382 h 10382"/>
                    <a:gd name="connsiteX51" fmla="*/ 4375 w 10000"/>
                    <a:gd name="connsiteY51" fmla="*/ 9967 h 10382"/>
                    <a:gd name="connsiteX52" fmla="*/ 4254 w 10000"/>
                    <a:gd name="connsiteY52" fmla="*/ 9740 h 10382"/>
                    <a:gd name="connsiteX53" fmla="*/ 4456 w 10000"/>
                    <a:gd name="connsiteY53" fmla="*/ 9552 h 10382"/>
                    <a:gd name="connsiteX54" fmla="*/ 4456 w 10000"/>
                    <a:gd name="connsiteY54" fmla="*/ 9231 h 10382"/>
                    <a:gd name="connsiteX55" fmla="*/ 4375 w 10000"/>
                    <a:gd name="connsiteY55" fmla="*/ 9118 h 10382"/>
                    <a:gd name="connsiteX56" fmla="*/ 4718 w 10000"/>
                    <a:gd name="connsiteY56" fmla="*/ 8476 h 10382"/>
                    <a:gd name="connsiteX57" fmla="*/ 4597 w 10000"/>
                    <a:gd name="connsiteY57" fmla="*/ 8288 h 10382"/>
                    <a:gd name="connsiteX58" fmla="*/ 4597 w 10000"/>
                    <a:gd name="connsiteY58" fmla="*/ 7552 h 10382"/>
                    <a:gd name="connsiteX59" fmla="*/ 4919 w 10000"/>
                    <a:gd name="connsiteY59" fmla="*/ 7439 h 10382"/>
                    <a:gd name="connsiteX60" fmla="*/ 5806 w 10000"/>
                    <a:gd name="connsiteY60" fmla="*/ 6590 h 10382"/>
                    <a:gd name="connsiteX61" fmla="*/ 5806 w 10000"/>
                    <a:gd name="connsiteY61" fmla="*/ 6288 h 10382"/>
                    <a:gd name="connsiteX62" fmla="*/ 6714 w 10000"/>
                    <a:gd name="connsiteY62" fmla="*/ 5873 h 10382"/>
                    <a:gd name="connsiteX63" fmla="*/ 6593 w 10000"/>
                    <a:gd name="connsiteY63" fmla="*/ 5646 h 10382"/>
                    <a:gd name="connsiteX64" fmla="*/ 6956 w 10000"/>
                    <a:gd name="connsiteY64" fmla="*/ 5439 h 10382"/>
                    <a:gd name="connsiteX65" fmla="*/ 7500 w 10000"/>
                    <a:gd name="connsiteY65" fmla="*/ 5439 h 10382"/>
                    <a:gd name="connsiteX66" fmla="*/ 7379 w 10000"/>
                    <a:gd name="connsiteY66" fmla="*/ 4797 h 10382"/>
                    <a:gd name="connsiteX67" fmla="*/ 6956 w 10000"/>
                    <a:gd name="connsiteY67" fmla="*/ 4608 h 10382"/>
                    <a:gd name="connsiteX68" fmla="*/ 7157 w 10000"/>
                    <a:gd name="connsiteY68" fmla="*/ 4250 h 10382"/>
                    <a:gd name="connsiteX69" fmla="*/ 6956 w 10000"/>
                    <a:gd name="connsiteY69" fmla="*/ 4061 h 10382"/>
                    <a:gd name="connsiteX70" fmla="*/ 7036 w 10000"/>
                    <a:gd name="connsiteY70" fmla="*/ 3873 h 10382"/>
                    <a:gd name="connsiteX71" fmla="*/ 7379 w 10000"/>
                    <a:gd name="connsiteY71" fmla="*/ 3873 h 10382"/>
                    <a:gd name="connsiteX72" fmla="*/ 7621 w 10000"/>
                    <a:gd name="connsiteY72" fmla="*/ 4250 h 10382"/>
                    <a:gd name="connsiteX73" fmla="*/ 8387 w 10000"/>
                    <a:gd name="connsiteY73" fmla="*/ 4250 h 10382"/>
                    <a:gd name="connsiteX74" fmla="*/ 8185 w 10000"/>
                    <a:gd name="connsiteY74" fmla="*/ 4797 h 10382"/>
                    <a:gd name="connsiteX75" fmla="*/ 8387 w 10000"/>
                    <a:gd name="connsiteY75" fmla="*/ 4910 h 10382"/>
                    <a:gd name="connsiteX76" fmla="*/ 8508 w 10000"/>
                    <a:gd name="connsiteY76" fmla="*/ 4797 h 10382"/>
                    <a:gd name="connsiteX77" fmla="*/ 8730 w 10000"/>
                    <a:gd name="connsiteY77" fmla="*/ 5325 h 10382"/>
                    <a:gd name="connsiteX78" fmla="*/ 8972 w 10000"/>
                    <a:gd name="connsiteY78" fmla="*/ 4608 h 10382"/>
                    <a:gd name="connsiteX79" fmla="*/ 9294 w 10000"/>
                    <a:gd name="connsiteY79" fmla="*/ 4495 h 10382"/>
                    <a:gd name="connsiteX80" fmla="*/ 9415 w 10000"/>
                    <a:gd name="connsiteY80" fmla="*/ 3646 h 10382"/>
                    <a:gd name="connsiteX81" fmla="*/ 9738 w 10000"/>
                    <a:gd name="connsiteY81" fmla="*/ 3420 h 10382"/>
                    <a:gd name="connsiteX82" fmla="*/ 10000 w 10000"/>
                    <a:gd name="connsiteY82" fmla="*/ 2986 h 10382"/>
                    <a:gd name="connsiteX83" fmla="*/ 9617 w 10000"/>
                    <a:gd name="connsiteY83" fmla="*/ 2910 h 10382"/>
                    <a:gd name="connsiteX84" fmla="*/ 9294 w 10000"/>
                    <a:gd name="connsiteY84" fmla="*/ 2608 h 10382"/>
                    <a:gd name="connsiteX85" fmla="*/ 8065 w 10000"/>
                    <a:gd name="connsiteY85" fmla="*/ 3231 h 10382"/>
                    <a:gd name="connsiteX86" fmla="*/ 7823 w 10000"/>
                    <a:gd name="connsiteY86" fmla="*/ 3646 h 10382"/>
                    <a:gd name="connsiteX87" fmla="*/ 7621 w 10000"/>
                    <a:gd name="connsiteY87" fmla="*/ 3759 h 10382"/>
                    <a:gd name="connsiteX88" fmla="*/ 7500 w 10000"/>
                    <a:gd name="connsiteY88" fmla="*/ 3533 h 10382"/>
                    <a:gd name="connsiteX89" fmla="*/ 7036 w 10000"/>
                    <a:gd name="connsiteY89" fmla="*/ 3420 h 10382"/>
                    <a:gd name="connsiteX90" fmla="*/ 7157 w 10000"/>
                    <a:gd name="connsiteY90" fmla="*/ 3231 h 10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0000" h="10382">
                      <a:moveTo>
                        <a:pt x="7157" y="3231"/>
                      </a:moveTo>
                      <a:lnTo>
                        <a:pt x="6956" y="3099"/>
                      </a:lnTo>
                      <a:lnTo>
                        <a:pt x="6714" y="3099"/>
                      </a:lnTo>
                      <a:lnTo>
                        <a:pt x="6714" y="3344"/>
                      </a:lnTo>
                      <a:cubicBezTo>
                        <a:pt x="6754" y="3520"/>
                        <a:pt x="6795" y="3697"/>
                        <a:pt x="6835" y="3873"/>
                      </a:cubicBezTo>
                      <a:lnTo>
                        <a:pt x="5806" y="3646"/>
                      </a:lnTo>
                      <a:lnTo>
                        <a:pt x="5484" y="3344"/>
                      </a:lnTo>
                      <a:lnTo>
                        <a:pt x="4919" y="3420"/>
                      </a:lnTo>
                      <a:cubicBezTo>
                        <a:pt x="4892" y="3357"/>
                        <a:pt x="4866" y="3294"/>
                        <a:pt x="4839" y="3231"/>
                      </a:cubicBezTo>
                      <a:lnTo>
                        <a:pt x="3891" y="2986"/>
                      </a:lnTo>
                      <a:lnTo>
                        <a:pt x="3891" y="2269"/>
                      </a:lnTo>
                      <a:lnTo>
                        <a:pt x="3246" y="1835"/>
                      </a:lnTo>
                      <a:lnTo>
                        <a:pt x="3024" y="1646"/>
                      </a:lnTo>
                      <a:lnTo>
                        <a:pt x="3367" y="1420"/>
                      </a:lnTo>
                      <a:lnTo>
                        <a:pt x="3105" y="1118"/>
                      </a:lnTo>
                      <a:lnTo>
                        <a:pt x="3367" y="891"/>
                      </a:lnTo>
                      <a:lnTo>
                        <a:pt x="3540" y="870"/>
                      </a:lnTo>
                      <a:cubicBezTo>
                        <a:pt x="3544" y="822"/>
                        <a:pt x="3548" y="773"/>
                        <a:pt x="3552" y="725"/>
                      </a:cubicBezTo>
                      <a:cubicBezTo>
                        <a:pt x="3536" y="664"/>
                        <a:pt x="3518" y="659"/>
                        <a:pt x="3491" y="591"/>
                      </a:cubicBezTo>
                      <a:cubicBezTo>
                        <a:pt x="3442" y="495"/>
                        <a:pt x="3392" y="400"/>
                        <a:pt x="3343" y="304"/>
                      </a:cubicBezTo>
                      <a:lnTo>
                        <a:pt x="2278" y="450"/>
                      </a:lnTo>
                      <a:lnTo>
                        <a:pt x="2148" y="291"/>
                      </a:lnTo>
                      <a:lnTo>
                        <a:pt x="1946" y="257"/>
                      </a:lnTo>
                      <a:cubicBezTo>
                        <a:pt x="1922" y="227"/>
                        <a:pt x="1863" y="131"/>
                        <a:pt x="1839" y="101"/>
                      </a:cubicBezTo>
                      <a:lnTo>
                        <a:pt x="1482" y="0"/>
                      </a:lnTo>
                      <a:lnTo>
                        <a:pt x="1244" y="190"/>
                      </a:lnTo>
                      <a:cubicBezTo>
                        <a:pt x="1224" y="246"/>
                        <a:pt x="1204" y="301"/>
                        <a:pt x="1184" y="357"/>
                      </a:cubicBezTo>
                      <a:lnTo>
                        <a:pt x="1423" y="558"/>
                      </a:lnTo>
                      <a:lnTo>
                        <a:pt x="1230" y="760"/>
                      </a:lnTo>
                      <a:cubicBezTo>
                        <a:pt x="1270" y="917"/>
                        <a:pt x="1311" y="1074"/>
                        <a:pt x="1351" y="1231"/>
                      </a:cubicBezTo>
                      <a:lnTo>
                        <a:pt x="1895" y="1646"/>
                      </a:lnTo>
                      <a:lnTo>
                        <a:pt x="1673" y="1835"/>
                      </a:lnTo>
                      <a:lnTo>
                        <a:pt x="1673" y="2156"/>
                      </a:lnTo>
                      <a:lnTo>
                        <a:pt x="907" y="3231"/>
                      </a:lnTo>
                      <a:lnTo>
                        <a:pt x="323" y="3420"/>
                      </a:lnTo>
                      <a:lnTo>
                        <a:pt x="1028" y="4250"/>
                      </a:lnTo>
                      <a:lnTo>
                        <a:pt x="786" y="4495"/>
                      </a:lnTo>
                      <a:lnTo>
                        <a:pt x="0" y="4684"/>
                      </a:lnTo>
                      <a:lnTo>
                        <a:pt x="202" y="5024"/>
                      </a:lnTo>
                      <a:lnTo>
                        <a:pt x="665" y="5024"/>
                      </a:lnTo>
                      <a:lnTo>
                        <a:pt x="323" y="5212"/>
                      </a:lnTo>
                      <a:lnTo>
                        <a:pt x="786" y="5759"/>
                      </a:lnTo>
                      <a:lnTo>
                        <a:pt x="1109" y="5514"/>
                      </a:lnTo>
                      <a:lnTo>
                        <a:pt x="1431" y="5137"/>
                      </a:lnTo>
                      <a:cubicBezTo>
                        <a:pt x="1471" y="5238"/>
                        <a:pt x="1512" y="5338"/>
                        <a:pt x="1552" y="5439"/>
                      </a:cubicBezTo>
                      <a:lnTo>
                        <a:pt x="1794" y="5514"/>
                      </a:lnTo>
                      <a:lnTo>
                        <a:pt x="1794" y="7024"/>
                      </a:lnTo>
                      <a:lnTo>
                        <a:pt x="2339" y="7854"/>
                      </a:lnTo>
                      <a:cubicBezTo>
                        <a:pt x="2420" y="8036"/>
                        <a:pt x="2500" y="8219"/>
                        <a:pt x="2581" y="8401"/>
                      </a:cubicBezTo>
                      <a:lnTo>
                        <a:pt x="3488" y="10042"/>
                      </a:lnTo>
                      <a:lnTo>
                        <a:pt x="3810" y="10382"/>
                      </a:lnTo>
                      <a:lnTo>
                        <a:pt x="4375" y="9967"/>
                      </a:lnTo>
                      <a:cubicBezTo>
                        <a:pt x="4335" y="9891"/>
                        <a:pt x="4294" y="9816"/>
                        <a:pt x="4254" y="9740"/>
                      </a:cubicBezTo>
                      <a:lnTo>
                        <a:pt x="4456" y="9552"/>
                      </a:lnTo>
                      <a:lnTo>
                        <a:pt x="4456" y="9231"/>
                      </a:lnTo>
                      <a:cubicBezTo>
                        <a:pt x="4429" y="9193"/>
                        <a:pt x="4402" y="9156"/>
                        <a:pt x="4375" y="9118"/>
                      </a:cubicBezTo>
                      <a:lnTo>
                        <a:pt x="4718" y="8476"/>
                      </a:lnTo>
                      <a:cubicBezTo>
                        <a:pt x="4678" y="8413"/>
                        <a:pt x="4637" y="8351"/>
                        <a:pt x="4597" y="8288"/>
                      </a:cubicBezTo>
                      <a:lnTo>
                        <a:pt x="4597" y="7552"/>
                      </a:lnTo>
                      <a:lnTo>
                        <a:pt x="4919" y="7439"/>
                      </a:lnTo>
                      <a:lnTo>
                        <a:pt x="5806" y="6590"/>
                      </a:lnTo>
                      <a:lnTo>
                        <a:pt x="5806" y="6288"/>
                      </a:lnTo>
                      <a:lnTo>
                        <a:pt x="6714" y="5873"/>
                      </a:lnTo>
                      <a:cubicBezTo>
                        <a:pt x="6674" y="5797"/>
                        <a:pt x="6633" y="5722"/>
                        <a:pt x="6593" y="5646"/>
                      </a:cubicBezTo>
                      <a:lnTo>
                        <a:pt x="6956" y="5439"/>
                      </a:lnTo>
                      <a:lnTo>
                        <a:pt x="7500" y="5439"/>
                      </a:lnTo>
                      <a:cubicBezTo>
                        <a:pt x="7460" y="5225"/>
                        <a:pt x="7419" y="5011"/>
                        <a:pt x="7379" y="4797"/>
                      </a:cubicBezTo>
                      <a:lnTo>
                        <a:pt x="6956" y="4608"/>
                      </a:lnTo>
                      <a:lnTo>
                        <a:pt x="7157" y="4250"/>
                      </a:lnTo>
                      <a:lnTo>
                        <a:pt x="6956" y="4061"/>
                      </a:lnTo>
                      <a:cubicBezTo>
                        <a:pt x="6983" y="3998"/>
                        <a:pt x="7009" y="3936"/>
                        <a:pt x="7036" y="3873"/>
                      </a:cubicBezTo>
                      <a:lnTo>
                        <a:pt x="7379" y="3873"/>
                      </a:lnTo>
                      <a:lnTo>
                        <a:pt x="7621" y="4250"/>
                      </a:lnTo>
                      <a:lnTo>
                        <a:pt x="8387" y="4250"/>
                      </a:lnTo>
                      <a:lnTo>
                        <a:pt x="8185" y="4797"/>
                      </a:lnTo>
                      <a:lnTo>
                        <a:pt x="8387" y="4910"/>
                      </a:lnTo>
                      <a:cubicBezTo>
                        <a:pt x="8427" y="4872"/>
                        <a:pt x="8468" y="4835"/>
                        <a:pt x="8508" y="4797"/>
                      </a:cubicBezTo>
                      <a:lnTo>
                        <a:pt x="8730" y="5325"/>
                      </a:lnTo>
                      <a:cubicBezTo>
                        <a:pt x="8811" y="5086"/>
                        <a:pt x="8891" y="4847"/>
                        <a:pt x="8972" y="4608"/>
                      </a:cubicBezTo>
                      <a:lnTo>
                        <a:pt x="9294" y="4495"/>
                      </a:lnTo>
                      <a:cubicBezTo>
                        <a:pt x="9334" y="4212"/>
                        <a:pt x="9375" y="3929"/>
                        <a:pt x="9415" y="3646"/>
                      </a:cubicBezTo>
                      <a:lnTo>
                        <a:pt x="9738" y="3420"/>
                      </a:lnTo>
                      <a:cubicBezTo>
                        <a:pt x="9825" y="3275"/>
                        <a:pt x="9913" y="3131"/>
                        <a:pt x="10000" y="2986"/>
                      </a:cubicBezTo>
                      <a:lnTo>
                        <a:pt x="9617" y="2910"/>
                      </a:lnTo>
                      <a:lnTo>
                        <a:pt x="9294" y="2608"/>
                      </a:lnTo>
                      <a:lnTo>
                        <a:pt x="8065" y="3231"/>
                      </a:lnTo>
                      <a:cubicBezTo>
                        <a:pt x="7984" y="3369"/>
                        <a:pt x="7904" y="3508"/>
                        <a:pt x="7823" y="3646"/>
                      </a:cubicBezTo>
                      <a:lnTo>
                        <a:pt x="7621" y="3759"/>
                      </a:lnTo>
                      <a:lnTo>
                        <a:pt x="7500" y="3533"/>
                      </a:lnTo>
                      <a:lnTo>
                        <a:pt x="7036" y="3420"/>
                      </a:lnTo>
                      <a:cubicBezTo>
                        <a:pt x="7076" y="3357"/>
                        <a:pt x="7117" y="3294"/>
                        <a:pt x="7157" y="3231"/>
                      </a:cubicBez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algn="ctr" defTabSz="1226579" rtl="0" eaLnBrk="0" fontAlgn="auto" latinLnBrk="0" hangingPunct="0">
                    <a:lnSpc>
                      <a:spcPct val="90000"/>
                    </a:lnSpc>
                    <a:spcBef>
                      <a:spcPct val="30000"/>
                    </a:spcBef>
                    <a:spcAft>
                      <a:spcPts val="0"/>
                    </a:spcAft>
                    <a:buClr>
                      <a:srgbClr val="FFCC00"/>
                    </a:buClr>
                    <a:buSzTx/>
                    <a:buFontTx/>
                    <a:buNone/>
                    <a:tabLst/>
                    <a:defRPr/>
                  </a:pPr>
                  <a:endParaRPr kumimoji="0" lang="en-US" sz="1879" b="0" i="0" u="none" strike="noStrike" kern="0" cap="none" spc="0" normalizeH="0" baseline="0" noProof="0">
                    <a:ln>
                      <a:noFill/>
                    </a:ln>
                    <a:solidFill>
                      <a:srgbClr val="B3B6BA"/>
                    </a:solidFill>
                    <a:effectLst/>
                    <a:uLnTx/>
                    <a:uFillTx/>
                    <a:latin typeface="Arial"/>
                    <a:ea typeface="ＭＳ Ｐゴシック"/>
                  </a:endParaRPr>
                </a:p>
              </p:txBody>
            </p:sp>
            <p:cxnSp>
              <p:nvCxnSpPr>
                <p:cNvPr id="574" name="Straight Connector 583">
                  <a:extLst>
                    <a:ext uri="{FF2B5EF4-FFF2-40B4-BE49-F238E27FC236}">
                      <a16:creationId xmlns:a16="http://schemas.microsoft.com/office/drawing/2014/main" id="{66DE6B4A-922D-43EC-9DAC-6D4320D79A88}"/>
                    </a:ext>
                  </a:extLst>
                </p:cNvPr>
                <p:cNvCxnSpPr/>
                <p:nvPr/>
              </p:nvCxnSpPr>
              <p:spPr>
                <a:xfrm>
                  <a:off x="6478857" y="2133679"/>
                  <a:ext cx="32558" cy="39513"/>
                </a:xfrm>
                <a:prstGeom prst="line">
                  <a:avLst/>
                </a:prstGeom>
                <a:grpFill/>
                <a:ln w="3175" cap="flat" cmpd="sng" algn="ctr">
                  <a:solidFill>
                    <a:srgbClr val="98A2AE">
                      <a:lumMod val="40000"/>
                      <a:lumOff val="60000"/>
                      <a:alpha val="29000"/>
                    </a:srgbClr>
                  </a:solidFill>
                  <a:prstDash val="sysDash"/>
                </a:ln>
                <a:effectLst/>
              </p:spPr>
            </p:cxnSp>
          </p:grpSp>
        </p:grpSp>
        <p:grpSp>
          <p:nvGrpSpPr>
            <p:cNvPr id="405" name="Group 325">
              <a:extLst>
                <a:ext uri="{FF2B5EF4-FFF2-40B4-BE49-F238E27FC236}">
                  <a16:creationId xmlns:a16="http://schemas.microsoft.com/office/drawing/2014/main" id="{2AEFB6BA-134B-440F-A6DE-7C34C7CA0B2E}"/>
                </a:ext>
              </a:extLst>
            </p:cNvPr>
            <p:cNvGrpSpPr/>
            <p:nvPr/>
          </p:nvGrpSpPr>
          <p:grpSpPr>
            <a:xfrm>
              <a:off x="995819" y="1141427"/>
              <a:ext cx="2365572" cy="1662419"/>
              <a:chOff x="417513" y="1034773"/>
              <a:chExt cx="2374308" cy="1603564"/>
            </a:xfrm>
            <a:grpFill/>
          </p:grpSpPr>
          <p:sp>
            <p:nvSpPr>
              <p:cNvPr id="529" name="Freeform 74">
                <a:extLst>
                  <a:ext uri="{FF2B5EF4-FFF2-40B4-BE49-F238E27FC236}">
                    <a16:creationId xmlns:a16="http://schemas.microsoft.com/office/drawing/2014/main" id="{D9BF2B00-FA67-42C8-9891-D57177048F7F}"/>
                  </a:ext>
                </a:extLst>
              </p:cNvPr>
              <p:cNvSpPr>
                <a:spLocks/>
              </p:cNvSpPr>
              <p:nvPr/>
            </p:nvSpPr>
            <p:spPr bwMode="auto">
              <a:xfrm>
                <a:off x="417513" y="1282608"/>
                <a:ext cx="853595" cy="380461"/>
              </a:xfrm>
              <a:custGeom>
                <a:avLst/>
                <a:gdLst>
                  <a:gd name="T0" fmla="*/ 305 w 650"/>
                  <a:gd name="T1" fmla="*/ 49 h 284"/>
                  <a:gd name="T2" fmla="*/ 305 w 650"/>
                  <a:gd name="T3" fmla="*/ 77 h 284"/>
                  <a:gd name="T4" fmla="*/ 228 w 650"/>
                  <a:gd name="T5" fmla="*/ 99 h 284"/>
                  <a:gd name="T6" fmla="*/ 278 w 650"/>
                  <a:gd name="T7" fmla="*/ 93 h 284"/>
                  <a:gd name="T8" fmla="*/ 218 w 650"/>
                  <a:gd name="T9" fmla="*/ 128 h 284"/>
                  <a:gd name="T10" fmla="*/ 122 w 650"/>
                  <a:gd name="T11" fmla="*/ 173 h 284"/>
                  <a:gd name="T12" fmla="*/ 167 w 650"/>
                  <a:gd name="T13" fmla="*/ 173 h 284"/>
                  <a:gd name="T14" fmla="*/ 173 w 650"/>
                  <a:gd name="T15" fmla="*/ 205 h 284"/>
                  <a:gd name="T16" fmla="*/ 201 w 650"/>
                  <a:gd name="T17" fmla="*/ 205 h 284"/>
                  <a:gd name="T18" fmla="*/ 100 w 650"/>
                  <a:gd name="T19" fmla="*/ 244 h 284"/>
                  <a:gd name="T20" fmla="*/ 49 w 650"/>
                  <a:gd name="T21" fmla="*/ 256 h 284"/>
                  <a:gd name="T22" fmla="*/ 16 w 650"/>
                  <a:gd name="T23" fmla="*/ 268 h 284"/>
                  <a:gd name="T24" fmla="*/ 23 w 650"/>
                  <a:gd name="T25" fmla="*/ 284 h 284"/>
                  <a:gd name="T26" fmla="*/ 45 w 650"/>
                  <a:gd name="T27" fmla="*/ 272 h 284"/>
                  <a:gd name="T28" fmla="*/ 77 w 650"/>
                  <a:gd name="T29" fmla="*/ 278 h 284"/>
                  <a:gd name="T30" fmla="*/ 211 w 650"/>
                  <a:gd name="T31" fmla="*/ 223 h 284"/>
                  <a:gd name="T32" fmla="*/ 260 w 650"/>
                  <a:gd name="T33" fmla="*/ 201 h 284"/>
                  <a:gd name="T34" fmla="*/ 343 w 650"/>
                  <a:gd name="T35" fmla="*/ 144 h 284"/>
                  <a:gd name="T36" fmla="*/ 305 w 650"/>
                  <a:gd name="T37" fmla="*/ 177 h 284"/>
                  <a:gd name="T38" fmla="*/ 368 w 650"/>
                  <a:gd name="T39" fmla="*/ 173 h 284"/>
                  <a:gd name="T40" fmla="*/ 390 w 650"/>
                  <a:gd name="T41" fmla="*/ 156 h 284"/>
                  <a:gd name="T42" fmla="*/ 484 w 650"/>
                  <a:gd name="T43" fmla="*/ 195 h 284"/>
                  <a:gd name="T44" fmla="*/ 506 w 650"/>
                  <a:gd name="T45" fmla="*/ 205 h 284"/>
                  <a:gd name="T46" fmla="*/ 522 w 650"/>
                  <a:gd name="T47" fmla="*/ 250 h 284"/>
                  <a:gd name="T48" fmla="*/ 551 w 650"/>
                  <a:gd name="T49" fmla="*/ 256 h 284"/>
                  <a:gd name="T50" fmla="*/ 544 w 650"/>
                  <a:gd name="T51" fmla="*/ 205 h 284"/>
                  <a:gd name="T52" fmla="*/ 500 w 650"/>
                  <a:gd name="T53" fmla="*/ 189 h 284"/>
                  <a:gd name="T54" fmla="*/ 477 w 650"/>
                  <a:gd name="T55" fmla="*/ 166 h 284"/>
                  <a:gd name="T56" fmla="*/ 634 w 650"/>
                  <a:gd name="T57" fmla="*/ 10 h 284"/>
                  <a:gd name="T58" fmla="*/ 583 w 650"/>
                  <a:gd name="T59" fmla="*/ 10 h 284"/>
                  <a:gd name="T60" fmla="*/ 390 w 650"/>
                  <a:gd name="T61" fmla="*/ 4 h 284"/>
                  <a:gd name="T62" fmla="*/ 323 w 650"/>
                  <a:gd name="T63" fmla="*/ 26 h 2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0"/>
                  <a:gd name="T97" fmla="*/ 0 h 284"/>
                  <a:gd name="T98" fmla="*/ 650 w 650"/>
                  <a:gd name="T99" fmla="*/ 284 h 2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0" h="284">
                    <a:moveTo>
                      <a:pt x="323" y="26"/>
                    </a:moveTo>
                    <a:lnTo>
                      <a:pt x="305" y="49"/>
                    </a:lnTo>
                    <a:lnTo>
                      <a:pt x="323" y="71"/>
                    </a:lnTo>
                    <a:lnTo>
                      <a:pt x="305" y="77"/>
                    </a:lnTo>
                    <a:lnTo>
                      <a:pt x="256" y="83"/>
                    </a:lnTo>
                    <a:lnTo>
                      <a:pt x="228" y="99"/>
                    </a:lnTo>
                    <a:lnTo>
                      <a:pt x="256" y="99"/>
                    </a:lnTo>
                    <a:lnTo>
                      <a:pt x="278" y="93"/>
                    </a:lnTo>
                    <a:lnTo>
                      <a:pt x="266" y="116"/>
                    </a:lnTo>
                    <a:lnTo>
                      <a:pt x="218" y="128"/>
                    </a:lnTo>
                    <a:lnTo>
                      <a:pt x="201" y="122"/>
                    </a:lnTo>
                    <a:lnTo>
                      <a:pt x="122" y="173"/>
                    </a:lnTo>
                    <a:lnTo>
                      <a:pt x="134" y="177"/>
                    </a:lnTo>
                    <a:lnTo>
                      <a:pt x="167" y="173"/>
                    </a:lnTo>
                    <a:lnTo>
                      <a:pt x="138" y="201"/>
                    </a:lnTo>
                    <a:lnTo>
                      <a:pt x="173" y="205"/>
                    </a:lnTo>
                    <a:lnTo>
                      <a:pt x="189" y="195"/>
                    </a:lnTo>
                    <a:lnTo>
                      <a:pt x="201" y="205"/>
                    </a:lnTo>
                    <a:lnTo>
                      <a:pt x="138" y="234"/>
                    </a:lnTo>
                    <a:lnTo>
                      <a:pt x="100" y="244"/>
                    </a:lnTo>
                    <a:lnTo>
                      <a:pt x="90" y="256"/>
                    </a:lnTo>
                    <a:lnTo>
                      <a:pt x="49" y="256"/>
                    </a:lnTo>
                    <a:lnTo>
                      <a:pt x="39" y="268"/>
                    </a:lnTo>
                    <a:lnTo>
                      <a:pt x="16" y="268"/>
                    </a:lnTo>
                    <a:lnTo>
                      <a:pt x="0" y="284"/>
                    </a:lnTo>
                    <a:lnTo>
                      <a:pt x="23" y="284"/>
                    </a:lnTo>
                    <a:lnTo>
                      <a:pt x="33" y="272"/>
                    </a:lnTo>
                    <a:lnTo>
                      <a:pt x="45" y="272"/>
                    </a:lnTo>
                    <a:lnTo>
                      <a:pt x="77" y="268"/>
                    </a:lnTo>
                    <a:lnTo>
                      <a:pt x="77" y="278"/>
                    </a:lnTo>
                    <a:lnTo>
                      <a:pt x="100" y="262"/>
                    </a:lnTo>
                    <a:lnTo>
                      <a:pt x="211" y="223"/>
                    </a:lnTo>
                    <a:lnTo>
                      <a:pt x="234" y="205"/>
                    </a:lnTo>
                    <a:lnTo>
                      <a:pt x="260" y="201"/>
                    </a:lnTo>
                    <a:lnTo>
                      <a:pt x="289" y="177"/>
                    </a:lnTo>
                    <a:lnTo>
                      <a:pt x="343" y="144"/>
                    </a:lnTo>
                    <a:lnTo>
                      <a:pt x="339" y="160"/>
                    </a:lnTo>
                    <a:lnTo>
                      <a:pt x="305" y="177"/>
                    </a:lnTo>
                    <a:lnTo>
                      <a:pt x="301" y="195"/>
                    </a:lnTo>
                    <a:lnTo>
                      <a:pt x="368" y="173"/>
                    </a:lnTo>
                    <a:lnTo>
                      <a:pt x="372" y="160"/>
                    </a:lnTo>
                    <a:lnTo>
                      <a:pt x="390" y="156"/>
                    </a:lnTo>
                    <a:lnTo>
                      <a:pt x="394" y="173"/>
                    </a:lnTo>
                    <a:lnTo>
                      <a:pt x="484" y="195"/>
                    </a:lnTo>
                    <a:lnTo>
                      <a:pt x="490" y="217"/>
                    </a:lnTo>
                    <a:lnTo>
                      <a:pt x="506" y="205"/>
                    </a:lnTo>
                    <a:lnTo>
                      <a:pt x="522" y="205"/>
                    </a:lnTo>
                    <a:lnTo>
                      <a:pt x="522" y="250"/>
                    </a:lnTo>
                    <a:lnTo>
                      <a:pt x="528" y="268"/>
                    </a:lnTo>
                    <a:lnTo>
                      <a:pt x="551" y="256"/>
                    </a:lnTo>
                    <a:lnTo>
                      <a:pt x="544" y="234"/>
                    </a:lnTo>
                    <a:lnTo>
                      <a:pt x="544" y="205"/>
                    </a:lnTo>
                    <a:lnTo>
                      <a:pt x="534" y="177"/>
                    </a:lnTo>
                    <a:lnTo>
                      <a:pt x="500" y="189"/>
                    </a:lnTo>
                    <a:lnTo>
                      <a:pt x="506" y="173"/>
                    </a:lnTo>
                    <a:lnTo>
                      <a:pt x="477" y="166"/>
                    </a:lnTo>
                    <a:lnTo>
                      <a:pt x="650" y="16"/>
                    </a:lnTo>
                    <a:lnTo>
                      <a:pt x="634" y="10"/>
                    </a:lnTo>
                    <a:lnTo>
                      <a:pt x="618" y="22"/>
                    </a:lnTo>
                    <a:lnTo>
                      <a:pt x="583" y="10"/>
                    </a:lnTo>
                    <a:lnTo>
                      <a:pt x="484" y="0"/>
                    </a:lnTo>
                    <a:lnTo>
                      <a:pt x="390" y="4"/>
                    </a:lnTo>
                    <a:lnTo>
                      <a:pt x="323"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0" name="Freeform 75">
                <a:extLst>
                  <a:ext uri="{FF2B5EF4-FFF2-40B4-BE49-F238E27FC236}">
                    <a16:creationId xmlns:a16="http://schemas.microsoft.com/office/drawing/2014/main" id="{BFE41D94-45F9-40DF-AA1E-3836A2078A40}"/>
                  </a:ext>
                </a:extLst>
              </p:cNvPr>
              <p:cNvSpPr>
                <a:spLocks/>
              </p:cNvSpPr>
              <p:nvPr/>
            </p:nvSpPr>
            <p:spPr bwMode="auto">
              <a:xfrm>
                <a:off x="980886" y="1775600"/>
                <a:ext cx="1283019" cy="628297"/>
              </a:xfrm>
              <a:custGeom>
                <a:avLst/>
                <a:gdLst>
                  <a:gd name="T0" fmla="*/ 956 w 977"/>
                  <a:gd name="T1" fmla="*/ 38 h 469"/>
                  <a:gd name="T2" fmla="*/ 838 w 977"/>
                  <a:gd name="T3" fmla="*/ 83 h 469"/>
                  <a:gd name="T4" fmla="*/ 800 w 977"/>
                  <a:gd name="T5" fmla="*/ 117 h 469"/>
                  <a:gd name="T6" fmla="*/ 745 w 977"/>
                  <a:gd name="T7" fmla="*/ 128 h 469"/>
                  <a:gd name="T8" fmla="*/ 694 w 977"/>
                  <a:gd name="T9" fmla="*/ 156 h 469"/>
                  <a:gd name="T10" fmla="*/ 704 w 977"/>
                  <a:gd name="T11" fmla="*/ 134 h 469"/>
                  <a:gd name="T12" fmla="*/ 704 w 977"/>
                  <a:gd name="T13" fmla="*/ 105 h 469"/>
                  <a:gd name="T14" fmla="*/ 704 w 977"/>
                  <a:gd name="T15" fmla="*/ 89 h 469"/>
                  <a:gd name="T16" fmla="*/ 682 w 977"/>
                  <a:gd name="T17" fmla="*/ 77 h 469"/>
                  <a:gd name="T18" fmla="*/ 639 w 977"/>
                  <a:gd name="T19" fmla="*/ 140 h 469"/>
                  <a:gd name="T20" fmla="*/ 611 w 977"/>
                  <a:gd name="T21" fmla="*/ 140 h 469"/>
                  <a:gd name="T22" fmla="*/ 633 w 977"/>
                  <a:gd name="T23" fmla="*/ 95 h 469"/>
                  <a:gd name="T24" fmla="*/ 643 w 977"/>
                  <a:gd name="T25" fmla="*/ 83 h 469"/>
                  <a:gd name="T26" fmla="*/ 682 w 977"/>
                  <a:gd name="T27" fmla="*/ 67 h 469"/>
                  <a:gd name="T28" fmla="*/ 694 w 977"/>
                  <a:gd name="T29" fmla="*/ 57 h 469"/>
                  <a:gd name="T30" fmla="*/ 656 w 977"/>
                  <a:gd name="T31" fmla="*/ 38 h 469"/>
                  <a:gd name="T32" fmla="*/ 589 w 977"/>
                  <a:gd name="T33" fmla="*/ 50 h 469"/>
                  <a:gd name="T34" fmla="*/ 627 w 977"/>
                  <a:gd name="T35" fmla="*/ 34 h 469"/>
                  <a:gd name="T36" fmla="*/ 605 w 977"/>
                  <a:gd name="T37" fmla="*/ 22 h 469"/>
                  <a:gd name="T38" fmla="*/ 572 w 977"/>
                  <a:gd name="T39" fmla="*/ 0 h 469"/>
                  <a:gd name="T40" fmla="*/ 556 w 977"/>
                  <a:gd name="T41" fmla="*/ 10 h 469"/>
                  <a:gd name="T42" fmla="*/ 115 w 977"/>
                  <a:gd name="T43" fmla="*/ 44 h 469"/>
                  <a:gd name="T44" fmla="*/ 83 w 977"/>
                  <a:gd name="T45" fmla="*/ 28 h 469"/>
                  <a:gd name="T46" fmla="*/ 38 w 977"/>
                  <a:gd name="T47" fmla="*/ 111 h 469"/>
                  <a:gd name="T48" fmla="*/ 0 w 977"/>
                  <a:gd name="T49" fmla="*/ 172 h 469"/>
                  <a:gd name="T50" fmla="*/ 10 w 977"/>
                  <a:gd name="T51" fmla="*/ 207 h 469"/>
                  <a:gd name="T52" fmla="*/ 10 w 977"/>
                  <a:gd name="T53" fmla="*/ 274 h 469"/>
                  <a:gd name="T54" fmla="*/ 48 w 977"/>
                  <a:gd name="T55" fmla="*/ 306 h 469"/>
                  <a:gd name="T56" fmla="*/ 105 w 977"/>
                  <a:gd name="T57" fmla="*/ 325 h 469"/>
                  <a:gd name="T58" fmla="*/ 211 w 977"/>
                  <a:gd name="T59" fmla="*/ 335 h 469"/>
                  <a:gd name="T60" fmla="*/ 266 w 977"/>
                  <a:gd name="T61" fmla="*/ 390 h 469"/>
                  <a:gd name="T62" fmla="*/ 282 w 977"/>
                  <a:gd name="T63" fmla="*/ 380 h 469"/>
                  <a:gd name="T64" fmla="*/ 327 w 977"/>
                  <a:gd name="T65" fmla="*/ 402 h 469"/>
                  <a:gd name="T66" fmla="*/ 349 w 977"/>
                  <a:gd name="T67" fmla="*/ 453 h 469"/>
                  <a:gd name="T68" fmla="*/ 355 w 977"/>
                  <a:gd name="T69" fmla="*/ 418 h 469"/>
                  <a:gd name="T70" fmla="*/ 449 w 977"/>
                  <a:gd name="T71" fmla="*/ 386 h 469"/>
                  <a:gd name="T72" fmla="*/ 477 w 977"/>
                  <a:gd name="T73" fmla="*/ 396 h 469"/>
                  <a:gd name="T74" fmla="*/ 493 w 977"/>
                  <a:gd name="T75" fmla="*/ 363 h 469"/>
                  <a:gd name="T76" fmla="*/ 611 w 977"/>
                  <a:gd name="T77" fmla="*/ 396 h 469"/>
                  <a:gd name="T78" fmla="*/ 621 w 977"/>
                  <a:gd name="T79" fmla="*/ 436 h 469"/>
                  <a:gd name="T80" fmla="*/ 633 w 977"/>
                  <a:gd name="T81" fmla="*/ 469 h 469"/>
                  <a:gd name="T82" fmla="*/ 656 w 977"/>
                  <a:gd name="T83" fmla="*/ 430 h 469"/>
                  <a:gd name="T84" fmla="*/ 650 w 977"/>
                  <a:gd name="T85" fmla="*/ 351 h 469"/>
                  <a:gd name="T86" fmla="*/ 745 w 977"/>
                  <a:gd name="T87" fmla="*/ 284 h 469"/>
                  <a:gd name="T88" fmla="*/ 755 w 977"/>
                  <a:gd name="T89" fmla="*/ 235 h 469"/>
                  <a:gd name="T90" fmla="*/ 761 w 977"/>
                  <a:gd name="T91" fmla="*/ 207 h 469"/>
                  <a:gd name="T92" fmla="*/ 784 w 977"/>
                  <a:gd name="T93" fmla="*/ 217 h 469"/>
                  <a:gd name="T94" fmla="*/ 794 w 977"/>
                  <a:gd name="T95" fmla="*/ 185 h 469"/>
                  <a:gd name="T96" fmla="*/ 828 w 977"/>
                  <a:gd name="T97" fmla="*/ 172 h 469"/>
                  <a:gd name="T98" fmla="*/ 899 w 977"/>
                  <a:gd name="T99" fmla="*/ 144 h 469"/>
                  <a:gd name="T100" fmla="*/ 905 w 977"/>
                  <a:gd name="T101" fmla="*/ 111 h 469"/>
                  <a:gd name="T102" fmla="*/ 966 w 977"/>
                  <a:gd name="T103" fmla="*/ 57 h 469"/>
                  <a:gd name="T104" fmla="*/ 977 w 977"/>
                  <a:gd name="T105" fmla="*/ 38 h 46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77"/>
                  <a:gd name="T160" fmla="*/ 0 h 469"/>
                  <a:gd name="T161" fmla="*/ 977 w 977"/>
                  <a:gd name="T162" fmla="*/ 469 h 46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77" h="469">
                    <a:moveTo>
                      <a:pt x="977" y="38"/>
                    </a:moveTo>
                    <a:lnTo>
                      <a:pt x="956" y="38"/>
                    </a:lnTo>
                    <a:lnTo>
                      <a:pt x="922" y="73"/>
                    </a:lnTo>
                    <a:lnTo>
                      <a:pt x="838" y="83"/>
                    </a:lnTo>
                    <a:lnTo>
                      <a:pt x="810" y="105"/>
                    </a:lnTo>
                    <a:lnTo>
                      <a:pt x="800" y="117"/>
                    </a:lnTo>
                    <a:lnTo>
                      <a:pt x="755" y="124"/>
                    </a:lnTo>
                    <a:lnTo>
                      <a:pt x="745" y="128"/>
                    </a:lnTo>
                    <a:lnTo>
                      <a:pt x="739" y="134"/>
                    </a:lnTo>
                    <a:lnTo>
                      <a:pt x="694" y="156"/>
                    </a:lnTo>
                    <a:lnTo>
                      <a:pt x="678" y="144"/>
                    </a:lnTo>
                    <a:lnTo>
                      <a:pt x="704" y="134"/>
                    </a:lnTo>
                    <a:lnTo>
                      <a:pt x="710" y="124"/>
                    </a:lnTo>
                    <a:lnTo>
                      <a:pt x="704" y="105"/>
                    </a:lnTo>
                    <a:lnTo>
                      <a:pt x="688" y="105"/>
                    </a:lnTo>
                    <a:lnTo>
                      <a:pt x="704" y="89"/>
                    </a:lnTo>
                    <a:lnTo>
                      <a:pt x="700" y="73"/>
                    </a:lnTo>
                    <a:lnTo>
                      <a:pt x="682" y="77"/>
                    </a:lnTo>
                    <a:lnTo>
                      <a:pt x="650" y="101"/>
                    </a:lnTo>
                    <a:lnTo>
                      <a:pt x="639" y="140"/>
                    </a:lnTo>
                    <a:lnTo>
                      <a:pt x="621" y="144"/>
                    </a:lnTo>
                    <a:lnTo>
                      <a:pt x="611" y="140"/>
                    </a:lnTo>
                    <a:lnTo>
                      <a:pt x="615" y="117"/>
                    </a:lnTo>
                    <a:lnTo>
                      <a:pt x="633" y="95"/>
                    </a:lnTo>
                    <a:lnTo>
                      <a:pt x="633" y="83"/>
                    </a:lnTo>
                    <a:lnTo>
                      <a:pt x="643" y="83"/>
                    </a:lnTo>
                    <a:lnTo>
                      <a:pt x="666" y="67"/>
                    </a:lnTo>
                    <a:lnTo>
                      <a:pt x="682" y="67"/>
                    </a:lnTo>
                    <a:lnTo>
                      <a:pt x="700" y="61"/>
                    </a:lnTo>
                    <a:lnTo>
                      <a:pt x="694" y="57"/>
                    </a:lnTo>
                    <a:lnTo>
                      <a:pt x="650" y="57"/>
                    </a:lnTo>
                    <a:lnTo>
                      <a:pt x="656" y="38"/>
                    </a:lnTo>
                    <a:lnTo>
                      <a:pt x="615" y="57"/>
                    </a:lnTo>
                    <a:lnTo>
                      <a:pt x="589" y="50"/>
                    </a:lnTo>
                    <a:lnTo>
                      <a:pt x="589" y="38"/>
                    </a:lnTo>
                    <a:lnTo>
                      <a:pt x="627" y="34"/>
                    </a:lnTo>
                    <a:lnTo>
                      <a:pt x="615" y="16"/>
                    </a:lnTo>
                    <a:lnTo>
                      <a:pt x="605" y="22"/>
                    </a:lnTo>
                    <a:lnTo>
                      <a:pt x="578" y="16"/>
                    </a:lnTo>
                    <a:lnTo>
                      <a:pt x="572" y="0"/>
                    </a:lnTo>
                    <a:lnTo>
                      <a:pt x="556" y="0"/>
                    </a:lnTo>
                    <a:lnTo>
                      <a:pt x="556" y="10"/>
                    </a:lnTo>
                    <a:lnTo>
                      <a:pt x="122" y="6"/>
                    </a:lnTo>
                    <a:lnTo>
                      <a:pt x="115" y="44"/>
                    </a:lnTo>
                    <a:lnTo>
                      <a:pt x="109" y="28"/>
                    </a:lnTo>
                    <a:lnTo>
                      <a:pt x="83" y="28"/>
                    </a:lnTo>
                    <a:lnTo>
                      <a:pt x="83" y="50"/>
                    </a:lnTo>
                    <a:lnTo>
                      <a:pt x="38" y="111"/>
                    </a:lnTo>
                    <a:lnTo>
                      <a:pt x="16" y="156"/>
                    </a:lnTo>
                    <a:lnTo>
                      <a:pt x="0" y="172"/>
                    </a:lnTo>
                    <a:lnTo>
                      <a:pt x="0" y="207"/>
                    </a:lnTo>
                    <a:lnTo>
                      <a:pt x="10" y="207"/>
                    </a:lnTo>
                    <a:lnTo>
                      <a:pt x="4" y="217"/>
                    </a:lnTo>
                    <a:lnTo>
                      <a:pt x="10" y="274"/>
                    </a:lnTo>
                    <a:lnTo>
                      <a:pt x="0" y="284"/>
                    </a:lnTo>
                    <a:lnTo>
                      <a:pt x="48" y="306"/>
                    </a:lnTo>
                    <a:lnTo>
                      <a:pt x="55" y="325"/>
                    </a:lnTo>
                    <a:lnTo>
                      <a:pt x="105" y="325"/>
                    </a:lnTo>
                    <a:lnTo>
                      <a:pt x="176" y="345"/>
                    </a:lnTo>
                    <a:lnTo>
                      <a:pt x="211" y="335"/>
                    </a:lnTo>
                    <a:lnTo>
                      <a:pt x="233" y="335"/>
                    </a:lnTo>
                    <a:lnTo>
                      <a:pt x="266" y="390"/>
                    </a:lnTo>
                    <a:lnTo>
                      <a:pt x="278" y="390"/>
                    </a:lnTo>
                    <a:lnTo>
                      <a:pt x="282" y="380"/>
                    </a:lnTo>
                    <a:lnTo>
                      <a:pt x="304" y="373"/>
                    </a:lnTo>
                    <a:lnTo>
                      <a:pt x="327" y="402"/>
                    </a:lnTo>
                    <a:lnTo>
                      <a:pt x="333" y="440"/>
                    </a:lnTo>
                    <a:lnTo>
                      <a:pt x="349" y="453"/>
                    </a:lnTo>
                    <a:lnTo>
                      <a:pt x="355" y="440"/>
                    </a:lnTo>
                    <a:lnTo>
                      <a:pt x="355" y="418"/>
                    </a:lnTo>
                    <a:lnTo>
                      <a:pt x="438" y="373"/>
                    </a:lnTo>
                    <a:lnTo>
                      <a:pt x="449" y="386"/>
                    </a:lnTo>
                    <a:lnTo>
                      <a:pt x="467" y="380"/>
                    </a:lnTo>
                    <a:lnTo>
                      <a:pt x="477" y="396"/>
                    </a:lnTo>
                    <a:lnTo>
                      <a:pt x="499" y="380"/>
                    </a:lnTo>
                    <a:lnTo>
                      <a:pt x="493" y="363"/>
                    </a:lnTo>
                    <a:lnTo>
                      <a:pt x="599" y="373"/>
                    </a:lnTo>
                    <a:lnTo>
                      <a:pt x="611" y="396"/>
                    </a:lnTo>
                    <a:lnTo>
                      <a:pt x="611" y="424"/>
                    </a:lnTo>
                    <a:lnTo>
                      <a:pt x="621" y="436"/>
                    </a:lnTo>
                    <a:lnTo>
                      <a:pt x="621" y="453"/>
                    </a:lnTo>
                    <a:lnTo>
                      <a:pt x="633" y="469"/>
                    </a:lnTo>
                    <a:lnTo>
                      <a:pt x="643" y="469"/>
                    </a:lnTo>
                    <a:lnTo>
                      <a:pt x="656" y="430"/>
                    </a:lnTo>
                    <a:lnTo>
                      <a:pt x="656" y="396"/>
                    </a:lnTo>
                    <a:lnTo>
                      <a:pt x="650" y="351"/>
                    </a:lnTo>
                    <a:lnTo>
                      <a:pt x="723" y="296"/>
                    </a:lnTo>
                    <a:lnTo>
                      <a:pt x="745" y="284"/>
                    </a:lnTo>
                    <a:lnTo>
                      <a:pt x="771" y="252"/>
                    </a:lnTo>
                    <a:lnTo>
                      <a:pt x="755" y="235"/>
                    </a:lnTo>
                    <a:lnTo>
                      <a:pt x="778" y="229"/>
                    </a:lnTo>
                    <a:lnTo>
                      <a:pt x="761" y="207"/>
                    </a:lnTo>
                    <a:lnTo>
                      <a:pt x="778" y="195"/>
                    </a:lnTo>
                    <a:lnTo>
                      <a:pt x="784" y="217"/>
                    </a:lnTo>
                    <a:lnTo>
                      <a:pt x="794" y="211"/>
                    </a:lnTo>
                    <a:lnTo>
                      <a:pt x="794" y="185"/>
                    </a:lnTo>
                    <a:lnTo>
                      <a:pt x="806" y="195"/>
                    </a:lnTo>
                    <a:lnTo>
                      <a:pt x="828" y="172"/>
                    </a:lnTo>
                    <a:lnTo>
                      <a:pt x="828" y="162"/>
                    </a:lnTo>
                    <a:lnTo>
                      <a:pt x="899" y="144"/>
                    </a:lnTo>
                    <a:lnTo>
                      <a:pt x="889" y="134"/>
                    </a:lnTo>
                    <a:lnTo>
                      <a:pt x="905" y="111"/>
                    </a:lnTo>
                    <a:lnTo>
                      <a:pt x="972" y="89"/>
                    </a:lnTo>
                    <a:lnTo>
                      <a:pt x="966" y="57"/>
                    </a:lnTo>
                    <a:lnTo>
                      <a:pt x="977" y="3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1" name="Freeform 76">
                <a:extLst>
                  <a:ext uri="{FF2B5EF4-FFF2-40B4-BE49-F238E27FC236}">
                    <a16:creationId xmlns:a16="http://schemas.microsoft.com/office/drawing/2014/main" id="{492747DE-B8E2-4D66-97AC-BD7D890A83BA}"/>
                  </a:ext>
                </a:extLst>
              </p:cNvPr>
              <p:cNvSpPr>
                <a:spLocks/>
              </p:cNvSpPr>
              <p:nvPr/>
            </p:nvSpPr>
            <p:spPr bwMode="auto">
              <a:xfrm>
                <a:off x="2287543" y="1034773"/>
                <a:ext cx="504278" cy="142003"/>
              </a:xfrm>
              <a:custGeom>
                <a:avLst/>
                <a:gdLst>
                  <a:gd name="T0" fmla="*/ 317 w 384"/>
                  <a:gd name="T1" fmla="*/ 22 h 106"/>
                  <a:gd name="T2" fmla="*/ 384 w 384"/>
                  <a:gd name="T3" fmla="*/ 6 h 106"/>
                  <a:gd name="T4" fmla="*/ 304 w 384"/>
                  <a:gd name="T5" fmla="*/ 0 h 106"/>
                  <a:gd name="T6" fmla="*/ 272 w 384"/>
                  <a:gd name="T7" fmla="*/ 10 h 106"/>
                  <a:gd name="T8" fmla="*/ 256 w 384"/>
                  <a:gd name="T9" fmla="*/ 6 h 106"/>
                  <a:gd name="T10" fmla="*/ 243 w 384"/>
                  <a:gd name="T11" fmla="*/ 10 h 106"/>
                  <a:gd name="T12" fmla="*/ 205 w 384"/>
                  <a:gd name="T13" fmla="*/ 6 h 106"/>
                  <a:gd name="T14" fmla="*/ 176 w 384"/>
                  <a:gd name="T15" fmla="*/ 10 h 106"/>
                  <a:gd name="T16" fmla="*/ 160 w 384"/>
                  <a:gd name="T17" fmla="*/ 16 h 106"/>
                  <a:gd name="T18" fmla="*/ 132 w 384"/>
                  <a:gd name="T19" fmla="*/ 16 h 106"/>
                  <a:gd name="T20" fmla="*/ 67 w 384"/>
                  <a:gd name="T21" fmla="*/ 28 h 106"/>
                  <a:gd name="T22" fmla="*/ 111 w 384"/>
                  <a:gd name="T23" fmla="*/ 39 h 106"/>
                  <a:gd name="T24" fmla="*/ 199 w 384"/>
                  <a:gd name="T25" fmla="*/ 28 h 106"/>
                  <a:gd name="T26" fmla="*/ 195 w 384"/>
                  <a:gd name="T27" fmla="*/ 39 h 106"/>
                  <a:gd name="T28" fmla="*/ 138 w 384"/>
                  <a:gd name="T29" fmla="*/ 45 h 106"/>
                  <a:gd name="T30" fmla="*/ 144 w 384"/>
                  <a:gd name="T31" fmla="*/ 51 h 106"/>
                  <a:gd name="T32" fmla="*/ 99 w 384"/>
                  <a:gd name="T33" fmla="*/ 51 h 106"/>
                  <a:gd name="T34" fmla="*/ 116 w 384"/>
                  <a:gd name="T35" fmla="*/ 61 h 106"/>
                  <a:gd name="T36" fmla="*/ 83 w 384"/>
                  <a:gd name="T37" fmla="*/ 55 h 106"/>
                  <a:gd name="T38" fmla="*/ 55 w 384"/>
                  <a:gd name="T39" fmla="*/ 61 h 106"/>
                  <a:gd name="T40" fmla="*/ 77 w 384"/>
                  <a:gd name="T41" fmla="*/ 61 h 106"/>
                  <a:gd name="T42" fmla="*/ 77 w 384"/>
                  <a:gd name="T43" fmla="*/ 77 h 106"/>
                  <a:gd name="T44" fmla="*/ 49 w 384"/>
                  <a:gd name="T45" fmla="*/ 73 h 106"/>
                  <a:gd name="T46" fmla="*/ 16 w 384"/>
                  <a:gd name="T47" fmla="*/ 77 h 106"/>
                  <a:gd name="T48" fmla="*/ 0 w 384"/>
                  <a:gd name="T49" fmla="*/ 89 h 106"/>
                  <a:gd name="T50" fmla="*/ 77 w 384"/>
                  <a:gd name="T51" fmla="*/ 89 h 106"/>
                  <a:gd name="T52" fmla="*/ 105 w 384"/>
                  <a:gd name="T53" fmla="*/ 106 h 106"/>
                  <a:gd name="T54" fmla="*/ 128 w 384"/>
                  <a:gd name="T55" fmla="*/ 83 h 106"/>
                  <a:gd name="T56" fmla="*/ 105 w 384"/>
                  <a:gd name="T57" fmla="*/ 77 h 106"/>
                  <a:gd name="T58" fmla="*/ 128 w 384"/>
                  <a:gd name="T59" fmla="*/ 73 h 106"/>
                  <a:gd name="T60" fmla="*/ 160 w 384"/>
                  <a:gd name="T61" fmla="*/ 77 h 106"/>
                  <a:gd name="T62" fmla="*/ 183 w 384"/>
                  <a:gd name="T63" fmla="*/ 67 h 106"/>
                  <a:gd name="T64" fmla="*/ 160 w 384"/>
                  <a:gd name="T65" fmla="*/ 55 h 106"/>
                  <a:gd name="T66" fmla="*/ 183 w 384"/>
                  <a:gd name="T67" fmla="*/ 51 h 106"/>
                  <a:gd name="T68" fmla="*/ 189 w 384"/>
                  <a:gd name="T69" fmla="*/ 61 h 106"/>
                  <a:gd name="T70" fmla="*/ 217 w 384"/>
                  <a:gd name="T71" fmla="*/ 45 h 106"/>
                  <a:gd name="T72" fmla="*/ 278 w 384"/>
                  <a:gd name="T73" fmla="*/ 39 h 106"/>
                  <a:gd name="T74" fmla="*/ 288 w 384"/>
                  <a:gd name="T75" fmla="*/ 28 h 106"/>
                  <a:gd name="T76" fmla="*/ 304 w 384"/>
                  <a:gd name="T77" fmla="*/ 39 h 106"/>
                  <a:gd name="T78" fmla="*/ 317 w 384"/>
                  <a:gd name="T79" fmla="*/ 22 h 106"/>
                  <a:gd name="T80" fmla="*/ 317 w 384"/>
                  <a:gd name="T81" fmla="*/ 22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4"/>
                  <a:gd name="T124" fmla="*/ 0 h 106"/>
                  <a:gd name="T125" fmla="*/ 384 w 384"/>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4" h="106">
                    <a:moveTo>
                      <a:pt x="317" y="22"/>
                    </a:moveTo>
                    <a:lnTo>
                      <a:pt x="384" y="6"/>
                    </a:lnTo>
                    <a:lnTo>
                      <a:pt x="304" y="0"/>
                    </a:lnTo>
                    <a:lnTo>
                      <a:pt x="272" y="10"/>
                    </a:lnTo>
                    <a:lnTo>
                      <a:pt x="256" y="6"/>
                    </a:lnTo>
                    <a:lnTo>
                      <a:pt x="243" y="10"/>
                    </a:lnTo>
                    <a:lnTo>
                      <a:pt x="205" y="6"/>
                    </a:lnTo>
                    <a:lnTo>
                      <a:pt x="176" y="10"/>
                    </a:lnTo>
                    <a:lnTo>
                      <a:pt x="160" y="16"/>
                    </a:lnTo>
                    <a:lnTo>
                      <a:pt x="132" y="16"/>
                    </a:lnTo>
                    <a:lnTo>
                      <a:pt x="67" y="28"/>
                    </a:lnTo>
                    <a:lnTo>
                      <a:pt x="111" y="39"/>
                    </a:lnTo>
                    <a:lnTo>
                      <a:pt x="199" y="28"/>
                    </a:lnTo>
                    <a:lnTo>
                      <a:pt x="195" y="39"/>
                    </a:lnTo>
                    <a:lnTo>
                      <a:pt x="138" y="45"/>
                    </a:lnTo>
                    <a:lnTo>
                      <a:pt x="144" y="51"/>
                    </a:lnTo>
                    <a:lnTo>
                      <a:pt x="99" y="51"/>
                    </a:lnTo>
                    <a:lnTo>
                      <a:pt x="116" y="61"/>
                    </a:lnTo>
                    <a:lnTo>
                      <a:pt x="83" y="55"/>
                    </a:lnTo>
                    <a:lnTo>
                      <a:pt x="55" y="61"/>
                    </a:lnTo>
                    <a:lnTo>
                      <a:pt x="77" y="61"/>
                    </a:lnTo>
                    <a:lnTo>
                      <a:pt x="77" y="77"/>
                    </a:lnTo>
                    <a:lnTo>
                      <a:pt x="49" y="73"/>
                    </a:lnTo>
                    <a:lnTo>
                      <a:pt x="16" y="77"/>
                    </a:lnTo>
                    <a:lnTo>
                      <a:pt x="0" y="89"/>
                    </a:lnTo>
                    <a:lnTo>
                      <a:pt x="77" y="89"/>
                    </a:lnTo>
                    <a:lnTo>
                      <a:pt x="105" y="106"/>
                    </a:lnTo>
                    <a:lnTo>
                      <a:pt x="128" y="83"/>
                    </a:lnTo>
                    <a:lnTo>
                      <a:pt x="105" y="77"/>
                    </a:lnTo>
                    <a:lnTo>
                      <a:pt x="128" y="73"/>
                    </a:lnTo>
                    <a:lnTo>
                      <a:pt x="160" y="77"/>
                    </a:lnTo>
                    <a:lnTo>
                      <a:pt x="183" y="67"/>
                    </a:lnTo>
                    <a:lnTo>
                      <a:pt x="160" y="55"/>
                    </a:lnTo>
                    <a:lnTo>
                      <a:pt x="183" y="51"/>
                    </a:lnTo>
                    <a:lnTo>
                      <a:pt x="189" y="61"/>
                    </a:lnTo>
                    <a:lnTo>
                      <a:pt x="217" y="45"/>
                    </a:lnTo>
                    <a:lnTo>
                      <a:pt x="278" y="39"/>
                    </a:lnTo>
                    <a:lnTo>
                      <a:pt x="288" y="28"/>
                    </a:lnTo>
                    <a:lnTo>
                      <a:pt x="304" y="39"/>
                    </a:lnTo>
                    <a:lnTo>
                      <a:pt x="317"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2" name="Freeform 77">
                <a:extLst>
                  <a:ext uri="{FF2B5EF4-FFF2-40B4-BE49-F238E27FC236}">
                    <a16:creationId xmlns:a16="http://schemas.microsoft.com/office/drawing/2014/main" id="{D178F3BD-F3BB-4A79-85E8-BEE085AF3717}"/>
                  </a:ext>
                </a:extLst>
              </p:cNvPr>
              <p:cNvSpPr>
                <a:spLocks/>
              </p:cNvSpPr>
              <p:nvPr/>
            </p:nvSpPr>
            <p:spPr bwMode="auto">
              <a:xfrm>
                <a:off x="2263905" y="1064245"/>
                <a:ext cx="132636" cy="60285"/>
              </a:xfrm>
              <a:custGeom>
                <a:avLst/>
                <a:gdLst>
                  <a:gd name="T0" fmla="*/ 0 w 101"/>
                  <a:gd name="T1" fmla="*/ 17 h 45"/>
                  <a:gd name="T2" fmla="*/ 24 w 101"/>
                  <a:gd name="T3" fmla="*/ 29 h 45"/>
                  <a:gd name="T4" fmla="*/ 6 w 101"/>
                  <a:gd name="T5" fmla="*/ 39 h 45"/>
                  <a:gd name="T6" fmla="*/ 12 w 101"/>
                  <a:gd name="T7" fmla="*/ 45 h 45"/>
                  <a:gd name="T8" fmla="*/ 40 w 101"/>
                  <a:gd name="T9" fmla="*/ 45 h 45"/>
                  <a:gd name="T10" fmla="*/ 46 w 101"/>
                  <a:gd name="T11" fmla="*/ 33 h 45"/>
                  <a:gd name="T12" fmla="*/ 101 w 101"/>
                  <a:gd name="T13" fmla="*/ 23 h 45"/>
                  <a:gd name="T14" fmla="*/ 62 w 101"/>
                  <a:gd name="T15" fmla="*/ 17 h 45"/>
                  <a:gd name="T16" fmla="*/ 56 w 101"/>
                  <a:gd name="T17" fmla="*/ 6 h 45"/>
                  <a:gd name="T18" fmla="*/ 28 w 101"/>
                  <a:gd name="T19" fmla="*/ 0 h 45"/>
                  <a:gd name="T20" fmla="*/ 0 w 101"/>
                  <a:gd name="T21" fmla="*/ 17 h 45"/>
                  <a:gd name="T22" fmla="*/ 0 w 101"/>
                  <a:gd name="T23" fmla="*/ 17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1"/>
                  <a:gd name="T37" fmla="*/ 0 h 45"/>
                  <a:gd name="T38" fmla="*/ 101 w 101"/>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1" h="45">
                    <a:moveTo>
                      <a:pt x="0" y="17"/>
                    </a:moveTo>
                    <a:lnTo>
                      <a:pt x="24" y="29"/>
                    </a:lnTo>
                    <a:lnTo>
                      <a:pt x="6" y="39"/>
                    </a:lnTo>
                    <a:lnTo>
                      <a:pt x="12" y="45"/>
                    </a:lnTo>
                    <a:lnTo>
                      <a:pt x="40" y="45"/>
                    </a:lnTo>
                    <a:lnTo>
                      <a:pt x="46" y="33"/>
                    </a:lnTo>
                    <a:lnTo>
                      <a:pt x="101" y="23"/>
                    </a:lnTo>
                    <a:lnTo>
                      <a:pt x="62" y="17"/>
                    </a:lnTo>
                    <a:lnTo>
                      <a:pt x="56" y="6"/>
                    </a:lnTo>
                    <a:lnTo>
                      <a:pt x="28" y="0"/>
                    </a:lnTo>
                    <a:lnTo>
                      <a:pt x="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3" name="Freeform 78">
                <a:extLst>
                  <a:ext uri="{FF2B5EF4-FFF2-40B4-BE49-F238E27FC236}">
                    <a16:creationId xmlns:a16="http://schemas.microsoft.com/office/drawing/2014/main" id="{C41D32EB-0FF6-4CA1-B130-3DACBBE73564}"/>
                  </a:ext>
                </a:extLst>
              </p:cNvPr>
              <p:cNvSpPr>
                <a:spLocks/>
              </p:cNvSpPr>
              <p:nvPr/>
            </p:nvSpPr>
            <p:spPr bwMode="auto">
              <a:xfrm>
                <a:off x="2090559" y="1103095"/>
                <a:ext cx="70914" cy="34831"/>
              </a:xfrm>
              <a:custGeom>
                <a:avLst/>
                <a:gdLst>
                  <a:gd name="T0" fmla="*/ 48 w 54"/>
                  <a:gd name="T1" fmla="*/ 22 h 26"/>
                  <a:gd name="T2" fmla="*/ 54 w 54"/>
                  <a:gd name="T3" fmla="*/ 10 h 26"/>
                  <a:gd name="T4" fmla="*/ 38 w 54"/>
                  <a:gd name="T5" fmla="*/ 0 h 26"/>
                  <a:gd name="T6" fmla="*/ 10 w 54"/>
                  <a:gd name="T7" fmla="*/ 0 h 26"/>
                  <a:gd name="T8" fmla="*/ 0 w 54"/>
                  <a:gd name="T9" fmla="*/ 16 h 26"/>
                  <a:gd name="T10" fmla="*/ 16 w 54"/>
                  <a:gd name="T11" fmla="*/ 16 h 26"/>
                  <a:gd name="T12" fmla="*/ 16 w 54"/>
                  <a:gd name="T13" fmla="*/ 26 h 26"/>
                  <a:gd name="T14" fmla="*/ 32 w 54"/>
                  <a:gd name="T15" fmla="*/ 22 h 26"/>
                  <a:gd name="T16" fmla="*/ 48 w 54"/>
                  <a:gd name="T17" fmla="*/ 22 h 26"/>
                  <a:gd name="T18" fmla="*/ 48 w 54"/>
                  <a:gd name="T19" fmla="*/ 2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26"/>
                  <a:gd name="T32" fmla="*/ 54 w 54"/>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26">
                    <a:moveTo>
                      <a:pt x="48" y="22"/>
                    </a:moveTo>
                    <a:lnTo>
                      <a:pt x="54" y="10"/>
                    </a:lnTo>
                    <a:lnTo>
                      <a:pt x="38" y="0"/>
                    </a:lnTo>
                    <a:lnTo>
                      <a:pt x="10" y="0"/>
                    </a:lnTo>
                    <a:lnTo>
                      <a:pt x="0" y="16"/>
                    </a:lnTo>
                    <a:lnTo>
                      <a:pt x="16" y="16"/>
                    </a:lnTo>
                    <a:lnTo>
                      <a:pt x="16" y="26"/>
                    </a:lnTo>
                    <a:lnTo>
                      <a:pt x="32" y="22"/>
                    </a:lnTo>
                    <a:lnTo>
                      <a:pt x="48"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4" name="Freeform 79">
                <a:extLst>
                  <a:ext uri="{FF2B5EF4-FFF2-40B4-BE49-F238E27FC236}">
                    <a16:creationId xmlns:a16="http://schemas.microsoft.com/office/drawing/2014/main" id="{4EFF44B5-6E33-4E17-ADDD-AF93547ACBEC}"/>
                  </a:ext>
                </a:extLst>
              </p:cNvPr>
              <p:cNvSpPr>
                <a:spLocks/>
              </p:cNvSpPr>
              <p:nvPr/>
            </p:nvSpPr>
            <p:spPr bwMode="auto">
              <a:xfrm>
                <a:off x="2186424" y="1108453"/>
                <a:ext cx="49903" cy="24114"/>
              </a:xfrm>
              <a:custGeom>
                <a:avLst/>
                <a:gdLst>
                  <a:gd name="T0" fmla="*/ 0 w 38"/>
                  <a:gd name="T1" fmla="*/ 0 h 18"/>
                  <a:gd name="T2" fmla="*/ 4 w 38"/>
                  <a:gd name="T3" fmla="*/ 18 h 18"/>
                  <a:gd name="T4" fmla="*/ 32 w 38"/>
                  <a:gd name="T5" fmla="*/ 18 h 18"/>
                  <a:gd name="T6" fmla="*/ 38 w 38"/>
                  <a:gd name="T7" fmla="*/ 6 h 18"/>
                  <a:gd name="T8" fmla="*/ 16 w 38"/>
                  <a:gd name="T9" fmla="*/ 0 h 18"/>
                  <a:gd name="T10" fmla="*/ 0 w 38"/>
                  <a:gd name="T11" fmla="*/ 0 h 18"/>
                  <a:gd name="T12" fmla="*/ 0 w 38"/>
                  <a:gd name="T13" fmla="*/ 0 h 18"/>
                  <a:gd name="T14" fmla="*/ 0 60000 65536"/>
                  <a:gd name="T15" fmla="*/ 0 60000 65536"/>
                  <a:gd name="T16" fmla="*/ 0 60000 65536"/>
                  <a:gd name="T17" fmla="*/ 0 60000 65536"/>
                  <a:gd name="T18" fmla="*/ 0 60000 65536"/>
                  <a:gd name="T19" fmla="*/ 0 60000 65536"/>
                  <a:gd name="T20" fmla="*/ 0 60000 65536"/>
                  <a:gd name="T21" fmla="*/ 0 w 38"/>
                  <a:gd name="T22" fmla="*/ 0 h 18"/>
                  <a:gd name="T23" fmla="*/ 38 w 38"/>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18">
                    <a:moveTo>
                      <a:pt x="0" y="0"/>
                    </a:moveTo>
                    <a:lnTo>
                      <a:pt x="4" y="18"/>
                    </a:lnTo>
                    <a:lnTo>
                      <a:pt x="32" y="18"/>
                    </a:lnTo>
                    <a:lnTo>
                      <a:pt x="38" y="6"/>
                    </a:lnTo>
                    <a:lnTo>
                      <a:pt x="16"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5" name="Freeform 80">
                <a:extLst>
                  <a:ext uri="{FF2B5EF4-FFF2-40B4-BE49-F238E27FC236}">
                    <a16:creationId xmlns:a16="http://schemas.microsoft.com/office/drawing/2014/main" id="{7C116A95-556F-49AC-8E06-CD10CEAE435F}"/>
                  </a:ext>
                </a:extLst>
              </p:cNvPr>
              <p:cNvSpPr>
                <a:spLocks/>
              </p:cNvSpPr>
              <p:nvPr/>
            </p:nvSpPr>
            <p:spPr bwMode="auto">
              <a:xfrm>
                <a:off x="2207436" y="1163380"/>
                <a:ext cx="196984" cy="34831"/>
              </a:xfrm>
              <a:custGeom>
                <a:avLst/>
                <a:gdLst>
                  <a:gd name="T0" fmla="*/ 26 w 150"/>
                  <a:gd name="T1" fmla="*/ 0 h 26"/>
                  <a:gd name="T2" fmla="*/ 10 w 150"/>
                  <a:gd name="T3" fmla="*/ 0 h 26"/>
                  <a:gd name="T4" fmla="*/ 10 w 150"/>
                  <a:gd name="T5" fmla="*/ 10 h 26"/>
                  <a:gd name="T6" fmla="*/ 0 w 150"/>
                  <a:gd name="T7" fmla="*/ 22 h 26"/>
                  <a:gd name="T8" fmla="*/ 116 w 150"/>
                  <a:gd name="T9" fmla="*/ 26 h 26"/>
                  <a:gd name="T10" fmla="*/ 122 w 150"/>
                  <a:gd name="T11" fmla="*/ 16 h 26"/>
                  <a:gd name="T12" fmla="*/ 150 w 150"/>
                  <a:gd name="T13" fmla="*/ 22 h 26"/>
                  <a:gd name="T14" fmla="*/ 144 w 150"/>
                  <a:gd name="T15" fmla="*/ 10 h 26"/>
                  <a:gd name="T16" fmla="*/ 132 w 150"/>
                  <a:gd name="T17" fmla="*/ 0 h 26"/>
                  <a:gd name="T18" fmla="*/ 89 w 150"/>
                  <a:gd name="T19" fmla="*/ 10 h 26"/>
                  <a:gd name="T20" fmla="*/ 32 w 150"/>
                  <a:gd name="T21" fmla="*/ 10 h 26"/>
                  <a:gd name="T22" fmla="*/ 26 w 150"/>
                  <a:gd name="T23" fmla="*/ 0 h 26"/>
                  <a:gd name="T24" fmla="*/ 26 w 15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0"/>
                  <a:gd name="T40" fmla="*/ 0 h 26"/>
                  <a:gd name="T41" fmla="*/ 150 w 150"/>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0" h="26">
                    <a:moveTo>
                      <a:pt x="26" y="0"/>
                    </a:moveTo>
                    <a:lnTo>
                      <a:pt x="10" y="0"/>
                    </a:lnTo>
                    <a:lnTo>
                      <a:pt x="10" y="10"/>
                    </a:lnTo>
                    <a:lnTo>
                      <a:pt x="0" y="22"/>
                    </a:lnTo>
                    <a:lnTo>
                      <a:pt x="116" y="26"/>
                    </a:lnTo>
                    <a:lnTo>
                      <a:pt x="122" y="16"/>
                    </a:lnTo>
                    <a:lnTo>
                      <a:pt x="150" y="22"/>
                    </a:lnTo>
                    <a:lnTo>
                      <a:pt x="144" y="10"/>
                    </a:lnTo>
                    <a:lnTo>
                      <a:pt x="132" y="0"/>
                    </a:lnTo>
                    <a:lnTo>
                      <a:pt x="89" y="10"/>
                    </a:lnTo>
                    <a:lnTo>
                      <a:pt x="32" y="10"/>
                    </a:lnTo>
                    <a:lnTo>
                      <a:pt x="2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6" name="Freeform 81">
                <a:extLst>
                  <a:ext uri="{FF2B5EF4-FFF2-40B4-BE49-F238E27FC236}">
                    <a16:creationId xmlns:a16="http://schemas.microsoft.com/office/drawing/2014/main" id="{2B102189-D779-4876-A0AF-F7910CBE76AC}"/>
                  </a:ext>
                </a:extLst>
              </p:cNvPr>
              <p:cNvSpPr>
                <a:spLocks/>
              </p:cNvSpPr>
              <p:nvPr/>
            </p:nvSpPr>
            <p:spPr bwMode="auto">
              <a:xfrm>
                <a:off x="2132582" y="1176776"/>
                <a:ext cx="45963" cy="21434"/>
              </a:xfrm>
              <a:custGeom>
                <a:avLst/>
                <a:gdLst>
                  <a:gd name="T0" fmla="*/ 35 w 35"/>
                  <a:gd name="T1" fmla="*/ 16 h 16"/>
                  <a:gd name="T2" fmla="*/ 35 w 35"/>
                  <a:gd name="T3" fmla="*/ 0 h 16"/>
                  <a:gd name="T4" fmla="*/ 28 w 35"/>
                  <a:gd name="T5" fmla="*/ 0 h 16"/>
                  <a:gd name="T6" fmla="*/ 0 w 35"/>
                  <a:gd name="T7" fmla="*/ 12 h 16"/>
                  <a:gd name="T8" fmla="*/ 35 w 35"/>
                  <a:gd name="T9" fmla="*/ 16 h 16"/>
                  <a:gd name="T10" fmla="*/ 35 w 35"/>
                  <a:gd name="T11" fmla="*/ 16 h 16"/>
                  <a:gd name="T12" fmla="*/ 0 60000 65536"/>
                  <a:gd name="T13" fmla="*/ 0 60000 65536"/>
                  <a:gd name="T14" fmla="*/ 0 60000 65536"/>
                  <a:gd name="T15" fmla="*/ 0 60000 65536"/>
                  <a:gd name="T16" fmla="*/ 0 60000 65536"/>
                  <a:gd name="T17" fmla="*/ 0 60000 65536"/>
                  <a:gd name="T18" fmla="*/ 0 w 35"/>
                  <a:gd name="T19" fmla="*/ 0 h 16"/>
                  <a:gd name="T20" fmla="*/ 35 w 3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35" h="16">
                    <a:moveTo>
                      <a:pt x="35" y="16"/>
                    </a:moveTo>
                    <a:lnTo>
                      <a:pt x="35" y="0"/>
                    </a:lnTo>
                    <a:lnTo>
                      <a:pt x="28" y="0"/>
                    </a:lnTo>
                    <a:lnTo>
                      <a:pt x="0" y="12"/>
                    </a:lnTo>
                    <a:lnTo>
                      <a:pt x="35"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7" name="Freeform 82">
                <a:extLst>
                  <a:ext uri="{FF2B5EF4-FFF2-40B4-BE49-F238E27FC236}">
                    <a16:creationId xmlns:a16="http://schemas.microsoft.com/office/drawing/2014/main" id="{4B53B9CF-A637-4CFE-8E9C-C7CAB3961FA6}"/>
                  </a:ext>
                </a:extLst>
              </p:cNvPr>
              <p:cNvSpPr>
                <a:spLocks/>
              </p:cNvSpPr>
              <p:nvPr/>
            </p:nvSpPr>
            <p:spPr bwMode="auto">
              <a:xfrm>
                <a:off x="2161473" y="1137926"/>
                <a:ext cx="45963" cy="30812"/>
              </a:xfrm>
              <a:custGeom>
                <a:avLst/>
                <a:gdLst>
                  <a:gd name="T0" fmla="*/ 0 w 35"/>
                  <a:gd name="T1" fmla="*/ 12 h 23"/>
                  <a:gd name="T2" fmla="*/ 23 w 35"/>
                  <a:gd name="T3" fmla="*/ 23 h 23"/>
                  <a:gd name="T4" fmla="*/ 35 w 35"/>
                  <a:gd name="T5" fmla="*/ 6 h 23"/>
                  <a:gd name="T6" fmla="*/ 19 w 35"/>
                  <a:gd name="T7" fmla="*/ 0 h 23"/>
                  <a:gd name="T8" fmla="*/ 0 w 35"/>
                  <a:gd name="T9" fmla="*/ 12 h 23"/>
                  <a:gd name="T10" fmla="*/ 0 w 35"/>
                  <a:gd name="T11" fmla="*/ 12 h 23"/>
                  <a:gd name="T12" fmla="*/ 0 60000 65536"/>
                  <a:gd name="T13" fmla="*/ 0 60000 65536"/>
                  <a:gd name="T14" fmla="*/ 0 60000 65536"/>
                  <a:gd name="T15" fmla="*/ 0 60000 65536"/>
                  <a:gd name="T16" fmla="*/ 0 60000 65536"/>
                  <a:gd name="T17" fmla="*/ 0 60000 65536"/>
                  <a:gd name="T18" fmla="*/ 0 w 35"/>
                  <a:gd name="T19" fmla="*/ 0 h 23"/>
                  <a:gd name="T20" fmla="*/ 35 w 35"/>
                  <a:gd name="T21" fmla="*/ 23 h 23"/>
                </a:gdLst>
                <a:ahLst/>
                <a:cxnLst>
                  <a:cxn ang="T12">
                    <a:pos x="T0" y="T1"/>
                  </a:cxn>
                  <a:cxn ang="T13">
                    <a:pos x="T2" y="T3"/>
                  </a:cxn>
                  <a:cxn ang="T14">
                    <a:pos x="T4" y="T5"/>
                  </a:cxn>
                  <a:cxn ang="T15">
                    <a:pos x="T6" y="T7"/>
                  </a:cxn>
                  <a:cxn ang="T16">
                    <a:pos x="T8" y="T9"/>
                  </a:cxn>
                  <a:cxn ang="T17">
                    <a:pos x="T10" y="T11"/>
                  </a:cxn>
                </a:cxnLst>
                <a:rect l="T18" t="T19" r="T20" b="T21"/>
                <a:pathLst>
                  <a:path w="35" h="23">
                    <a:moveTo>
                      <a:pt x="0" y="12"/>
                    </a:moveTo>
                    <a:lnTo>
                      <a:pt x="23" y="23"/>
                    </a:lnTo>
                    <a:lnTo>
                      <a:pt x="35" y="6"/>
                    </a:lnTo>
                    <a:lnTo>
                      <a:pt x="19" y="0"/>
                    </a:lnTo>
                    <a:lnTo>
                      <a:pt x="0"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8" name="Freeform 83">
                <a:extLst>
                  <a:ext uri="{FF2B5EF4-FFF2-40B4-BE49-F238E27FC236}">
                    <a16:creationId xmlns:a16="http://schemas.microsoft.com/office/drawing/2014/main" id="{EEF79912-843A-4D11-9190-58AC6248CE1F}"/>
                  </a:ext>
                </a:extLst>
              </p:cNvPr>
              <p:cNvSpPr>
                <a:spLocks/>
              </p:cNvSpPr>
              <p:nvPr/>
            </p:nvSpPr>
            <p:spPr bwMode="auto">
              <a:xfrm>
                <a:off x="2098438" y="1206248"/>
                <a:ext cx="101118" cy="46888"/>
              </a:xfrm>
              <a:custGeom>
                <a:avLst/>
                <a:gdLst>
                  <a:gd name="T0" fmla="*/ 42 w 77"/>
                  <a:gd name="T1" fmla="*/ 22 h 35"/>
                  <a:gd name="T2" fmla="*/ 77 w 77"/>
                  <a:gd name="T3" fmla="*/ 0 h 35"/>
                  <a:gd name="T4" fmla="*/ 32 w 77"/>
                  <a:gd name="T5" fmla="*/ 0 h 35"/>
                  <a:gd name="T6" fmla="*/ 4 w 77"/>
                  <a:gd name="T7" fmla="*/ 12 h 35"/>
                  <a:gd name="T8" fmla="*/ 0 w 77"/>
                  <a:gd name="T9" fmla="*/ 28 h 35"/>
                  <a:gd name="T10" fmla="*/ 10 w 77"/>
                  <a:gd name="T11" fmla="*/ 35 h 35"/>
                  <a:gd name="T12" fmla="*/ 26 w 77"/>
                  <a:gd name="T13" fmla="*/ 22 h 35"/>
                  <a:gd name="T14" fmla="*/ 42 w 77"/>
                  <a:gd name="T15" fmla="*/ 22 h 35"/>
                  <a:gd name="T16" fmla="*/ 42 w 77"/>
                  <a:gd name="T17" fmla="*/ 22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5"/>
                  <a:gd name="T29" fmla="*/ 77 w 77"/>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5">
                    <a:moveTo>
                      <a:pt x="42" y="22"/>
                    </a:moveTo>
                    <a:lnTo>
                      <a:pt x="77" y="0"/>
                    </a:lnTo>
                    <a:lnTo>
                      <a:pt x="32" y="0"/>
                    </a:lnTo>
                    <a:lnTo>
                      <a:pt x="4" y="12"/>
                    </a:lnTo>
                    <a:lnTo>
                      <a:pt x="0" y="28"/>
                    </a:lnTo>
                    <a:lnTo>
                      <a:pt x="10" y="35"/>
                    </a:lnTo>
                    <a:lnTo>
                      <a:pt x="26" y="22"/>
                    </a:lnTo>
                    <a:lnTo>
                      <a:pt x="42"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39" name="Freeform 84">
                <a:extLst>
                  <a:ext uri="{FF2B5EF4-FFF2-40B4-BE49-F238E27FC236}">
                    <a16:creationId xmlns:a16="http://schemas.microsoft.com/office/drawing/2014/main" id="{5186491F-AAE4-4094-B2A8-630D1E26A46F}"/>
                  </a:ext>
                </a:extLst>
              </p:cNvPr>
              <p:cNvSpPr>
                <a:spLocks noEditPoints="1"/>
              </p:cNvSpPr>
              <p:nvPr/>
            </p:nvSpPr>
            <p:spPr bwMode="auto">
              <a:xfrm>
                <a:off x="2169352" y="1206248"/>
                <a:ext cx="408412" cy="269270"/>
              </a:xfrm>
              <a:custGeom>
                <a:avLst/>
                <a:gdLst>
                  <a:gd name="T0" fmla="*/ 13 w 311"/>
                  <a:gd name="T1" fmla="*/ 22 h 201"/>
                  <a:gd name="T2" fmla="*/ 0 w 311"/>
                  <a:gd name="T3" fmla="*/ 45 h 201"/>
                  <a:gd name="T4" fmla="*/ 23 w 311"/>
                  <a:gd name="T5" fmla="*/ 45 h 201"/>
                  <a:gd name="T6" fmla="*/ 13 w 311"/>
                  <a:gd name="T7" fmla="*/ 57 h 201"/>
                  <a:gd name="T8" fmla="*/ 23 w 311"/>
                  <a:gd name="T9" fmla="*/ 61 h 201"/>
                  <a:gd name="T10" fmla="*/ 45 w 311"/>
                  <a:gd name="T11" fmla="*/ 51 h 201"/>
                  <a:gd name="T12" fmla="*/ 96 w 311"/>
                  <a:gd name="T13" fmla="*/ 61 h 201"/>
                  <a:gd name="T14" fmla="*/ 112 w 311"/>
                  <a:gd name="T15" fmla="*/ 67 h 201"/>
                  <a:gd name="T16" fmla="*/ 122 w 311"/>
                  <a:gd name="T17" fmla="*/ 57 h 201"/>
                  <a:gd name="T18" fmla="*/ 145 w 311"/>
                  <a:gd name="T19" fmla="*/ 67 h 201"/>
                  <a:gd name="T20" fmla="*/ 173 w 311"/>
                  <a:gd name="T21" fmla="*/ 96 h 201"/>
                  <a:gd name="T22" fmla="*/ 161 w 311"/>
                  <a:gd name="T23" fmla="*/ 112 h 201"/>
                  <a:gd name="T24" fmla="*/ 145 w 311"/>
                  <a:gd name="T25" fmla="*/ 128 h 201"/>
                  <a:gd name="T26" fmla="*/ 112 w 311"/>
                  <a:gd name="T27" fmla="*/ 140 h 201"/>
                  <a:gd name="T28" fmla="*/ 90 w 311"/>
                  <a:gd name="T29" fmla="*/ 134 h 201"/>
                  <a:gd name="T30" fmla="*/ 67 w 311"/>
                  <a:gd name="T31" fmla="*/ 146 h 201"/>
                  <a:gd name="T32" fmla="*/ 84 w 311"/>
                  <a:gd name="T33" fmla="*/ 163 h 201"/>
                  <a:gd name="T34" fmla="*/ 112 w 311"/>
                  <a:gd name="T35" fmla="*/ 150 h 201"/>
                  <a:gd name="T36" fmla="*/ 145 w 311"/>
                  <a:gd name="T37" fmla="*/ 156 h 201"/>
                  <a:gd name="T38" fmla="*/ 151 w 311"/>
                  <a:gd name="T39" fmla="*/ 179 h 201"/>
                  <a:gd name="T40" fmla="*/ 206 w 311"/>
                  <a:gd name="T41" fmla="*/ 201 h 201"/>
                  <a:gd name="T42" fmla="*/ 212 w 311"/>
                  <a:gd name="T43" fmla="*/ 191 h 201"/>
                  <a:gd name="T44" fmla="*/ 183 w 311"/>
                  <a:gd name="T45" fmla="*/ 163 h 201"/>
                  <a:gd name="T46" fmla="*/ 222 w 311"/>
                  <a:gd name="T47" fmla="*/ 173 h 201"/>
                  <a:gd name="T48" fmla="*/ 250 w 311"/>
                  <a:gd name="T49" fmla="*/ 169 h 201"/>
                  <a:gd name="T50" fmla="*/ 222 w 311"/>
                  <a:gd name="T51" fmla="*/ 134 h 201"/>
                  <a:gd name="T52" fmla="*/ 228 w 311"/>
                  <a:gd name="T53" fmla="*/ 118 h 201"/>
                  <a:gd name="T54" fmla="*/ 256 w 311"/>
                  <a:gd name="T55" fmla="*/ 124 h 201"/>
                  <a:gd name="T56" fmla="*/ 256 w 311"/>
                  <a:gd name="T57" fmla="*/ 134 h 201"/>
                  <a:gd name="T58" fmla="*/ 273 w 311"/>
                  <a:gd name="T59" fmla="*/ 146 h 201"/>
                  <a:gd name="T60" fmla="*/ 279 w 311"/>
                  <a:gd name="T61" fmla="*/ 134 h 201"/>
                  <a:gd name="T62" fmla="*/ 311 w 311"/>
                  <a:gd name="T63" fmla="*/ 118 h 201"/>
                  <a:gd name="T64" fmla="*/ 301 w 311"/>
                  <a:gd name="T65" fmla="*/ 106 h 201"/>
                  <a:gd name="T66" fmla="*/ 273 w 311"/>
                  <a:gd name="T67" fmla="*/ 112 h 201"/>
                  <a:gd name="T68" fmla="*/ 285 w 311"/>
                  <a:gd name="T69" fmla="*/ 102 h 201"/>
                  <a:gd name="T70" fmla="*/ 240 w 311"/>
                  <a:gd name="T71" fmla="*/ 83 h 201"/>
                  <a:gd name="T72" fmla="*/ 262 w 311"/>
                  <a:gd name="T73" fmla="*/ 79 h 201"/>
                  <a:gd name="T74" fmla="*/ 266 w 311"/>
                  <a:gd name="T75" fmla="*/ 61 h 201"/>
                  <a:gd name="T76" fmla="*/ 244 w 311"/>
                  <a:gd name="T77" fmla="*/ 57 h 201"/>
                  <a:gd name="T78" fmla="*/ 218 w 311"/>
                  <a:gd name="T79" fmla="*/ 61 h 201"/>
                  <a:gd name="T80" fmla="*/ 234 w 311"/>
                  <a:gd name="T81" fmla="*/ 45 h 201"/>
                  <a:gd name="T82" fmla="*/ 195 w 311"/>
                  <a:gd name="T83" fmla="*/ 35 h 201"/>
                  <a:gd name="T84" fmla="*/ 128 w 311"/>
                  <a:gd name="T85" fmla="*/ 28 h 201"/>
                  <a:gd name="T86" fmla="*/ 139 w 311"/>
                  <a:gd name="T87" fmla="*/ 16 h 201"/>
                  <a:gd name="T88" fmla="*/ 118 w 311"/>
                  <a:gd name="T89" fmla="*/ 6 h 201"/>
                  <a:gd name="T90" fmla="*/ 72 w 311"/>
                  <a:gd name="T91" fmla="*/ 22 h 201"/>
                  <a:gd name="T92" fmla="*/ 78 w 311"/>
                  <a:gd name="T93" fmla="*/ 35 h 201"/>
                  <a:gd name="T94" fmla="*/ 55 w 311"/>
                  <a:gd name="T95" fmla="*/ 39 h 201"/>
                  <a:gd name="T96" fmla="*/ 55 w 311"/>
                  <a:gd name="T97" fmla="*/ 28 h 201"/>
                  <a:gd name="T98" fmla="*/ 72 w 311"/>
                  <a:gd name="T99" fmla="*/ 12 h 201"/>
                  <a:gd name="T100" fmla="*/ 84 w 311"/>
                  <a:gd name="T101" fmla="*/ 6 h 201"/>
                  <a:gd name="T102" fmla="*/ 72 w 311"/>
                  <a:gd name="T103" fmla="*/ 0 h 201"/>
                  <a:gd name="T104" fmla="*/ 13 w 311"/>
                  <a:gd name="T105" fmla="*/ 22 h 201"/>
                  <a:gd name="T106" fmla="*/ 13 w 311"/>
                  <a:gd name="T107" fmla="*/ 22 h 201"/>
                  <a:gd name="T108" fmla="*/ 173 w 311"/>
                  <a:gd name="T109" fmla="*/ 128 h 201"/>
                  <a:gd name="T110" fmla="*/ 179 w 311"/>
                  <a:gd name="T111" fmla="*/ 112 h 201"/>
                  <a:gd name="T112" fmla="*/ 212 w 311"/>
                  <a:gd name="T113" fmla="*/ 118 h 201"/>
                  <a:gd name="T114" fmla="*/ 212 w 311"/>
                  <a:gd name="T115" fmla="*/ 128 h 201"/>
                  <a:gd name="T116" fmla="*/ 189 w 311"/>
                  <a:gd name="T117" fmla="*/ 134 h 201"/>
                  <a:gd name="T118" fmla="*/ 173 w 311"/>
                  <a:gd name="T119" fmla="*/ 128 h 201"/>
                  <a:gd name="T120" fmla="*/ 173 w 311"/>
                  <a:gd name="T121" fmla="*/ 128 h 2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1"/>
                  <a:gd name="T184" fmla="*/ 0 h 201"/>
                  <a:gd name="T185" fmla="*/ 311 w 311"/>
                  <a:gd name="T186" fmla="*/ 201 h 2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1" h="201">
                    <a:moveTo>
                      <a:pt x="13" y="22"/>
                    </a:moveTo>
                    <a:lnTo>
                      <a:pt x="0" y="45"/>
                    </a:lnTo>
                    <a:lnTo>
                      <a:pt x="23" y="45"/>
                    </a:lnTo>
                    <a:lnTo>
                      <a:pt x="13" y="57"/>
                    </a:lnTo>
                    <a:lnTo>
                      <a:pt x="23" y="61"/>
                    </a:lnTo>
                    <a:lnTo>
                      <a:pt x="45" y="51"/>
                    </a:lnTo>
                    <a:lnTo>
                      <a:pt x="96" y="61"/>
                    </a:lnTo>
                    <a:lnTo>
                      <a:pt x="112" y="67"/>
                    </a:lnTo>
                    <a:lnTo>
                      <a:pt x="122" y="57"/>
                    </a:lnTo>
                    <a:lnTo>
                      <a:pt x="145" y="67"/>
                    </a:lnTo>
                    <a:lnTo>
                      <a:pt x="173" y="96"/>
                    </a:lnTo>
                    <a:lnTo>
                      <a:pt x="161" y="112"/>
                    </a:lnTo>
                    <a:lnTo>
                      <a:pt x="145" y="128"/>
                    </a:lnTo>
                    <a:lnTo>
                      <a:pt x="112" y="140"/>
                    </a:lnTo>
                    <a:lnTo>
                      <a:pt x="90" y="134"/>
                    </a:lnTo>
                    <a:lnTo>
                      <a:pt x="67" y="146"/>
                    </a:lnTo>
                    <a:lnTo>
                      <a:pt x="84" y="163"/>
                    </a:lnTo>
                    <a:lnTo>
                      <a:pt x="112" y="150"/>
                    </a:lnTo>
                    <a:lnTo>
                      <a:pt x="145" y="156"/>
                    </a:lnTo>
                    <a:lnTo>
                      <a:pt x="151" y="179"/>
                    </a:lnTo>
                    <a:lnTo>
                      <a:pt x="206" y="201"/>
                    </a:lnTo>
                    <a:lnTo>
                      <a:pt x="212" y="191"/>
                    </a:lnTo>
                    <a:lnTo>
                      <a:pt x="183" y="163"/>
                    </a:lnTo>
                    <a:lnTo>
                      <a:pt x="222" y="173"/>
                    </a:lnTo>
                    <a:lnTo>
                      <a:pt x="250" y="169"/>
                    </a:lnTo>
                    <a:lnTo>
                      <a:pt x="222" y="134"/>
                    </a:lnTo>
                    <a:lnTo>
                      <a:pt x="228" y="118"/>
                    </a:lnTo>
                    <a:lnTo>
                      <a:pt x="256" y="124"/>
                    </a:lnTo>
                    <a:lnTo>
                      <a:pt x="256" y="134"/>
                    </a:lnTo>
                    <a:lnTo>
                      <a:pt x="273" y="146"/>
                    </a:lnTo>
                    <a:lnTo>
                      <a:pt x="279" y="134"/>
                    </a:lnTo>
                    <a:lnTo>
                      <a:pt x="311" y="118"/>
                    </a:lnTo>
                    <a:lnTo>
                      <a:pt x="301" y="106"/>
                    </a:lnTo>
                    <a:lnTo>
                      <a:pt x="273" y="112"/>
                    </a:lnTo>
                    <a:lnTo>
                      <a:pt x="285" y="102"/>
                    </a:lnTo>
                    <a:lnTo>
                      <a:pt x="240" y="83"/>
                    </a:lnTo>
                    <a:lnTo>
                      <a:pt x="262" y="79"/>
                    </a:lnTo>
                    <a:lnTo>
                      <a:pt x="266" y="61"/>
                    </a:lnTo>
                    <a:lnTo>
                      <a:pt x="244" y="57"/>
                    </a:lnTo>
                    <a:lnTo>
                      <a:pt x="218" y="61"/>
                    </a:lnTo>
                    <a:lnTo>
                      <a:pt x="234" y="45"/>
                    </a:lnTo>
                    <a:lnTo>
                      <a:pt x="195" y="35"/>
                    </a:lnTo>
                    <a:lnTo>
                      <a:pt x="128" y="28"/>
                    </a:lnTo>
                    <a:lnTo>
                      <a:pt x="139" y="16"/>
                    </a:lnTo>
                    <a:lnTo>
                      <a:pt x="118" y="6"/>
                    </a:lnTo>
                    <a:lnTo>
                      <a:pt x="72" y="22"/>
                    </a:lnTo>
                    <a:lnTo>
                      <a:pt x="78" y="35"/>
                    </a:lnTo>
                    <a:lnTo>
                      <a:pt x="55" y="39"/>
                    </a:lnTo>
                    <a:lnTo>
                      <a:pt x="55" y="28"/>
                    </a:lnTo>
                    <a:lnTo>
                      <a:pt x="72" y="12"/>
                    </a:lnTo>
                    <a:lnTo>
                      <a:pt x="84" y="6"/>
                    </a:lnTo>
                    <a:lnTo>
                      <a:pt x="72" y="0"/>
                    </a:lnTo>
                    <a:lnTo>
                      <a:pt x="13" y="22"/>
                    </a:lnTo>
                    <a:close/>
                    <a:moveTo>
                      <a:pt x="173" y="128"/>
                    </a:moveTo>
                    <a:lnTo>
                      <a:pt x="179" y="112"/>
                    </a:lnTo>
                    <a:lnTo>
                      <a:pt x="212" y="118"/>
                    </a:lnTo>
                    <a:lnTo>
                      <a:pt x="212" y="128"/>
                    </a:lnTo>
                    <a:lnTo>
                      <a:pt x="189" y="134"/>
                    </a:lnTo>
                    <a:lnTo>
                      <a:pt x="173" y="12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0" name="Freeform 85">
                <a:extLst>
                  <a:ext uri="{FF2B5EF4-FFF2-40B4-BE49-F238E27FC236}">
                    <a16:creationId xmlns:a16="http://schemas.microsoft.com/office/drawing/2014/main" id="{1F44669C-8298-4125-8862-24590D3D4C73}"/>
                  </a:ext>
                </a:extLst>
              </p:cNvPr>
              <p:cNvSpPr>
                <a:spLocks/>
              </p:cNvSpPr>
              <p:nvPr/>
            </p:nvSpPr>
            <p:spPr bwMode="auto">
              <a:xfrm>
                <a:off x="2359770" y="1206248"/>
                <a:ext cx="57782" cy="21434"/>
              </a:xfrm>
              <a:custGeom>
                <a:avLst/>
                <a:gdLst>
                  <a:gd name="T0" fmla="*/ 0 w 44"/>
                  <a:gd name="T1" fmla="*/ 0 h 16"/>
                  <a:gd name="T2" fmla="*/ 0 w 44"/>
                  <a:gd name="T3" fmla="*/ 12 h 16"/>
                  <a:gd name="T4" fmla="*/ 28 w 44"/>
                  <a:gd name="T5" fmla="*/ 16 h 16"/>
                  <a:gd name="T6" fmla="*/ 44 w 44"/>
                  <a:gd name="T7" fmla="*/ 16 h 16"/>
                  <a:gd name="T8" fmla="*/ 44 w 44"/>
                  <a:gd name="T9" fmla="*/ 0 h 16"/>
                  <a:gd name="T10" fmla="*/ 0 w 44"/>
                  <a:gd name="T11" fmla="*/ 0 h 16"/>
                  <a:gd name="T12" fmla="*/ 0 w 44"/>
                  <a:gd name="T13" fmla="*/ 0 h 16"/>
                  <a:gd name="T14" fmla="*/ 0 60000 65536"/>
                  <a:gd name="T15" fmla="*/ 0 60000 65536"/>
                  <a:gd name="T16" fmla="*/ 0 60000 65536"/>
                  <a:gd name="T17" fmla="*/ 0 60000 65536"/>
                  <a:gd name="T18" fmla="*/ 0 60000 65536"/>
                  <a:gd name="T19" fmla="*/ 0 60000 65536"/>
                  <a:gd name="T20" fmla="*/ 0 60000 65536"/>
                  <a:gd name="T21" fmla="*/ 0 w 44"/>
                  <a:gd name="T22" fmla="*/ 0 h 16"/>
                  <a:gd name="T23" fmla="*/ 44 w 4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4" h="16">
                    <a:moveTo>
                      <a:pt x="0" y="0"/>
                    </a:moveTo>
                    <a:lnTo>
                      <a:pt x="0" y="12"/>
                    </a:lnTo>
                    <a:lnTo>
                      <a:pt x="28" y="16"/>
                    </a:lnTo>
                    <a:lnTo>
                      <a:pt x="44" y="16"/>
                    </a:lnTo>
                    <a:lnTo>
                      <a:pt x="44"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1" name="Freeform 86">
                <a:extLst>
                  <a:ext uri="{FF2B5EF4-FFF2-40B4-BE49-F238E27FC236}">
                    <a16:creationId xmlns:a16="http://schemas.microsoft.com/office/drawing/2014/main" id="{31C87F1A-BD95-4734-84EE-D940E05053CD}"/>
                  </a:ext>
                </a:extLst>
              </p:cNvPr>
              <p:cNvSpPr>
                <a:spLocks/>
              </p:cNvSpPr>
              <p:nvPr/>
            </p:nvSpPr>
            <p:spPr bwMode="auto">
              <a:xfrm>
                <a:off x="2308554" y="1317439"/>
                <a:ext cx="59095" cy="30812"/>
              </a:xfrm>
              <a:custGeom>
                <a:avLst/>
                <a:gdLst>
                  <a:gd name="T0" fmla="*/ 39 w 45"/>
                  <a:gd name="T1" fmla="*/ 0 h 23"/>
                  <a:gd name="T2" fmla="*/ 16 w 45"/>
                  <a:gd name="T3" fmla="*/ 13 h 23"/>
                  <a:gd name="T4" fmla="*/ 0 w 45"/>
                  <a:gd name="T5" fmla="*/ 23 h 23"/>
                  <a:gd name="T6" fmla="*/ 28 w 45"/>
                  <a:gd name="T7" fmla="*/ 23 h 23"/>
                  <a:gd name="T8" fmla="*/ 45 w 45"/>
                  <a:gd name="T9" fmla="*/ 19 h 23"/>
                  <a:gd name="T10" fmla="*/ 39 w 45"/>
                  <a:gd name="T11" fmla="*/ 0 h 23"/>
                  <a:gd name="T12" fmla="*/ 39 w 45"/>
                  <a:gd name="T13" fmla="*/ 0 h 23"/>
                  <a:gd name="T14" fmla="*/ 0 60000 65536"/>
                  <a:gd name="T15" fmla="*/ 0 60000 65536"/>
                  <a:gd name="T16" fmla="*/ 0 60000 65536"/>
                  <a:gd name="T17" fmla="*/ 0 60000 65536"/>
                  <a:gd name="T18" fmla="*/ 0 60000 65536"/>
                  <a:gd name="T19" fmla="*/ 0 60000 65536"/>
                  <a:gd name="T20" fmla="*/ 0 60000 65536"/>
                  <a:gd name="T21" fmla="*/ 0 w 45"/>
                  <a:gd name="T22" fmla="*/ 0 h 23"/>
                  <a:gd name="T23" fmla="*/ 45 w 45"/>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3">
                    <a:moveTo>
                      <a:pt x="39" y="0"/>
                    </a:moveTo>
                    <a:lnTo>
                      <a:pt x="16" y="13"/>
                    </a:lnTo>
                    <a:lnTo>
                      <a:pt x="0" y="23"/>
                    </a:lnTo>
                    <a:lnTo>
                      <a:pt x="28" y="23"/>
                    </a:lnTo>
                    <a:lnTo>
                      <a:pt x="45" y="19"/>
                    </a:lnTo>
                    <a:lnTo>
                      <a:pt x="3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2" name="Freeform 87">
                <a:extLst>
                  <a:ext uri="{FF2B5EF4-FFF2-40B4-BE49-F238E27FC236}">
                    <a16:creationId xmlns:a16="http://schemas.microsoft.com/office/drawing/2014/main" id="{B83C7653-6FD5-40F3-A017-192E845AD76C}"/>
                  </a:ext>
                </a:extLst>
              </p:cNvPr>
              <p:cNvSpPr>
                <a:spLocks/>
              </p:cNvSpPr>
              <p:nvPr/>
            </p:nvSpPr>
            <p:spPr bwMode="auto">
              <a:xfrm>
                <a:off x="1043921" y="1258495"/>
                <a:ext cx="1504954" cy="696620"/>
              </a:xfrm>
              <a:custGeom>
                <a:avLst/>
                <a:gdLst>
                  <a:gd name="T0" fmla="*/ 890 w 1146"/>
                  <a:gd name="T1" fmla="*/ 85 h 520"/>
                  <a:gd name="T2" fmla="*/ 896 w 1146"/>
                  <a:gd name="T3" fmla="*/ 28 h 520"/>
                  <a:gd name="T4" fmla="*/ 829 w 1146"/>
                  <a:gd name="T5" fmla="*/ 67 h 520"/>
                  <a:gd name="T6" fmla="*/ 807 w 1146"/>
                  <a:gd name="T7" fmla="*/ 50 h 520"/>
                  <a:gd name="T8" fmla="*/ 803 w 1146"/>
                  <a:gd name="T9" fmla="*/ 0 h 520"/>
                  <a:gd name="T10" fmla="*/ 752 w 1146"/>
                  <a:gd name="T11" fmla="*/ 57 h 520"/>
                  <a:gd name="T12" fmla="*/ 675 w 1146"/>
                  <a:gd name="T13" fmla="*/ 63 h 520"/>
                  <a:gd name="T14" fmla="*/ 567 w 1146"/>
                  <a:gd name="T15" fmla="*/ 79 h 520"/>
                  <a:gd name="T16" fmla="*/ 484 w 1146"/>
                  <a:gd name="T17" fmla="*/ 63 h 520"/>
                  <a:gd name="T18" fmla="*/ 384 w 1146"/>
                  <a:gd name="T19" fmla="*/ 34 h 520"/>
                  <a:gd name="T20" fmla="*/ 336 w 1146"/>
                  <a:gd name="T21" fmla="*/ 34 h 520"/>
                  <a:gd name="T22" fmla="*/ 189 w 1146"/>
                  <a:gd name="T23" fmla="*/ 34 h 520"/>
                  <a:gd name="T24" fmla="*/ 29 w 1146"/>
                  <a:gd name="T25" fmla="*/ 191 h 520"/>
                  <a:gd name="T26" fmla="*/ 67 w 1146"/>
                  <a:gd name="T27" fmla="*/ 223 h 520"/>
                  <a:gd name="T28" fmla="*/ 51 w 1146"/>
                  <a:gd name="T29" fmla="*/ 286 h 520"/>
                  <a:gd name="T30" fmla="*/ 45 w 1146"/>
                  <a:gd name="T31" fmla="*/ 319 h 520"/>
                  <a:gd name="T32" fmla="*/ 29 w 1146"/>
                  <a:gd name="T33" fmla="*/ 353 h 520"/>
                  <a:gd name="T34" fmla="*/ 508 w 1146"/>
                  <a:gd name="T35" fmla="*/ 396 h 520"/>
                  <a:gd name="T36" fmla="*/ 530 w 1146"/>
                  <a:gd name="T37" fmla="*/ 402 h 520"/>
                  <a:gd name="T38" fmla="*/ 579 w 1146"/>
                  <a:gd name="T39" fmla="*/ 420 h 520"/>
                  <a:gd name="T40" fmla="*/ 634 w 1146"/>
                  <a:gd name="T41" fmla="*/ 396 h 520"/>
                  <a:gd name="T42" fmla="*/ 697 w 1146"/>
                  <a:gd name="T43" fmla="*/ 447 h 520"/>
                  <a:gd name="T44" fmla="*/ 691 w 1146"/>
                  <a:gd name="T45" fmla="*/ 463 h 520"/>
                  <a:gd name="T46" fmla="*/ 685 w 1146"/>
                  <a:gd name="T47" fmla="*/ 510 h 520"/>
                  <a:gd name="T48" fmla="*/ 707 w 1146"/>
                  <a:gd name="T49" fmla="*/ 497 h 520"/>
                  <a:gd name="T50" fmla="*/ 790 w 1146"/>
                  <a:gd name="T51" fmla="*/ 469 h 520"/>
                  <a:gd name="T52" fmla="*/ 929 w 1146"/>
                  <a:gd name="T53" fmla="*/ 424 h 520"/>
                  <a:gd name="T54" fmla="*/ 941 w 1146"/>
                  <a:gd name="T55" fmla="*/ 463 h 520"/>
                  <a:gd name="T56" fmla="*/ 953 w 1146"/>
                  <a:gd name="T57" fmla="*/ 469 h 520"/>
                  <a:gd name="T58" fmla="*/ 953 w 1146"/>
                  <a:gd name="T59" fmla="*/ 491 h 520"/>
                  <a:gd name="T60" fmla="*/ 1008 w 1146"/>
                  <a:gd name="T61" fmla="*/ 453 h 520"/>
                  <a:gd name="T62" fmla="*/ 957 w 1146"/>
                  <a:gd name="T63" fmla="*/ 436 h 520"/>
                  <a:gd name="T64" fmla="*/ 941 w 1146"/>
                  <a:gd name="T65" fmla="*/ 402 h 520"/>
                  <a:gd name="T66" fmla="*/ 969 w 1146"/>
                  <a:gd name="T67" fmla="*/ 380 h 520"/>
                  <a:gd name="T68" fmla="*/ 864 w 1146"/>
                  <a:gd name="T69" fmla="*/ 443 h 520"/>
                  <a:gd name="T70" fmla="*/ 947 w 1146"/>
                  <a:gd name="T71" fmla="*/ 363 h 520"/>
                  <a:gd name="T72" fmla="*/ 1079 w 1146"/>
                  <a:gd name="T73" fmla="*/ 353 h 520"/>
                  <a:gd name="T74" fmla="*/ 1142 w 1146"/>
                  <a:gd name="T75" fmla="*/ 335 h 520"/>
                  <a:gd name="T76" fmla="*/ 1146 w 1146"/>
                  <a:gd name="T77" fmla="*/ 302 h 520"/>
                  <a:gd name="T78" fmla="*/ 1075 w 1146"/>
                  <a:gd name="T79" fmla="*/ 262 h 520"/>
                  <a:gd name="T80" fmla="*/ 1079 w 1146"/>
                  <a:gd name="T81" fmla="*/ 213 h 520"/>
                  <a:gd name="T82" fmla="*/ 996 w 1146"/>
                  <a:gd name="T83" fmla="*/ 229 h 520"/>
                  <a:gd name="T84" fmla="*/ 991 w 1146"/>
                  <a:gd name="T85" fmla="*/ 213 h 520"/>
                  <a:gd name="T86" fmla="*/ 979 w 1146"/>
                  <a:gd name="T87" fmla="*/ 156 h 520"/>
                  <a:gd name="T88" fmla="*/ 918 w 1146"/>
                  <a:gd name="T89" fmla="*/ 146 h 520"/>
                  <a:gd name="T90" fmla="*/ 880 w 1146"/>
                  <a:gd name="T91" fmla="*/ 184 h 520"/>
                  <a:gd name="T92" fmla="*/ 870 w 1146"/>
                  <a:gd name="T93" fmla="*/ 245 h 520"/>
                  <a:gd name="T94" fmla="*/ 797 w 1146"/>
                  <a:gd name="T95" fmla="*/ 319 h 520"/>
                  <a:gd name="T96" fmla="*/ 758 w 1146"/>
                  <a:gd name="T97" fmla="*/ 286 h 520"/>
                  <a:gd name="T98" fmla="*/ 675 w 1146"/>
                  <a:gd name="T99" fmla="*/ 245 h 520"/>
                  <a:gd name="T100" fmla="*/ 630 w 1146"/>
                  <a:gd name="T101" fmla="*/ 213 h 520"/>
                  <a:gd name="T102" fmla="*/ 685 w 1146"/>
                  <a:gd name="T103" fmla="*/ 152 h 520"/>
                  <a:gd name="T104" fmla="*/ 740 w 1146"/>
                  <a:gd name="T105" fmla="*/ 130 h 520"/>
                  <a:gd name="T106" fmla="*/ 807 w 1146"/>
                  <a:gd name="T107" fmla="*/ 95 h 520"/>
                  <a:gd name="T108" fmla="*/ 857 w 1146"/>
                  <a:gd name="T109" fmla="*/ 89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46"/>
                  <a:gd name="T166" fmla="*/ 0 h 520"/>
                  <a:gd name="T167" fmla="*/ 1146 w 1146"/>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46" h="520">
                    <a:moveTo>
                      <a:pt x="857" y="89"/>
                    </a:moveTo>
                    <a:lnTo>
                      <a:pt x="870" y="79"/>
                    </a:lnTo>
                    <a:lnTo>
                      <a:pt x="890" y="85"/>
                    </a:lnTo>
                    <a:lnTo>
                      <a:pt x="918" y="57"/>
                    </a:lnTo>
                    <a:lnTo>
                      <a:pt x="929" y="34"/>
                    </a:lnTo>
                    <a:lnTo>
                      <a:pt x="896" y="28"/>
                    </a:lnTo>
                    <a:lnTo>
                      <a:pt x="880" y="44"/>
                    </a:lnTo>
                    <a:lnTo>
                      <a:pt x="845" y="63"/>
                    </a:lnTo>
                    <a:lnTo>
                      <a:pt x="829" y="67"/>
                    </a:lnTo>
                    <a:lnTo>
                      <a:pt x="845" y="40"/>
                    </a:lnTo>
                    <a:lnTo>
                      <a:pt x="823" y="40"/>
                    </a:lnTo>
                    <a:lnTo>
                      <a:pt x="807" y="50"/>
                    </a:lnTo>
                    <a:lnTo>
                      <a:pt x="803" y="34"/>
                    </a:lnTo>
                    <a:lnTo>
                      <a:pt x="819" y="28"/>
                    </a:lnTo>
                    <a:lnTo>
                      <a:pt x="803" y="0"/>
                    </a:lnTo>
                    <a:lnTo>
                      <a:pt x="752" y="22"/>
                    </a:lnTo>
                    <a:lnTo>
                      <a:pt x="774" y="40"/>
                    </a:lnTo>
                    <a:lnTo>
                      <a:pt x="752" y="57"/>
                    </a:lnTo>
                    <a:lnTo>
                      <a:pt x="730" y="57"/>
                    </a:lnTo>
                    <a:lnTo>
                      <a:pt x="713" y="63"/>
                    </a:lnTo>
                    <a:lnTo>
                      <a:pt x="675" y="63"/>
                    </a:lnTo>
                    <a:lnTo>
                      <a:pt x="618" y="57"/>
                    </a:lnTo>
                    <a:lnTo>
                      <a:pt x="573" y="57"/>
                    </a:lnTo>
                    <a:lnTo>
                      <a:pt x="567" y="79"/>
                    </a:lnTo>
                    <a:lnTo>
                      <a:pt x="551" y="63"/>
                    </a:lnTo>
                    <a:lnTo>
                      <a:pt x="508" y="73"/>
                    </a:lnTo>
                    <a:lnTo>
                      <a:pt x="484" y="63"/>
                    </a:lnTo>
                    <a:lnTo>
                      <a:pt x="496" y="50"/>
                    </a:lnTo>
                    <a:lnTo>
                      <a:pt x="419" y="28"/>
                    </a:lnTo>
                    <a:lnTo>
                      <a:pt x="384" y="34"/>
                    </a:lnTo>
                    <a:lnTo>
                      <a:pt x="368" y="44"/>
                    </a:lnTo>
                    <a:lnTo>
                      <a:pt x="362" y="28"/>
                    </a:lnTo>
                    <a:lnTo>
                      <a:pt x="336" y="34"/>
                    </a:lnTo>
                    <a:lnTo>
                      <a:pt x="291" y="28"/>
                    </a:lnTo>
                    <a:lnTo>
                      <a:pt x="230" y="50"/>
                    </a:lnTo>
                    <a:lnTo>
                      <a:pt x="189" y="34"/>
                    </a:lnTo>
                    <a:lnTo>
                      <a:pt x="173" y="34"/>
                    </a:lnTo>
                    <a:lnTo>
                      <a:pt x="0" y="184"/>
                    </a:lnTo>
                    <a:lnTo>
                      <a:pt x="29" y="191"/>
                    </a:lnTo>
                    <a:lnTo>
                      <a:pt x="23" y="207"/>
                    </a:lnTo>
                    <a:lnTo>
                      <a:pt x="57" y="195"/>
                    </a:lnTo>
                    <a:lnTo>
                      <a:pt x="67" y="223"/>
                    </a:lnTo>
                    <a:lnTo>
                      <a:pt x="67" y="252"/>
                    </a:lnTo>
                    <a:lnTo>
                      <a:pt x="74" y="274"/>
                    </a:lnTo>
                    <a:lnTo>
                      <a:pt x="51" y="286"/>
                    </a:lnTo>
                    <a:lnTo>
                      <a:pt x="29" y="302"/>
                    </a:lnTo>
                    <a:lnTo>
                      <a:pt x="29" y="319"/>
                    </a:lnTo>
                    <a:lnTo>
                      <a:pt x="45" y="319"/>
                    </a:lnTo>
                    <a:lnTo>
                      <a:pt x="35" y="335"/>
                    </a:lnTo>
                    <a:lnTo>
                      <a:pt x="51" y="329"/>
                    </a:lnTo>
                    <a:lnTo>
                      <a:pt x="29" y="353"/>
                    </a:lnTo>
                    <a:lnTo>
                      <a:pt x="51" y="363"/>
                    </a:lnTo>
                    <a:lnTo>
                      <a:pt x="80" y="392"/>
                    </a:lnTo>
                    <a:lnTo>
                      <a:pt x="508" y="396"/>
                    </a:lnTo>
                    <a:lnTo>
                      <a:pt x="508" y="386"/>
                    </a:lnTo>
                    <a:lnTo>
                      <a:pt x="524" y="386"/>
                    </a:lnTo>
                    <a:lnTo>
                      <a:pt x="530" y="402"/>
                    </a:lnTo>
                    <a:lnTo>
                      <a:pt x="557" y="408"/>
                    </a:lnTo>
                    <a:lnTo>
                      <a:pt x="567" y="402"/>
                    </a:lnTo>
                    <a:lnTo>
                      <a:pt x="579" y="420"/>
                    </a:lnTo>
                    <a:lnTo>
                      <a:pt x="602" y="414"/>
                    </a:lnTo>
                    <a:lnTo>
                      <a:pt x="608" y="402"/>
                    </a:lnTo>
                    <a:lnTo>
                      <a:pt x="634" y="396"/>
                    </a:lnTo>
                    <a:lnTo>
                      <a:pt x="656" y="424"/>
                    </a:lnTo>
                    <a:lnTo>
                      <a:pt x="662" y="443"/>
                    </a:lnTo>
                    <a:lnTo>
                      <a:pt x="697" y="447"/>
                    </a:lnTo>
                    <a:lnTo>
                      <a:pt x="719" y="469"/>
                    </a:lnTo>
                    <a:lnTo>
                      <a:pt x="701" y="475"/>
                    </a:lnTo>
                    <a:lnTo>
                      <a:pt x="691" y="463"/>
                    </a:lnTo>
                    <a:lnTo>
                      <a:pt x="679" y="475"/>
                    </a:lnTo>
                    <a:lnTo>
                      <a:pt x="656" y="520"/>
                    </a:lnTo>
                    <a:lnTo>
                      <a:pt x="685" y="510"/>
                    </a:lnTo>
                    <a:lnTo>
                      <a:pt x="697" y="514"/>
                    </a:lnTo>
                    <a:lnTo>
                      <a:pt x="707" y="510"/>
                    </a:lnTo>
                    <a:lnTo>
                      <a:pt x="707" y="497"/>
                    </a:lnTo>
                    <a:lnTo>
                      <a:pt x="752" y="487"/>
                    </a:lnTo>
                    <a:lnTo>
                      <a:pt x="768" y="487"/>
                    </a:lnTo>
                    <a:lnTo>
                      <a:pt x="790" y="469"/>
                    </a:lnTo>
                    <a:lnTo>
                      <a:pt x="874" y="459"/>
                    </a:lnTo>
                    <a:lnTo>
                      <a:pt x="908" y="424"/>
                    </a:lnTo>
                    <a:lnTo>
                      <a:pt x="929" y="424"/>
                    </a:lnTo>
                    <a:lnTo>
                      <a:pt x="918" y="443"/>
                    </a:lnTo>
                    <a:lnTo>
                      <a:pt x="924" y="475"/>
                    </a:lnTo>
                    <a:lnTo>
                      <a:pt x="941" y="463"/>
                    </a:lnTo>
                    <a:lnTo>
                      <a:pt x="953" y="453"/>
                    </a:lnTo>
                    <a:lnTo>
                      <a:pt x="969" y="463"/>
                    </a:lnTo>
                    <a:lnTo>
                      <a:pt x="953" y="469"/>
                    </a:lnTo>
                    <a:lnTo>
                      <a:pt x="924" y="487"/>
                    </a:lnTo>
                    <a:lnTo>
                      <a:pt x="929" y="497"/>
                    </a:lnTo>
                    <a:lnTo>
                      <a:pt x="953" y="491"/>
                    </a:lnTo>
                    <a:lnTo>
                      <a:pt x="979" y="469"/>
                    </a:lnTo>
                    <a:lnTo>
                      <a:pt x="1008" y="463"/>
                    </a:lnTo>
                    <a:lnTo>
                      <a:pt x="1008" y="453"/>
                    </a:lnTo>
                    <a:lnTo>
                      <a:pt x="985" y="453"/>
                    </a:lnTo>
                    <a:lnTo>
                      <a:pt x="963" y="447"/>
                    </a:lnTo>
                    <a:lnTo>
                      <a:pt x="957" y="436"/>
                    </a:lnTo>
                    <a:lnTo>
                      <a:pt x="963" y="424"/>
                    </a:lnTo>
                    <a:lnTo>
                      <a:pt x="941" y="414"/>
                    </a:lnTo>
                    <a:lnTo>
                      <a:pt x="941" y="402"/>
                    </a:lnTo>
                    <a:lnTo>
                      <a:pt x="975" y="408"/>
                    </a:lnTo>
                    <a:lnTo>
                      <a:pt x="985" y="396"/>
                    </a:lnTo>
                    <a:lnTo>
                      <a:pt x="969" y="380"/>
                    </a:lnTo>
                    <a:lnTo>
                      <a:pt x="941" y="392"/>
                    </a:lnTo>
                    <a:lnTo>
                      <a:pt x="902" y="414"/>
                    </a:lnTo>
                    <a:lnTo>
                      <a:pt x="864" y="443"/>
                    </a:lnTo>
                    <a:lnTo>
                      <a:pt x="896" y="402"/>
                    </a:lnTo>
                    <a:lnTo>
                      <a:pt x="924" y="386"/>
                    </a:lnTo>
                    <a:lnTo>
                      <a:pt x="947" y="363"/>
                    </a:lnTo>
                    <a:lnTo>
                      <a:pt x="1024" y="363"/>
                    </a:lnTo>
                    <a:lnTo>
                      <a:pt x="1058" y="369"/>
                    </a:lnTo>
                    <a:lnTo>
                      <a:pt x="1079" y="353"/>
                    </a:lnTo>
                    <a:lnTo>
                      <a:pt x="1113" y="341"/>
                    </a:lnTo>
                    <a:lnTo>
                      <a:pt x="1130" y="341"/>
                    </a:lnTo>
                    <a:lnTo>
                      <a:pt x="1142" y="335"/>
                    </a:lnTo>
                    <a:lnTo>
                      <a:pt x="1136" y="325"/>
                    </a:lnTo>
                    <a:lnTo>
                      <a:pt x="1142" y="319"/>
                    </a:lnTo>
                    <a:lnTo>
                      <a:pt x="1146" y="302"/>
                    </a:lnTo>
                    <a:lnTo>
                      <a:pt x="1079" y="308"/>
                    </a:lnTo>
                    <a:lnTo>
                      <a:pt x="1123" y="290"/>
                    </a:lnTo>
                    <a:lnTo>
                      <a:pt x="1075" y="262"/>
                    </a:lnTo>
                    <a:lnTo>
                      <a:pt x="1085" y="241"/>
                    </a:lnTo>
                    <a:lnTo>
                      <a:pt x="1079" y="229"/>
                    </a:lnTo>
                    <a:lnTo>
                      <a:pt x="1079" y="213"/>
                    </a:lnTo>
                    <a:lnTo>
                      <a:pt x="1063" y="213"/>
                    </a:lnTo>
                    <a:lnTo>
                      <a:pt x="1075" y="191"/>
                    </a:lnTo>
                    <a:lnTo>
                      <a:pt x="996" y="229"/>
                    </a:lnTo>
                    <a:lnTo>
                      <a:pt x="985" y="229"/>
                    </a:lnTo>
                    <a:lnTo>
                      <a:pt x="996" y="219"/>
                    </a:lnTo>
                    <a:lnTo>
                      <a:pt x="991" y="213"/>
                    </a:lnTo>
                    <a:lnTo>
                      <a:pt x="1008" y="178"/>
                    </a:lnTo>
                    <a:lnTo>
                      <a:pt x="991" y="174"/>
                    </a:lnTo>
                    <a:lnTo>
                      <a:pt x="979" y="156"/>
                    </a:lnTo>
                    <a:lnTo>
                      <a:pt x="963" y="156"/>
                    </a:lnTo>
                    <a:lnTo>
                      <a:pt x="963" y="152"/>
                    </a:lnTo>
                    <a:lnTo>
                      <a:pt x="918" y="146"/>
                    </a:lnTo>
                    <a:lnTo>
                      <a:pt x="912" y="134"/>
                    </a:lnTo>
                    <a:lnTo>
                      <a:pt x="902" y="156"/>
                    </a:lnTo>
                    <a:lnTo>
                      <a:pt x="880" y="184"/>
                    </a:lnTo>
                    <a:lnTo>
                      <a:pt x="890" y="195"/>
                    </a:lnTo>
                    <a:lnTo>
                      <a:pt x="857" y="223"/>
                    </a:lnTo>
                    <a:lnTo>
                      <a:pt x="870" y="245"/>
                    </a:lnTo>
                    <a:lnTo>
                      <a:pt x="823" y="286"/>
                    </a:lnTo>
                    <a:lnTo>
                      <a:pt x="803" y="290"/>
                    </a:lnTo>
                    <a:lnTo>
                      <a:pt x="797" y="319"/>
                    </a:lnTo>
                    <a:lnTo>
                      <a:pt x="768" y="353"/>
                    </a:lnTo>
                    <a:lnTo>
                      <a:pt x="746" y="341"/>
                    </a:lnTo>
                    <a:lnTo>
                      <a:pt x="758" y="286"/>
                    </a:lnTo>
                    <a:lnTo>
                      <a:pt x="746" y="280"/>
                    </a:lnTo>
                    <a:lnTo>
                      <a:pt x="723" y="286"/>
                    </a:lnTo>
                    <a:lnTo>
                      <a:pt x="675" y="245"/>
                    </a:lnTo>
                    <a:lnTo>
                      <a:pt x="640" y="245"/>
                    </a:lnTo>
                    <a:lnTo>
                      <a:pt x="640" y="213"/>
                    </a:lnTo>
                    <a:lnTo>
                      <a:pt x="630" y="213"/>
                    </a:lnTo>
                    <a:lnTo>
                      <a:pt x="640" y="191"/>
                    </a:lnTo>
                    <a:lnTo>
                      <a:pt x="685" y="162"/>
                    </a:lnTo>
                    <a:lnTo>
                      <a:pt x="685" y="152"/>
                    </a:lnTo>
                    <a:lnTo>
                      <a:pt x="730" y="140"/>
                    </a:lnTo>
                    <a:lnTo>
                      <a:pt x="707" y="124"/>
                    </a:lnTo>
                    <a:lnTo>
                      <a:pt x="740" y="130"/>
                    </a:lnTo>
                    <a:lnTo>
                      <a:pt x="803" y="107"/>
                    </a:lnTo>
                    <a:lnTo>
                      <a:pt x="758" y="95"/>
                    </a:lnTo>
                    <a:lnTo>
                      <a:pt x="807" y="95"/>
                    </a:lnTo>
                    <a:lnTo>
                      <a:pt x="835" y="85"/>
                    </a:lnTo>
                    <a:lnTo>
                      <a:pt x="857" y="8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3" name="Freeform 88">
                <a:extLst>
                  <a:ext uri="{FF2B5EF4-FFF2-40B4-BE49-F238E27FC236}">
                    <a16:creationId xmlns:a16="http://schemas.microsoft.com/office/drawing/2014/main" id="{5B70533A-69D9-484B-972C-EADB75386D7C}"/>
                  </a:ext>
                </a:extLst>
              </p:cNvPr>
              <p:cNvSpPr>
                <a:spLocks/>
              </p:cNvSpPr>
              <p:nvPr/>
            </p:nvSpPr>
            <p:spPr bwMode="auto">
              <a:xfrm>
                <a:off x="2119450" y="1438008"/>
                <a:ext cx="34144" cy="37510"/>
              </a:xfrm>
              <a:custGeom>
                <a:avLst/>
                <a:gdLst>
                  <a:gd name="T0" fmla="*/ 26 w 26"/>
                  <a:gd name="T1" fmla="*/ 18 h 28"/>
                  <a:gd name="T2" fmla="*/ 26 w 26"/>
                  <a:gd name="T3" fmla="*/ 0 h 28"/>
                  <a:gd name="T4" fmla="*/ 0 w 26"/>
                  <a:gd name="T5" fmla="*/ 12 h 28"/>
                  <a:gd name="T6" fmla="*/ 10 w 26"/>
                  <a:gd name="T7" fmla="*/ 28 h 28"/>
                  <a:gd name="T8" fmla="*/ 26 w 26"/>
                  <a:gd name="T9" fmla="*/ 18 h 28"/>
                  <a:gd name="T10" fmla="*/ 26 w 26"/>
                  <a:gd name="T11" fmla="*/ 18 h 28"/>
                  <a:gd name="T12" fmla="*/ 0 60000 65536"/>
                  <a:gd name="T13" fmla="*/ 0 60000 65536"/>
                  <a:gd name="T14" fmla="*/ 0 60000 65536"/>
                  <a:gd name="T15" fmla="*/ 0 60000 65536"/>
                  <a:gd name="T16" fmla="*/ 0 60000 65536"/>
                  <a:gd name="T17" fmla="*/ 0 60000 65536"/>
                  <a:gd name="T18" fmla="*/ 0 w 26"/>
                  <a:gd name="T19" fmla="*/ 0 h 28"/>
                  <a:gd name="T20" fmla="*/ 26 w 2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6" h="28">
                    <a:moveTo>
                      <a:pt x="26" y="18"/>
                    </a:moveTo>
                    <a:lnTo>
                      <a:pt x="26" y="0"/>
                    </a:lnTo>
                    <a:lnTo>
                      <a:pt x="0" y="12"/>
                    </a:lnTo>
                    <a:lnTo>
                      <a:pt x="10" y="28"/>
                    </a:lnTo>
                    <a:lnTo>
                      <a:pt x="26" y="1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4" name="Freeform 89">
                <a:extLst>
                  <a:ext uri="{FF2B5EF4-FFF2-40B4-BE49-F238E27FC236}">
                    <a16:creationId xmlns:a16="http://schemas.microsoft.com/office/drawing/2014/main" id="{B31F4277-C1F0-4FF3-9FE8-639BB398D8AE}"/>
                  </a:ext>
                </a:extLst>
              </p:cNvPr>
              <p:cNvSpPr>
                <a:spLocks/>
              </p:cNvSpPr>
              <p:nvPr/>
            </p:nvSpPr>
            <p:spPr bwMode="auto">
              <a:xfrm>
                <a:off x="2178545" y="1462122"/>
                <a:ext cx="28891" cy="21434"/>
              </a:xfrm>
              <a:custGeom>
                <a:avLst/>
                <a:gdLst>
                  <a:gd name="T0" fmla="*/ 16 w 22"/>
                  <a:gd name="T1" fmla="*/ 0 h 16"/>
                  <a:gd name="T2" fmla="*/ 0 w 22"/>
                  <a:gd name="T3" fmla="*/ 4 h 16"/>
                  <a:gd name="T4" fmla="*/ 6 w 22"/>
                  <a:gd name="T5" fmla="*/ 16 h 16"/>
                  <a:gd name="T6" fmla="*/ 22 w 22"/>
                  <a:gd name="T7" fmla="*/ 0 h 16"/>
                  <a:gd name="T8" fmla="*/ 16 w 22"/>
                  <a:gd name="T9" fmla="*/ 0 h 16"/>
                  <a:gd name="T10" fmla="*/ 16 w 22"/>
                  <a:gd name="T11" fmla="*/ 0 h 16"/>
                  <a:gd name="T12" fmla="*/ 0 60000 65536"/>
                  <a:gd name="T13" fmla="*/ 0 60000 65536"/>
                  <a:gd name="T14" fmla="*/ 0 60000 65536"/>
                  <a:gd name="T15" fmla="*/ 0 60000 65536"/>
                  <a:gd name="T16" fmla="*/ 0 60000 65536"/>
                  <a:gd name="T17" fmla="*/ 0 60000 65536"/>
                  <a:gd name="T18" fmla="*/ 0 w 22"/>
                  <a:gd name="T19" fmla="*/ 0 h 16"/>
                  <a:gd name="T20" fmla="*/ 22 w 22"/>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2" h="16">
                    <a:moveTo>
                      <a:pt x="16" y="0"/>
                    </a:moveTo>
                    <a:lnTo>
                      <a:pt x="0" y="4"/>
                    </a:lnTo>
                    <a:lnTo>
                      <a:pt x="6" y="16"/>
                    </a:lnTo>
                    <a:lnTo>
                      <a:pt x="22" y="0"/>
                    </a:lnTo>
                    <a:lnTo>
                      <a:pt x="1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5" name="Freeform 90">
                <a:extLst>
                  <a:ext uri="{FF2B5EF4-FFF2-40B4-BE49-F238E27FC236}">
                    <a16:creationId xmlns:a16="http://schemas.microsoft.com/office/drawing/2014/main" id="{AFE8D535-79DB-41D2-B604-F3D04E160A98}"/>
                  </a:ext>
                </a:extLst>
              </p:cNvPr>
              <p:cNvSpPr>
                <a:spLocks/>
              </p:cNvSpPr>
              <p:nvPr/>
            </p:nvSpPr>
            <p:spPr bwMode="auto">
              <a:xfrm>
                <a:off x="2103691" y="1385762"/>
                <a:ext cx="87986" cy="60285"/>
              </a:xfrm>
              <a:custGeom>
                <a:avLst/>
                <a:gdLst>
                  <a:gd name="T0" fmla="*/ 34 w 67"/>
                  <a:gd name="T1" fmla="*/ 35 h 45"/>
                  <a:gd name="T2" fmla="*/ 63 w 67"/>
                  <a:gd name="T3" fmla="*/ 45 h 45"/>
                  <a:gd name="T4" fmla="*/ 67 w 67"/>
                  <a:gd name="T5" fmla="*/ 29 h 45"/>
                  <a:gd name="T6" fmla="*/ 28 w 67"/>
                  <a:gd name="T7" fmla="*/ 0 h 45"/>
                  <a:gd name="T8" fmla="*/ 0 w 67"/>
                  <a:gd name="T9" fmla="*/ 29 h 45"/>
                  <a:gd name="T10" fmla="*/ 0 w 67"/>
                  <a:gd name="T11" fmla="*/ 39 h 45"/>
                  <a:gd name="T12" fmla="*/ 16 w 67"/>
                  <a:gd name="T13" fmla="*/ 39 h 45"/>
                  <a:gd name="T14" fmla="*/ 34 w 67"/>
                  <a:gd name="T15" fmla="*/ 35 h 45"/>
                  <a:gd name="T16" fmla="*/ 34 w 67"/>
                  <a:gd name="T17" fmla="*/ 35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7"/>
                  <a:gd name="T28" fmla="*/ 0 h 45"/>
                  <a:gd name="T29" fmla="*/ 67 w 67"/>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7" h="45">
                    <a:moveTo>
                      <a:pt x="34" y="35"/>
                    </a:moveTo>
                    <a:lnTo>
                      <a:pt x="63" y="45"/>
                    </a:lnTo>
                    <a:lnTo>
                      <a:pt x="67" y="29"/>
                    </a:lnTo>
                    <a:lnTo>
                      <a:pt x="28" y="0"/>
                    </a:lnTo>
                    <a:lnTo>
                      <a:pt x="0" y="29"/>
                    </a:lnTo>
                    <a:lnTo>
                      <a:pt x="0" y="39"/>
                    </a:lnTo>
                    <a:lnTo>
                      <a:pt x="16" y="39"/>
                    </a:lnTo>
                    <a:lnTo>
                      <a:pt x="34" y="3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6" name="Freeform 91">
                <a:extLst>
                  <a:ext uri="{FF2B5EF4-FFF2-40B4-BE49-F238E27FC236}">
                    <a16:creationId xmlns:a16="http://schemas.microsoft.com/office/drawing/2014/main" id="{748CD358-7233-4226-9445-6FFD03A44D7D}"/>
                  </a:ext>
                </a:extLst>
              </p:cNvPr>
              <p:cNvSpPr>
                <a:spLocks/>
              </p:cNvSpPr>
              <p:nvPr/>
            </p:nvSpPr>
            <p:spPr bwMode="auto">
              <a:xfrm>
                <a:off x="2351891" y="1760864"/>
                <a:ext cx="44650" cy="28133"/>
              </a:xfrm>
              <a:custGeom>
                <a:avLst/>
                <a:gdLst>
                  <a:gd name="T0" fmla="*/ 0 w 34"/>
                  <a:gd name="T1" fmla="*/ 0 h 21"/>
                  <a:gd name="T2" fmla="*/ 6 w 34"/>
                  <a:gd name="T3" fmla="*/ 17 h 21"/>
                  <a:gd name="T4" fmla="*/ 22 w 34"/>
                  <a:gd name="T5" fmla="*/ 21 h 21"/>
                  <a:gd name="T6" fmla="*/ 34 w 34"/>
                  <a:gd name="T7" fmla="*/ 11 h 21"/>
                  <a:gd name="T8" fmla="*/ 22 w 34"/>
                  <a:gd name="T9" fmla="*/ 5 h 21"/>
                  <a:gd name="T10" fmla="*/ 0 w 34"/>
                  <a:gd name="T11" fmla="*/ 0 h 21"/>
                  <a:gd name="T12" fmla="*/ 0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0"/>
                    </a:moveTo>
                    <a:lnTo>
                      <a:pt x="6" y="17"/>
                    </a:lnTo>
                    <a:lnTo>
                      <a:pt x="22" y="21"/>
                    </a:lnTo>
                    <a:lnTo>
                      <a:pt x="34" y="11"/>
                    </a:lnTo>
                    <a:lnTo>
                      <a:pt x="22" y="5"/>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7" name="Freeform 92">
                <a:extLst>
                  <a:ext uri="{FF2B5EF4-FFF2-40B4-BE49-F238E27FC236}">
                    <a16:creationId xmlns:a16="http://schemas.microsoft.com/office/drawing/2014/main" id="{AA0722D4-3EE1-4845-8DEA-4FE0E43D79D8}"/>
                  </a:ext>
                </a:extLst>
              </p:cNvPr>
              <p:cNvSpPr>
                <a:spLocks/>
              </p:cNvSpPr>
              <p:nvPr/>
            </p:nvSpPr>
            <p:spPr bwMode="auto">
              <a:xfrm>
                <a:off x="2433311" y="1731392"/>
                <a:ext cx="144455" cy="120569"/>
              </a:xfrm>
              <a:custGeom>
                <a:avLst/>
                <a:gdLst>
                  <a:gd name="T0" fmla="*/ 65 w 110"/>
                  <a:gd name="T1" fmla="*/ 8 h 90"/>
                  <a:gd name="T2" fmla="*/ 65 w 110"/>
                  <a:gd name="T3" fmla="*/ 0 h 90"/>
                  <a:gd name="T4" fmla="*/ 43 w 110"/>
                  <a:gd name="T5" fmla="*/ 10 h 90"/>
                  <a:gd name="T6" fmla="*/ 27 w 110"/>
                  <a:gd name="T7" fmla="*/ 43 h 90"/>
                  <a:gd name="T8" fmla="*/ 0 w 110"/>
                  <a:gd name="T9" fmla="*/ 61 h 90"/>
                  <a:gd name="T10" fmla="*/ 49 w 110"/>
                  <a:gd name="T11" fmla="*/ 71 h 90"/>
                  <a:gd name="T12" fmla="*/ 49 w 110"/>
                  <a:gd name="T13" fmla="*/ 90 h 90"/>
                  <a:gd name="T14" fmla="*/ 84 w 110"/>
                  <a:gd name="T15" fmla="*/ 61 h 90"/>
                  <a:gd name="T16" fmla="*/ 84 w 110"/>
                  <a:gd name="T17" fmla="*/ 77 h 90"/>
                  <a:gd name="T18" fmla="*/ 100 w 110"/>
                  <a:gd name="T19" fmla="*/ 83 h 90"/>
                  <a:gd name="T20" fmla="*/ 110 w 110"/>
                  <a:gd name="T21" fmla="*/ 67 h 90"/>
                  <a:gd name="T22" fmla="*/ 94 w 110"/>
                  <a:gd name="T23" fmla="*/ 61 h 90"/>
                  <a:gd name="T24" fmla="*/ 100 w 110"/>
                  <a:gd name="T25" fmla="*/ 49 h 90"/>
                  <a:gd name="T26" fmla="*/ 88 w 110"/>
                  <a:gd name="T27" fmla="*/ 43 h 90"/>
                  <a:gd name="T28" fmla="*/ 100 w 110"/>
                  <a:gd name="T29" fmla="*/ 33 h 90"/>
                  <a:gd name="T30" fmla="*/ 65 w 110"/>
                  <a:gd name="T31" fmla="*/ 27 h 90"/>
                  <a:gd name="T32" fmla="*/ 65 w 110"/>
                  <a:gd name="T33" fmla="*/ 16 h 90"/>
                  <a:gd name="T34" fmla="*/ 55 w 110"/>
                  <a:gd name="T35" fmla="*/ 16 h 90"/>
                  <a:gd name="T36" fmla="*/ 65 w 110"/>
                  <a:gd name="T37" fmla="*/ 8 h 90"/>
                  <a:gd name="T38" fmla="*/ 65 w 110"/>
                  <a:gd name="T39" fmla="*/ 8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0"/>
                  <a:gd name="T61" fmla="*/ 0 h 90"/>
                  <a:gd name="T62" fmla="*/ 110 w 110"/>
                  <a:gd name="T63" fmla="*/ 90 h 9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0" h="90">
                    <a:moveTo>
                      <a:pt x="65" y="8"/>
                    </a:moveTo>
                    <a:lnTo>
                      <a:pt x="65" y="0"/>
                    </a:lnTo>
                    <a:lnTo>
                      <a:pt x="43" y="10"/>
                    </a:lnTo>
                    <a:lnTo>
                      <a:pt x="27" y="43"/>
                    </a:lnTo>
                    <a:lnTo>
                      <a:pt x="0" y="61"/>
                    </a:lnTo>
                    <a:lnTo>
                      <a:pt x="49" y="71"/>
                    </a:lnTo>
                    <a:lnTo>
                      <a:pt x="49" y="90"/>
                    </a:lnTo>
                    <a:lnTo>
                      <a:pt x="84" y="61"/>
                    </a:lnTo>
                    <a:lnTo>
                      <a:pt x="84" y="77"/>
                    </a:lnTo>
                    <a:lnTo>
                      <a:pt x="100" y="83"/>
                    </a:lnTo>
                    <a:lnTo>
                      <a:pt x="110" y="67"/>
                    </a:lnTo>
                    <a:lnTo>
                      <a:pt x="94" y="61"/>
                    </a:lnTo>
                    <a:lnTo>
                      <a:pt x="100" y="49"/>
                    </a:lnTo>
                    <a:lnTo>
                      <a:pt x="88" y="43"/>
                    </a:lnTo>
                    <a:lnTo>
                      <a:pt x="100" y="33"/>
                    </a:lnTo>
                    <a:lnTo>
                      <a:pt x="65" y="27"/>
                    </a:lnTo>
                    <a:lnTo>
                      <a:pt x="65" y="16"/>
                    </a:lnTo>
                    <a:lnTo>
                      <a:pt x="55" y="16"/>
                    </a:lnTo>
                    <a:lnTo>
                      <a:pt x="65" y="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8" name="Freeform 93">
                <a:extLst>
                  <a:ext uri="{FF2B5EF4-FFF2-40B4-BE49-F238E27FC236}">
                    <a16:creationId xmlns:a16="http://schemas.microsoft.com/office/drawing/2014/main" id="{BFE85520-995D-4C08-A309-7ADC8717694C}"/>
                  </a:ext>
                </a:extLst>
              </p:cNvPr>
              <p:cNvSpPr>
                <a:spLocks/>
              </p:cNvSpPr>
              <p:nvPr/>
            </p:nvSpPr>
            <p:spPr bwMode="auto">
              <a:xfrm>
                <a:off x="2367649" y="1813111"/>
                <a:ext cx="21012" cy="13397"/>
              </a:xfrm>
              <a:custGeom>
                <a:avLst/>
                <a:gdLst>
                  <a:gd name="T0" fmla="*/ 0 w 16"/>
                  <a:gd name="T1" fmla="*/ 6 h 10"/>
                  <a:gd name="T2" fmla="*/ 16 w 16"/>
                  <a:gd name="T3" fmla="*/ 10 h 10"/>
                  <a:gd name="T4" fmla="*/ 16 w 16"/>
                  <a:gd name="T5" fmla="*/ 0 h 10"/>
                  <a:gd name="T6" fmla="*/ 0 w 16"/>
                  <a:gd name="T7" fmla="*/ 6 h 10"/>
                  <a:gd name="T8" fmla="*/ 0 w 16"/>
                  <a:gd name="T9" fmla="*/ 6 h 10"/>
                  <a:gd name="T10" fmla="*/ 0 60000 65536"/>
                  <a:gd name="T11" fmla="*/ 0 60000 65536"/>
                  <a:gd name="T12" fmla="*/ 0 60000 65536"/>
                  <a:gd name="T13" fmla="*/ 0 60000 65536"/>
                  <a:gd name="T14" fmla="*/ 0 60000 65536"/>
                  <a:gd name="T15" fmla="*/ 0 w 16"/>
                  <a:gd name="T16" fmla="*/ 0 h 10"/>
                  <a:gd name="T17" fmla="*/ 16 w 16"/>
                  <a:gd name="T18" fmla="*/ 10 h 10"/>
                </a:gdLst>
                <a:ahLst/>
                <a:cxnLst>
                  <a:cxn ang="T10">
                    <a:pos x="T0" y="T1"/>
                  </a:cxn>
                  <a:cxn ang="T11">
                    <a:pos x="T2" y="T3"/>
                  </a:cxn>
                  <a:cxn ang="T12">
                    <a:pos x="T4" y="T5"/>
                  </a:cxn>
                  <a:cxn ang="T13">
                    <a:pos x="T6" y="T7"/>
                  </a:cxn>
                  <a:cxn ang="T14">
                    <a:pos x="T8" y="T9"/>
                  </a:cxn>
                </a:cxnLst>
                <a:rect l="T15" t="T16" r="T17" b="T18"/>
                <a:pathLst>
                  <a:path w="16" h="10">
                    <a:moveTo>
                      <a:pt x="0" y="6"/>
                    </a:moveTo>
                    <a:lnTo>
                      <a:pt x="16" y="10"/>
                    </a:lnTo>
                    <a:lnTo>
                      <a:pt x="16"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49" name="Freeform 94">
                <a:extLst>
                  <a:ext uri="{FF2B5EF4-FFF2-40B4-BE49-F238E27FC236}">
                    <a16:creationId xmlns:a16="http://schemas.microsoft.com/office/drawing/2014/main" id="{58CF8404-8A28-45FF-9085-9DFAB0D1E42B}"/>
                  </a:ext>
                </a:extLst>
              </p:cNvPr>
              <p:cNvSpPr>
                <a:spLocks/>
              </p:cNvSpPr>
              <p:nvPr/>
            </p:nvSpPr>
            <p:spPr bwMode="auto">
              <a:xfrm>
                <a:off x="2375529" y="1834545"/>
                <a:ext cx="34144" cy="30812"/>
              </a:xfrm>
              <a:custGeom>
                <a:avLst/>
                <a:gdLst>
                  <a:gd name="T0" fmla="*/ 0 w 26"/>
                  <a:gd name="T1" fmla="*/ 13 h 23"/>
                  <a:gd name="T2" fmla="*/ 10 w 26"/>
                  <a:gd name="T3" fmla="*/ 23 h 23"/>
                  <a:gd name="T4" fmla="*/ 26 w 26"/>
                  <a:gd name="T5" fmla="*/ 23 h 23"/>
                  <a:gd name="T6" fmla="*/ 26 w 26"/>
                  <a:gd name="T7" fmla="*/ 13 h 23"/>
                  <a:gd name="T8" fmla="*/ 16 w 26"/>
                  <a:gd name="T9" fmla="*/ 13 h 23"/>
                  <a:gd name="T10" fmla="*/ 22 w 26"/>
                  <a:gd name="T11" fmla="*/ 0 h 23"/>
                  <a:gd name="T12" fmla="*/ 0 w 26"/>
                  <a:gd name="T13" fmla="*/ 13 h 23"/>
                  <a:gd name="T14" fmla="*/ 0 w 26"/>
                  <a:gd name="T15" fmla="*/ 13 h 23"/>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3"/>
                  <a:gd name="T26" fmla="*/ 26 w 26"/>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3">
                    <a:moveTo>
                      <a:pt x="0" y="13"/>
                    </a:moveTo>
                    <a:lnTo>
                      <a:pt x="10" y="23"/>
                    </a:lnTo>
                    <a:lnTo>
                      <a:pt x="26" y="23"/>
                    </a:lnTo>
                    <a:lnTo>
                      <a:pt x="26" y="13"/>
                    </a:lnTo>
                    <a:lnTo>
                      <a:pt x="16" y="13"/>
                    </a:lnTo>
                    <a:lnTo>
                      <a:pt x="22" y="0"/>
                    </a:lnTo>
                    <a:lnTo>
                      <a:pt x="0" y="1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0" name="Freeform 95">
                <a:extLst>
                  <a:ext uri="{FF2B5EF4-FFF2-40B4-BE49-F238E27FC236}">
                    <a16:creationId xmlns:a16="http://schemas.microsoft.com/office/drawing/2014/main" id="{ECDE0F3B-339E-4C1A-BB72-DC167B74A591}"/>
                  </a:ext>
                </a:extLst>
              </p:cNvPr>
              <p:cNvSpPr>
                <a:spLocks/>
              </p:cNvSpPr>
              <p:nvPr/>
            </p:nvSpPr>
            <p:spPr bwMode="auto">
              <a:xfrm>
                <a:off x="2316434" y="1826507"/>
                <a:ext cx="43336" cy="25454"/>
              </a:xfrm>
              <a:custGeom>
                <a:avLst/>
                <a:gdLst>
                  <a:gd name="T0" fmla="*/ 10 w 33"/>
                  <a:gd name="T1" fmla="*/ 0 h 19"/>
                  <a:gd name="T2" fmla="*/ 0 w 33"/>
                  <a:gd name="T3" fmla="*/ 12 h 19"/>
                  <a:gd name="T4" fmla="*/ 33 w 33"/>
                  <a:gd name="T5" fmla="*/ 19 h 19"/>
                  <a:gd name="T6" fmla="*/ 10 w 33"/>
                  <a:gd name="T7" fmla="*/ 0 h 19"/>
                  <a:gd name="T8" fmla="*/ 10 w 33"/>
                  <a:gd name="T9" fmla="*/ 0 h 19"/>
                  <a:gd name="T10" fmla="*/ 0 60000 65536"/>
                  <a:gd name="T11" fmla="*/ 0 60000 65536"/>
                  <a:gd name="T12" fmla="*/ 0 60000 65536"/>
                  <a:gd name="T13" fmla="*/ 0 60000 65536"/>
                  <a:gd name="T14" fmla="*/ 0 60000 65536"/>
                  <a:gd name="T15" fmla="*/ 0 w 33"/>
                  <a:gd name="T16" fmla="*/ 0 h 19"/>
                  <a:gd name="T17" fmla="*/ 33 w 33"/>
                  <a:gd name="T18" fmla="*/ 19 h 19"/>
                </a:gdLst>
                <a:ahLst/>
                <a:cxnLst>
                  <a:cxn ang="T10">
                    <a:pos x="T0" y="T1"/>
                  </a:cxn>
                  <a:cxn ang="T11">
                    <a:pos x="T2" y="T3"/>
                  </a:cxn>
                  <a:cxn ang="T12">
                    <a:pos x="T4" y="T5"/>
                  </a:cxn>
                  <a:cxn ang="T13">
                    <a:pos x="T6" y="T7"/>
                  </a:cxn>
                  <a:cxn ang="T14">
                    <a:pos x="T8" y="T9"/>
                  </a:cxn>
                </a:cxnLst>
                <a:rect l="T15" t="T16" r="T17" b="T18"/>
                <a:pathLst>
                  <a:path w="33" h="19">
                    <a:moveTo>
                      <a:pt x="10" y="0"/>
                    </a:moveTo>
                    <a:lnTo>
                      <a:pt x="0" y="12"/>
                    </a:lnTo>
                    <a:lnTo>
                      <a:pt x="33" y="19"/>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1" name="Freeform 96">
                <a:extLst>
                  <a:ext uri="{FF2B5EF4-FFF2-40B4-BE49-F238E27FC236}">
                    <a16:creationId xmlns:a16="http://schemas.microsoft.com/office/drawing/2014/main" id="{6B4EB7B0-351D-4E99-BF62-71458CBEB240}"/>
                  </a:ext>
                </a:extLst>
              </p:cNvPr>
              <p:cNvSpPr>
                <a:spLocks/>
              </p:cNvSpPr>
              <p:nvPr/>
            </p:nvSpPr>
            <p:spPr bwMode="auto">
              <a:xfrm>
                <a:off x="1666388" y="1222324"/>
                <a:ext cx="284969" cy="95115"/>
              </a:xfrm>
              <a:custGeom>
                <a:avLst/>
                <a:gdLst>
                  <a:gd name="T0" fmla="*/ 99 w 217"/>
                  <a:gd name="T1" fmla="*/ 16 h 71"/>
                  <a:gd name="T2" fmla="*/ 99 w 217"/>
                  <a:gd name="T3" fmla="*/ 0 h 71"/>
                  <a:gd name="T4" fmla="*/ 22 w 217"/>
                  <a:gd name="T5" fmla="*/ 27 h 71"/>
                  <a:gd name="T6" fmla="*/ 34 w 217"/>
                  <a:gd name="T7" fmla="*/ 33 h 71"/>
                  <a:gd name="T8" fmla="*/ 67 w 217"/>
                  <a:gd name="T9" fmla="*/ 27 h 71"/>
                  <a:gd name="T10" fmla="*/ 44 w 217"/>
                  <a:gd name="T11" fmla="*/ 39 h 71"/>
                  <a:gd name="T12" fmla="*/ 73 w 217"/>
                  <a:gd name="T13" fmla="*/ 45 h 71"/>
                  <a:gd name="T14" fmla="*/ 28 w 217"/>
                  <a:gd name="T15" fmla="*/ 49 h 71"/>
                  <a:gd name="T16" fmla="*/ 0 w 217"/>
                  <a:gd name="T17" fmla="*/ 61 h 71"/>
                  <a:gd name="T18" fmla="*/ 34 w 217"/>
                  <a:gd name="T19" fmla="*/ 67 h 71"/>
                  <a:gd name="T20" fmla="*/ 44 w 217"/>
                  <a:gd name="T21" fmla="*/ 71 h 71"/>
                  <a:gd name="T22" fmla="*/ 128 w 217"/>
                  <a:gd name="T23" fmla="*/ 61 h 71"/>
                  <a:gd name="T24" fmla="*/ 160 w 217"/>
                  <a:gd name="T25" fmla="*/ 71 h 71"/>
                  <a:gd name="T26" fmla="*/ 178 w 217"/>
                  <a:gd name="T27" fmla="*/ 61 h 71"/>
                  <a:gd name="T28" fmla="*/ 211 w 217"/>
                  <a:gd name="T29" fmla="*/ 61 h 71"/>
                  <a:gd name="T30" fmla="*/ 217 w 217"/>
                  <a:gd name="T31" fmla="*/ 49 h 71"/>
                  <a:gd name="T32" fmla="*/ 201 w 217"/>
                  <a:gd name="T33" fmla="*/ 45 h 71"/>
                  <a:gd name="T34" fmla="*/ 211 w 217"/>
                  <a:gd name="T35" fmla="*/ 23 h 71"/>
                  <a:gd name="T36" fmla="*/ 205 w 217"/>
                  <a:gd name="T37" fmla="*/ 4 h 71"/>
                  <a:gd name="T38" fmla="*/ 178 w 217"/>
                  <a:gd name="T39" fmla="*/ 4 h 71"/>
                  <a:gd name="T40" fmla="*/ 172 w 217"/>
                  <a:gd name="T41" fmla="*/ 23 h 71"/>
                  <a:gd name="T42" fmla="*/ 160 w 217"/>
                  <a:gd name="T43" fmla="*/ 4 h 71"/>
                  <a:gd name="T44" fmla="*/ 121 w 217"/>
                  <a:gd name="T45" fmla="*/ 27 h 71"/>
                  <a:gd name="T46" fmla="*/ 121 w 217"/>
                  <a:gd name="T47" fmla="*/ 10 h 71"/>
                  <a:gd name="T48" fmla="*/ 99 w 217"/>
                  <a:gd name="T49" fmla="*/ 16 h 71"/>
                  <a:gd name="T50" fmla="*/ 99 w 217"/>
                  <a:gd name="T51" fmla="*/ 16 h 7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7"/>
                  <a:gd name="T79" fmla="*/ 0 h 71"/>
                  <a:gd name="T80" fmla="*/ 217 w 217"/>
                  <a:gd name="T81" fmla="*/ 71 h 7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7" h="71">
                    <a:moveTo>
                      <a:pt x="99" y="16"/>
                    </a:moveTo>
                    <a:lnTo>
                      <a:pt x="99" y="0"/>
                    </a:lnTo>
                    <a:lnTo>
                      <a:pt x="22" y="27"/>
                    </a:lnTo>
                    <a:lnTo>
                      <a:pt x="34" y="33"/>
                    </a:lnTo>
                    <a:lnTo>
                      <a:pt x="67" y="27"/>
                    </a:lnTo>
                    <a:lnTo>
                      <a:pt x="44" y="39"/>
                    </a:lnTo>
                    <a:lnTo>
                      <a:pt x="73" y="45"/>
                    </a:lnTo>
                    <a:lnTo>
                      <a:pt x="28" y="49"/>
                    </a:lnTo>
                    <a:lnTo>
                      <a:pt x="0" y="61"/>
                    </a:lnTo>
                    <a:lnTo>
                      <a:pt x="34" y="67"/>
                    </a:lnTo>
                    <a:lnTo>
                      <a:pt x="44" y="71"/>
                    </a:lnTo>
                    <a:lnTo>
                      <a:pt x="128" y="61"/>
                    </a:lnTo>
                    <a:lnTo>
                      <a:pt x="160" y="71"/>
                    </a:lnTo>
                    <a:lnTo>
                      <a:pt x="178" y="61"/>
                    </a:lnTo>
                    <a:lnTo>
                      <a:pt x="211" y="61"/>
                    </a:lnTo>
                    <a:lnTo>
                      <a:pt x="217" y="49"/>
                    </a:lnTo>
                    <a:lnTo>
                      <a:pt x="201" y="45"/>
                    </a:lnTo>
                    <a:lnTo>
                      <a:pt x="211" y="23"/>
                    </a:lnTo>
                    <a:lnTo>
                      <a:pt x="205" y="4"/>
                    </a:lnTo>
                    <a:lnTo>
                      <a:pt x="178" y="4"/>
                    </a:lnTo>
                    <a:lnTo>
                      <a:pt x="172" y="23"/>
                    </a:lnTo>
                    <a:lnTo>
                      <a:pt x="160" y="4"/>
                    </a:lnTo>
                    <a:lnTo>
                      <a:pt x="121" y="27"/>
                    </a:lnTo>
                    <a:lnTo>
                      <a:pt x="121" y="10"/>
                    </a:lnTo>
                    <a:lnTo>
                      <a:pt x="99"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2" name="Freeform 97">
                <a:extLst>
                  <a:ext uri="{FF2B5EF4-FFF2-40B4-BE49-F238E27FC236}">
                    <a16:creationId xmlns:a16="http://schemas.microsoft.com/office/drawing/2014/main" id="{76CAA0B9-1306-4A14-B4FA-DC3F43ABCC8F}"/>
                  </a:ext>
                </a:extLst>
              </p:cNvPr>
              <p:cNvSpPr>
                <a:spLocks/>
              </p:cNvSpPr>
              <p:nvPr/>
            </p:nvSpPr>
            <p:spPr bwMode="auto">
              <a:xfrm>
                <a:off x="1754374" y="1132568"/>
                <a:ext cx="130009" cy="44209"/>
              </a:xfrm>
              <a:custGeom>
                <a:avLst/>
                <a:gdLst>
                  <a:gd name="T0" fmla="*/ 0 w 99"/>
                  <a:gd name="T1" fmla="*/ 33 h 33"/>
                  <a:gd name="T2" fmla="*/ 32 w 99"/>
                  <a:gd name="T3" fmla="*/ 33 h 33"/>
                  <a:gd name="T4" fmla="*/ 61 w 99"/>
                  <a:gd name="T5" fmla="*/ 23 h 33"/>
                  <a:gd name="T6" fmla="*/ 89 w 99"/>
                  <a:gd name="T7" fmla="*/ 16 h 33"/>
                  <a:gd name="T8" fmla="*/ 99 w 99"/>
                  <a:gd name="T9" fmla="*/ 4 h 33"/>
                  <a:gd name="T10" fmla="*/ 77 w 99"/>
                  <a:gd name="T11" fmla="*/ 0 h 33"/>
                  <a:gd name="T12" fmla="*/ 26 w 99"/>
                  <a:gd name="T13" fmla="*/ 16 h 33"/>
                  <a:gd name="T14" fmla="*/ 0 w 99"/>
                  <a:gd name="T15" fmla="*/ 33 h 33"/>
                  <a:gd name="T16" fmla="*/ 0 w 99"/>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9"/>
                  <a:gd name="T28" fmla="*/ 0 h 33"/>
                  <a:gd name="T29" fmla="*/ 99 w 99"/>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9" h="33">
                    <a:moveTo>
                      <a:pt x="0" y="33"/>
                    </a:moveTo>
                    <a:lnTo>
                      <a:pt x="32" y="33"/>
                    </a:lnTo>
                    <a:lnTo>
                      <a:pt x="61" y="23"/>
                    </a:lnTo>
                    <a:lnTo>
                      <a:pt x="89" y="16"/>
                    </a:lnTo>
                    <a:lnTo>
                      <a:pt x="99" y="4"/>
                    </a:lnTo>
                    <a:lnTo>
                      <a:pt x="77" y="0"/>
                    </a:lnTo>
                    <a:lnTo>
                      <a:pt x="26" y="16"/>
                    </a:lnTo>
                    <a:lnTo>
                      <a:pt x="0" y="3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3" name="Freeform 98">
                <a:extLst>
                  <a:ext uri="{FF2B5EF4-FFF2-40B4-BE49-F238E27FC236}">
                    <a16:creationId xmlns:a16="http://schemas.microsoft.com/office/drawing/2014/main" id="{C0299376-5790-483F-9A72-E64241CB702F}"/>
                  </a:ext>
                </a:extLst>
              </p:cNvPr>
              <p:cNvSpPr>
                <a:spLocks/>
              </p:cNvSpPr>
              <p:nvPr/>
            </p:nvSpPr>
            <p:spPr bwMode="auto">
              <a:xfrm>
                <a:off x="1820035" y="1154002"/>
                <a:ext cx="182538" cy="52246"/>
              </a:xfrm>
              <a:custGeom>
                <a:avLst/>
                <a:gdLst>
                  <a:gd name="T0" fmla="*/ 39 w 139"/>
                  <a:gd name="T1" fmla="*/ 23 h 39"/>
                  <a:gd name="T2" fmla="*/ 23 w 139"/>
                  <a:gd name="T3" fmla="*/ 39 h 39"/>
                  <a:gd name="T4" fmla="*/ 49 w 139"/>
                  <a:gd name="T5" fmla="*/ 39 h 39"/>
                  <a:gd name="T6" fmla="*/ 110 w 139"/>
                  <a:gd name="T7" fmla="*/ 29 h 39"/>
                  <a:gd name="T8" fmla="*/ 139 w 139"/>
                  <a:gd name="T9" fmla="*/ 17 h 39"/>
                  <a:gd name="T10" fmla="*/ 116 w 139"/>
                  <a:gd name="T11" fmla="*/ 11 h 39"/>
                  <a:gd name="T12" fmla="*/ 128 w 139"/>
                  <a:gd name="T13" fmla="*/ 0 h 39"/>
                  <a:gd name="T14" fmla="*/ 110 w 139"/>
                  <a:gd name="T15" fmla="*/ 7 h 39"/>
                  <a:gd name="T16" fmla="*/ 88 w 139"/>
                  <a:gd name="T17" fmla="*/ 23 h 39"/>
                  <a:gd name="T18" fmla="*/ 55 w 139"/>
                  <a:gd name="T19" fmla="*/ 11 h 39"/>
                  <a:gd name="T20" fmla="*/ 17 w 139"/>
                  <a:gd name="T21" fmla="*/ 17 h 39"/>
                  <a:gd name="T22" fmla="*/ 0 w 139"/>
                  <a:gd name="T23" fmla="*/ 29 h 39"/>
                  <a:gd name="T24" fmla="*/ 39 w 139"/>
                  <a:gd name="T25" fmla="*/ 23 h 39"/>
                  <a:gd name="T26" fmla="*/ 39 w 139"/>
                  <a:gd name="T27" fmla="*/ 23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9"/>
                  <a:gd name="T43" fmla="*/ 0 h 39"/>
                  <a:gd name="T44" fmla="*/ 139 w 139"/>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9" h="39">
                    <a:moveTo>
                      <a:pt x="39" y="23"/>
                    </a:moveTo>
                    <a:lnTo>
                      <a:pt x="23" y="39"/>
                    </a:lnTo>
                    <a:lnTo>
                      <a:pt x="49" y="39"/>
                    </a:lnTo>
                    <a:lnTo>
                      <a:pt x="110" y="29"/>
                    </a:lnTo>
                    <a:lnTo>
                      <a:pt x="139" y="17"/>
                    </a:lnTo>
                    <a:lnTo>
                      <a:pt x="116" y="11"/>
                    </a:lnTo>
                    <a:lnTo>
                      <a:pt x="128" y="0"/>
                    </a:lnTo>
                    <a:lnTo>
                      <a:pt x="110" y="7"/>
                    </a:lnTo>
                    <a:lnTo>
                      <a:pt x="88" y="23"/>
                    </a:lnTo>
                    <a:lnTo>
                      <a:pt x="55" y="11"/>
                    </a:lnTo>
                    <a:lnTo>
                      <a:pt x="17" y="17"/>
                    </a:lnTo>
                    <a:lnTo>
                      <a:pt x="0" y="29"/>
                    </a:lnTo>
                    <a:lnTo>
                      <a:pt x="39"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4" name="Freeform 99">
                <a:extLst>
                  <a:ext uri="{FF2B5EF4-FFF2-40B4-BE49-F238E27FC236}">
                    <a16:creationId xmlns:a16="http://schemas.microsoft.com/office/drawing/2014/main" id="{B475446A-53BC-428A-BB0D-BCB501F78A2C}"/>
                  </a:ext>
                </a:extLst>
              </p:cNvPr>
              <p:cNvSpPr>
                <a:spLocks/>
              </p:cNvSpPr>
              <p:nvPr/>
            </p:nvSpPr>
            <p:spPr bwMode="auto">
              <a:xfrm>
                <a:off x="1935599" y="1108453"/>
                <a:ext cx="87986" cy="37510"/>
              </a:xfrm>
              <a:custGeom>
                <a:avLst/>
                <a:gdLst>
                  <a:gd name="T0" fmla="*/ 67 w 67"/>
                  <a:gd name="T1" fmla="*/ 6 h 28"/>
                  <a:gd name="T2" fmla="*/ 28 w 67"/>
                  <a:gd name="T3" fmla="*/ 0 h 28"/>
                  <a:gd name="T4" fmla="*/ 12 w 67"/>
                  <a:gd name="T5" fmla="*/ 6 h 28"/>
                  <a:gd name="T6" fmla="*/ 34 w 67"/>
                  <a:gd name="T7" fmla="*/ 18 h 28"/>
                  <a:gd name="T8" fmla="*/ 0 w 67"/>
                  <a:gd name="T9" fmla="*/ 22 h 28"/>
                  <a:gd name="T10" fmla="*/ 6 w 67"/>
                  <a:gd name="T11" fmla="*/ 28 h 28"/>
                  <a:gd name="T12" fmla="*/ 40 w 67"/>
                  <a:gd name="T13" fmla="*/ 28 h 28"/>
                  <a:gd name="T14" fmla="*/ 34 w 67"/>
                  <a:gd name="T15" fmla="*/ 22 h 28"/>
                  <a:gd name="T16" fmla="*/ 67 w 67"/>
                  <a:gd name="T17" fmla="*/ 6 h 28"/>
                  <a:gd name="T18" fmla="*/ 67 w 67"/>
                  <a:gd name="T19" fmla="*/ 6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28"/>
                  <a:gd name="T32" fmla="*/ 67 w 67"/>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28">
                    <a:moveTo>
                      <a:pt x="67" y="6"/>
                    </a:moveTo>
                    <a:lnTo>
                      <a:pt x="28" y="0"/>
                    </a:lnTo>
                    <a:lnTo>
                      <a:pt x="12" y="6"/>
                    </a:lnTo>
                    <a:lnTo>
                      <a:pt x="34" y="18"/>
                    </a:lnTo>
                    <a:lnTo>
                      <a:pt x="0" y="22"/>
                    </a:lnTo>
                    <a:lnTo>
                      <a:pt x="6" y="28"/>
                    </a:lnTo>
                    <a:lnTo>
                      <a:pt x="40" y="28"/>
                    </a:lnTo>
                    <a:lnTo>
                      <a:pt x="34" y="22"/>
                    </a:lnTo>
                    <a:lnTo>
                      <a:pt x="67"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5" name="Freeform 100">
                <a:extLst>
                  <a:ext uri="{FF2B5EF4-FFF2-40B4-BE49-F238E27FC236}">
                    <a16:creationId xmlns:a16="http://schemas.microsoft.com/office/drawing/2014/main" id="{554A19BD-711F-4775-A931-11A474A9CF4D}"/>
                  </a:ext>
                </a:extLst>
              </p:cNvPr>
              <p:cNvSpPr>
                <a:spLocks/>
              </p:cNvSpPr>
              <p:nvPr/>
            </p:nvSpPr>
            <p:spPr bwMode="auto">
              <a:xfrm>
                <a:off x="1993381" y="1176776"/>
                <a:ext cx="30204" cy="29473"/>
              </a:xfrm>
              <a:custGeom>
                <a:avLst/>
                <a:gdLst>
                  <a:gd name="T0" fmla="*/ 23 w 23"/>
                  <a:gd name="T1" fmla="*/ 6 h 22"/>
                  <a:gd name="T2" fmla="*/ 23 w 23"/>
                  <a:gd name="T3" fmla="*/ 0 h 22"/>
                  <a:gd name="T4" fmla="*/ 0 w 23"/>
                  <a:gd name="T5" fmla="*/ 12 h 22"/>
                  <a:gd name="T6" fmla="*/ 17 w 23"/>
                  <a:gd name="T7" fmla="*/ 22 h 22"/>
                  <a:gd name="T8" fmla="*/ 23 w 23"/>
                  <a:gd name="T9" fmla="*/ 6 h 22"/>
                  <a:gd name="T10" fmla="*/ 23 w 23"/>
                  <a:gd name="T11" fmla="*/ 6 h 22"/>
                  <a:gd name="T12" fmla="*/ 0 60000 65536"/>
                  <a:gd name="T13" fmla="*/ 0 60000 65536"/>
                  <a:gd name="T14" fmla="*/ 0 60000 65536"/>
                  <a:gd name="T15" fmla="*/ 0 60000 65536"/>
                  <a:gd name="T16" fmla="*/ 0 60000 65536"/>
                  <a:gd name="T17" fmla="*/ 0 60000 65536"/>
                  <a:gd name="T18" fmla="*/ 0 w 23"/>
                  <a:gd name="T19" fmla="*/ 0 h 22"/>
                  <a:gd name="T20" fmla="*/ 23 w 23"/>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3" h="22">
                    <a:moveTo>
                      <a:pt x="23" y="6"/>
                    </a:moveTo>
                    <a:lnTo>
                      <a:pt x="23" y="0"/>
                    </a:lnTo>
                    <a:lnTo>
                      <a:pt x="0" y="12"/>
                    </a:lnTo>
                    <a:lnTo>
                      <a:pt x="17" y="22"/>
                    </a:lnTo>
                    <a:lnTo>
                      <a:pt x="23"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6" name="Freeform 101">
                <a:extLst>
                  <a:ext uri="{FF2B5EF4-FFF2-40B4-BE49-F238E27FC236}">
                    <a16:creationId xmlns:a16="http://schemas.microsoft.com/office/drawing/2014/main" id="{31F91718-75A9-49E6-A85E-0F2A95329D74}"/>
                  </a:ext>
                </a:extLst>
              </p:cNvPr>
              <p:cNvSpPr>
                <a:spLocks/>
              </p:cNvSpPr>
              <p:nvPr/>
            </p:nvSpPr>
            <p:spPr bwMode="auto">
              <a:xfrm>
                <a:off x="1943478" y="1214286"/>
                <a:ext cx="36770" cy="21434"/>
              </a:xfrm>
              <a:custGeom>
                <a:avLst/>
                <a:gdLst>
                  <a:gd name="T0" fmla="*/ 0 w 28"/>
                  <a:gd name="T1" fmla="*/ 6 h 16"/>
                  <a:gd name="T2" fmla="*/ 16 w 28"/>
                  <a:gd name="T3" fmla="*/ 16 h 16"/>
                  <a:gd name="T4" fmla="*/ 28 w 28"/>
                  <a:gd name="T5" fmla="*/ 0 h 16"/>
                  <a:gd name="T6" fmla="*/ 0 w 28"/>
                  <a:gd name="T7" fmla="*/ 6 h 16"/>
                  <a:gd name="T8" fmla="*/ 0 w 28"/>
                  <a:gd name="T9" fmla="*/ 6 h 16"/>
                  <a:gd name="T10" fmla="*/ 0 60000 65536"/>
                  <a:gd name="T11" fmla="*/ 0 60000 65536"/>
                  <a:gd name="T12" fmla="*/ 0 60000 65536"/>
                  <a:gd name="T13" fmla="*/ 0 60000 65536"/>
                  <a:gd name="T14" fmla="*/ 0 60000 65536"/>
                  <a:gd name="T15" fmla="*/ 0 w 28"/>
                  <a:gd name="T16" fmla="*/ 0 h 16"/>
                  <a:gd name="T17" fmla="*/ 28 w 28"/>
                  <a:gd name="T18" fmla="*/ 16 h 16"/>
                </a:gdLst>
                <a:ahLst/>
                <a:cxnLst>
                  <a:cxn ang="T10">
                    <a:pos x="T0" y="T1"/>
                  </a:cxn>
                  <a:cxn ang="T11">
                    <a:pos x="T2" y="T3"/>
                  </a:cxn>
                  <a:cxn ang="T12">
                    <a:pos x="T4" y="T5"/>
                  </a:cxn>
                  <a:cxn ang="T13">
                    <a:pos x="T6" y="T7"/>
                  </a:cxn>
                  <a:cxn ang="T14">
                    <a:pos x="T8" y="T9"/>
                  </a:cxn>
                </a:cxnLst>
                <a:rect l="T15" t="T16" r="T17" b="T18"/>
                <a:pathLst>
                  <a:path w="28" h="16">
                    <a:moveTo>
                      <a:pt x="0" y="6"/>
                    </a:moveTo>
                    <a:lnTo>
                      <a:pt x="16" y="16"/>
                    </a:lnTo>
                    <a:lnTo>
                      <a:pt x="28"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7" name="Freeform 102">
                <a:extLst>
                  <a:ext uri="{FF2B5EF4-FFF2-40B4-BE49-F238E27FC236}">
                    <a16:creationId xmlns:a16="http://schemas.microsoft.com/office/drawing/2014/main" id="{CDCC23E5-F5CA-4C3B-BA32-EA30AA2E8891}"/>
                  </a:ext>
                </a:extLst>
              </p:cNvPr>
              <p:cNvSpPr>
                <a:spLocks/>
              </p:cNvSpPr>
              <p:nvPr/>
            </p:nvSpPr>
            <p:spPr bwMode="auto">
              <a:xfrm>
                <a:off x="1988128" y="1214286"/>
                <a:ext cx="93239" cy="60285"/>
              </a:xfrm>
              <a:custGeom>
                <a:avLst/>
                <a:gdLst>
                  <a:gd name="T0" fmla="*/ 0 w 71"/>
                  <a:gd name="T1" fmla="*/ 22 h 45"/>
                  <a:gd name="T2" fmla="*/ 17 w 71"/>
                  <a:gd name="T3" fmla="*/ 22 h 45"/>
                  <a:gd name="T4" fmla="*/ 17 w 71"/>
                  <a:gd name="T5" fmla="*/ 45 h 45"/>
                  <a:gd name="T6" fmla="*/ 33 w 71"/>
                  <a:gd name="T7" fmla="*/ 29 h 45"/>
                  <a:gd name="T8" fmla="*/ 49 w 71"/>
                  <a:gd name="T9" fmla="*/ 29 h 45"/>
                  <a:gd name="T10" fmla="*/ 61 w 71"/>
                  <a:gd name="T11" fmla="*/ 22 h 45"/>
                  <a:gd name="T12" fmla="*/ 61 w 71"/>
                  <a:gd name="T13" fmla="*/ 10 h 45"/>
                  <a:gd name="T14" fmla="*/ 71 w 71"/>
                  <a:gd name="T15" fmla="*/ 0 h 45"/>
                  <a:gd name="T16" fmla="*/ 43 w 71"/>
                  <a:gd name="T17" fmla="*/ 0 h 45"/>
                  <a:gd name="T18" fmla="*/ 21 w 71"/>
                  <a:gd name="T19" fmla="*/ 10 h 45"/>
                  <a:gd name="T20" fmla="*/ 4 w 71"/>
                  <a:gd name="T21" fmla="*/ 10 h 45"/>
                  <a:gd name="T22" fmla="*/ 0 w 71"/>
                  <a:gd name="T23" fmla="*/ 22 h 45"/>
                  <a:gd name="T24" fmla="*/ 0 w 71"/>
                  <a:gd name="T25" fmla="*/ 22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1"/>
                  <a:gd name="T40" fmla="*/ 0 h 45"/>
                  <a:gd name="T41" fmla="*/ 71 w 71"/>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1" h="45">
                    <a:moveTo>
                      <a:pt x="0" y="22"/>
                    </a:moveTo>
                    <a:lnTo>
                      <a:pt x="17" y="22"/>
                    </a:lnTo>
                    <a:lnTo>
                      <a:pt x="17" y="45"/>
                    </a:lnTo>
                    <a:lnTo>
                      <a:pt x="33" y="29"/>
                    </a:lnTo>
                    <a:lnTo>
                      <a:pt x="49" y="29"/>
                    </a:lnTo>
                    <a:lnTo>
                      <a:pt x="61" y="22"/>
                    </a:lnTo>
                    <a:lnTo>
                      <a:pt x="61" y="10"/>
                    </a:lnTo>
                    <a:lnTo>
                      <a:pt x="71" y="0"/>
                    </a:lnTo>
                    <a:lnTo>
                      <a:pt x="43" y="0"/>
                    </a:lnTo>
                    <a:lnTo>
                      <a:pt x="21" y="10"/>
                    </a:lnTo>
                    <a:lnTo>
                      <a:pt x="4" y="10"/>
                    </a:lnTo>
                    <a:lnTo>
                      <a:pt x="0"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8" name="Freeform 103">
                <a:extLst>
                  <a:ext uri="{FF2B5EF4-FFF2-40B4-BE49-F238E27FC236}">
                    <a16:creationId xmlns:a16="http://schemas.microsoft.com/office/drawing/2014/main" id="{24F1B0AF-86B3-4F50-8A91-6FDC88B7A979}"/>
                  </a:ext>
                </a:extLst>
              </p:cNvPr>
              <p:cNvSpPr>
                <a:spLocks/>
              </p:cNvSpPr>
              <p:nvPr/>
            </p:nvSpPr>
            <p:spPr bwMode="auto">
              <a:xfrm>
                <a:off x="2044597" y="1132568"/>
                <a:ext cx="15759" cy="13397"/>
              </a:xfrm>
              <a:custGeom>
                <a:avLst/>
                <a:gdLst>
                  <a:gd name="T0" fmla="*/ 0 w 12"/>
                  <a:gd name="T1" fmla="*/ 4 h 10"/>
                  <a:gd name="T2" fmla="*/ 0 w 12"/>
                  <a:gd name="T3" fmla="*/ 10 h 10"/>
                  <a:gd name="T4" fmla="*/ 12 w 12"/>
                  <a:gd name="T5" fmla="*/ 10 h 10"/>
                  <a:gd name="T6" fmla="*/ 12 w 12"/>
                  <a:gd name="T7" fmla="*/ 0 h 10"/>
                  <a:gd name="T8" fmla="*/ 0 w 12"/>
                  <a:gd name="T9" fmla="*/ 4 h 10"/>
                  <a:gd name="T10" fmla="*/ 0 w 12"/>
                  <a:gd name="T11" fmla="*/ 4 h 10"/>
                  <a:gd name="T12" fmla="*/ 0 60000 65536"/>
                  <a:gd name="T13" fmla="*/ 0 60000 65536"/>
                  <a:gd name="T14" fmla="*/ 0 60000 65536"/>
                  <a:gd name="T15" fmla="*/ 0 60000 65536"/>
                  <a:gd name="T16" fmla="*/ 0 60000 65536"/>
                  <a:gd name="T17" fmla="*/ 0 60000 65536"/>
                  <a:gd name="T18" fmla="*/ 0 w 12"/>
                  <a:gd name="T19" fmla="*/ 0 h 10"/>
                  <a:gd name="T20" fmla="*/ 12 w 12"/>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2" h="10">
                    <a:moveTo>
                      <a:pt x="0" y="4"/>
                    </a:moveTo>
                    <a:lnTo>
                      <a:pt x="0" y="10"/>
                    </a:lnTo>
                    <a:lnTo>
                      <a:pt x="12" y="10"/>
                    </a:lnTo>
                    <a:lnTo>
                      <a:pt x="12" y="0"/>
                    </a:lnTo>
                    <a:lnTo>
                      <a:pt x="0"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59" name="Freeform 104">
                <a:extLst>
                  <a:ext uri="{FF2B5EF4-FFF2-40B4-BE49-F238E27FC236}">
                    <a16:creationId xmlns:a16="http://schemas.microsoft.com/office/drawing/2014/main" id="{EE388CA3-3E37-479F-A862-9B27636A0319}"/>
                  </a:ext>
                </a:extLst>
              </p:cNvPr>
              <p:cNvSpPr>
                <a:spLocks/>
              </p:cNvSpPr>
              <p:nvPr/>
            </p:nvSpPr>
            <p:spPr bwMode="auto">
              <a:xfrm>
                <a:off x="2031464" y="1163380"/>
                <a:ext cx="49903" cy="21434"/>
              </a:xfrm>
              <a:custGeom>
                <a:avLst/>
                <a:gdLst>
                  <a:gd name="T0" fmla="*/ 28 w 38"/>
                  <a:gd name="T1" fmla="*/ 16 h 16"/>
                  <a:gd name="T2" fmla="*/ 38 w 38"/>
                  <a:gd name="T3" fmla="*/ 0 h 16"/>
                  <a:gd name="T4" fmla="*/ 0 w 38"/>
                  <a:gd name="T5" fmla="*/ 4 h 16"/>
                  <a:gd name="T6" fmla="*/ 28 w 38"/>
                  <a:gd name="T7" fmla="*/ 16 h 16"/>
                  <a:gd name="T8" fmla="*/ 28 w 38"/>
                  <a:gd name="T9" fmla="*/ 16 h 16"/>
                  <a:gd name="T10" fmla="*/ 0 60000 65536"/>
                  <a:gd name="T11" fmla="*/ 0 60000 65536"/>
                  <a:gd name="T12" fmla="*/ 0 60000 65536"/>
                  <a:gd name="T13" fmla="*/ 0 60000 65536"/>
                  <a:gd name="T14" fmla="*/ 0 60000 65536"/>
                  <a:gd name="T15" fmla="*/ 0 w 38"/>
                  <a:gd name="T16" fmla="*/ 0 h 16"/>
                  <a:gd name="T17" fmla="*/ 38 w 38"/>
                  <a:gd name="T18" fmla="*/ 16 h 16"/>
                </a:gdLst>
                <a:ahLst/>
                <a:cxnLst>
                  <a:cxn ang="T10">
                    <a:pos x="T0" y="T1"/>
                  </a:cxn>
                  <a:cxn ang="T11">
                    <a:pos x="T2" y="T3"/>
                  </a:cxn>
                  <a:cxn ang="T12">
                    <a:pos x="T4" y="T5"/>
                  </a:cxn>
                  <a:cxn ang="T13">
                    <a:pos x="T6" y="T7"/>
                  </a:cxn>
                  <a:cxn ang="T14">
                    <a:pos x="T8" y="T9"/>
                  </a:cxn>
                </a:cxnLst>
                <a:rect l="T15" t="T16" r="T17" b="T18"/>
                <a:pathLst>
                  <a:path w="38" h="16">
                    <a:moveTo>
                      <a:pt x="28" y="16"/>
                    </a:moveTo>
                    <a:lnTo>
                      <a:pt x="38" y="0"/>
                    </a:lnTo>
                    <a:lnTo>
                      <a:pt x="0" y="4"/>
                    </a:lnTo>
                    <a:lnTo>
                      <a:pt x="28"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0" name="Freeform 105">
                <a:extLst>
                  <a:ext uri="{FF2B5EF4-FFF2-40B4-BE49-F238E27FC236}">
                    <a16:creationId xmlns:a16="http://schemas.microsoft.com/office/drawing/2014/main" id="{8603EBA6-5810-45B7-9A43-570D063B97B0}"/>
                  </a:ext>
                </a:extLst>
              </p:cNvPr>
              <p:cNvSpPr>
                <a:spLocks/>
              </p:cNvSpPr>
              <p:nvPr/>
            </p:nvSpPr>
            <p:spPr bwMode="auto">
              <a:xfrm>
                <a:off x="2081366" y="1154002"/>
                <a:ext cx="66974" cy="38850"/>
              </a:xfrm>
              <a:custGeom>
                <a:avLst/>
                <a:gdLst>
                  <a:gd name="T0" fmla="*/ 7 w 51"/>
                  <a:gd name="T1" fmla="*/ 11 h 29"/>
                  <a:gd name="T2" fmla="*/ 0 w 51"/>
                  <a:gd name="T3" fmla="*/ 29 h 29"/>
                  <a:gd name="T4" fmla="*/ 51 w 51"/>
                  <a:gd name="T5" fmla="*/ 7 h 29"/>
                  <a:gd name="T6" fmla="*/ 13 w 51"/>
                  <a:gd name="T7" fmla="*/ 0 h 29"/>
                  <a:gd name="T8" fmla="*/ 7 w 51"/>
                  <a:gd name="T9" fmla="*/ 11 h 29"/>
                  <a:gd name="T10" fmla="*/ 7 w 51"/>
                  <a:gd name="T11" fmla="*/ 11 h 29"/>
                  <a:gd name="T12" fmla="*/ 0 60000 65536"/>
                  <a:gd name="T13" fmla="*/ 0 60000 65536"/>
                  <a:gd name="T14" fmla="*/ 0 60000 65536"/>
                  <a:gd name="T15" fmla="*/ 0 60000 65536"/>
                  <a:gd name="T16" fmla="*/ 0 60000 65536"/>
                  <a:gd name="T17" fmla="*/ 0 60000 65536"/>
                  <a:gd name="T18" fmla="*/ 0 w 51"/>
                  <a:gd name="T19" fmla="*/ 0 h 29"/>
                  <a:gd name="T20" fmla="*/ 51 w 5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51" h="29">
                    <a:moveTo>
                      <a:pt x="7" y="11"/>
                    </a:moveTo>
                    <a:lnTo>
                      <a:pt x="0" y="29"/>
                    </a:lnTo>
                    <a:lnTo>
                      <a:pt x="51" y="7"/>
                    </a:lnTo>
                    <a:lnTo>
                      <a:pt x="13" y="0"/>
                    </a:lnTo>
                    <a:lnTo>
                      <a:pt x="7" y="1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1" name="Freeform 106">
                <a:extLst>
                  <a:ext uri="{FF2B5EF4-FFF2-40B4-BE49-F238E27FC236}">
                    <a16:creationId xmlns:a16="http://schemas.microsoft.com/office/drawing/2014/main" id="{2B6AA178-01D5-4658-BC66-EFE2E9439B7A}"/>
                  </a:ext>
                </a:extLst>
              </p:cNvPr>
              <p:cNvSpPr>
                <a:spLocks/>
              </p:cNvSpPr>
              <p:nvPr/>
            </p:nvSpPr>
            <p:spPr bwMode="auto">
              <a:xfrm>
                <a:off x="1599414" y="1198210"/>
                <a:ext cx="183852" cy="68322"/>
              </a:xfrm>
              <a:custGeom>
                <a:avLst/>
                <a:gdLst>
                  <a:gd name="T0" fmla="*/ 73 w 140"/>
                  <a:gd name="T1" fmla="*/ 0 h 51"/>
                  <a:gd name="T2" fmla="*/ 45 w 140"/>
                  <a:gd name="T3" fmla="*/ 6 h 51"/>
                  <a:gd name="T4" fmla="*/ 45 w 140"/>
                  <a:gd name="T5" fmla="*/ 12 h 51"/>
                  <a:gd name="T6" fmla="*/ 6 w 140"/>
                  <a:gd name="T7" fmla="*/ 28 h 51"/>
                  <a:gd name="T8" fmla="*/ 0 w 140"/>
                  <a:gd name="T9" fmla="*/ 51 h 51"/>
                  <a:gd name="T10" fmla="*/ 22 w 140"/>
                  <a:gd name="T11" fmla="*/ 51 h 51"/>
                  <a:gd name="T12" fmla="*/ 140 w 140"/>
                  <a:gd name="T13" fmla="*/ 12 h 51"/>
                  <a:gd name="T14" fmla="*/ 73 w 140"/>
                  <a:gd name="T15" fmla="*/ 0 h 51"/>
                  <a:gd name="T16" fmla="*/ 73 w 140"/>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0"/>
                  <a:gd name="T28" fmla="*/ 0 h 51"/>
                  <a:gd name="T29" fmla="*/ 140 w 140"/>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0" h="51">
                    <a:moveTo>
                      <a:pt x="73" y="0"/>
                    </a:moveTo>
                    <a:lnTo>
                      <a:pt x="45" y="6"/>
                    </a:lnTo>
                    <a:lnTo>
                      <a:pt x="45" y="12"/>
                    </a:lnTo>
                    <a:lnTo>
                      <a:pt x="6" y="28"/>
                    </a:lnTo>
                    <a:lnTo>
                      <a:pt x="0" y="51"/>
                    </a:lnTo>
                    <a:lnTo>
                      <a:pt x="22" y="51"/>
                    </a:lnTo>
                    <a:lnTo>
                      <a:pt x="140" y="12"/>
                    </a:lnTo>
                    <a:lnTo>
                      <a:pt x="7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2" name="Freeform 107">
                <a:extLst>
                  <a:ext uri="{FF2B5EF4-FFF2-40B4-BE49-F238E27FC236}">
                    <a16:creationId xmlns:a16="http://schemas.microsoft.com/office/drawing/2014/main" id="{24A44FE6-1DAA-4782-A7A6-B580E8EFE740}"/>
                  </a:ext>
                </a:extLst>
              </p:cNvPr>
              <p:cNvSpPr>
                <a:spLocks/>
              </p:cNvSpPr>
              <p:nvPr/>
            </p:nvSpPr>
            <p:spPr bwMode="auto">
              <a:xfrm>
                <a:off x="1964490" y="1296005"/>
                <a:ext cx="66974" cy="21434"/>
              </a:xfrm>
              <a:custGeom>
                <a:avLst/>
                <a:gdLst>
                  <a:gd name="T0" fmla="*/ 51 w 51"/>
                  <a:gd name="T1" fmla="*/ 16 h 16"/>
                  <a:gd name="T2" fmla="*/ 39 w 51"/>
                  <a:gd name="T3" fmla="*/ 0 h 16"/>
                  <a:gd name="T4" fmla="*/ 0 w 51"/>
                  <a:gd name="T5" fmla="*/ 16 h 16"/>
                  <a:gd name="T6" fmla="*/ 51 w 51"/>
                  <a:gd name="T7" fmla="*/ 16 h 16"/>
                  <a:gd name="T8" fmla="*/ 51 w 51"/>
                  <a:gd name="T9" fmla="*/ 16 h 16"/>
                  <a:gd name="T10" fmla="*/ 0 60000 65536"/>
                  <a:gd name="T11" fmla="*/ 0 60000 65536"/>
                  <a:gd name="T12" fmla="*/ 0 60000 65536"/>
                  <a:gd name="T13" fmla="*/ 0 60000 65536"/>
                  <a:gd name="T14" fmla="*/ 0 60000 65536"/>
                  <a:gd name="T15" fmla="*/ 0 w 51"/>
                  <a:gd name="T16" fmla="*/ 0 h 16"/>
                  <a:gd name="T17" fmla="*/ 51 w 51"/>
                  <a:gd name="T18" fmla="*/ 16 h 16"/>
                </a:gdLst>
                <a:ahLst/>
                <a:cxnLst>
                  <a:cxn ang="T10">
                    <a:pos x="T0" y="T1"/>
                  </a:cxn>
                  <a:cxn ang="T11">
                    <a:pos x="T2" y="T3"/>
                  </a:cxn>
                  <a:cxn ang="T12">
                    <a:pos x="T4" y="T5"/>
                  </a:cxn>
                  <a:cxn ang="T13">
                    <a:pos x="T6" y="T7"/>
                  </a:cxn>
                  <a:cxn ang="T14">
                    <a:pos x="T8" y="T9"/>
                  </a:cxn>
                </a:cxnLst>
                <a:rect l="T15" t="T16" r="T17" b="T18"/>
                <a:pathLst>
                  <a:path w="51" h="16">
                    <a:moveTo>
                      <a:pt x="51" y="16"/>
                    </a:moveTo>
                    <a:lnTo>
                      <a:pt x="39" y="0"/>
                    </a:lnTo>
                    <a:lnTo>
                      <a:pt x="0" y="16"/>
                    </a:lnTo>
                    <a:lnTo>
                      <a:pt x="51"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3" name="Freeform 108">
                <a:extLst>
                  <a:ext uri="{FF2B5EF4-FFF2-40B4-BE49-F238E27FC236}">
                    <a16:creationId xmlns:a16="http://schemas.microsoft.com/office/drawing/2014/main" id="{696F7200-CDA1-434D-8C56-4291F21243E9}"/>
                  </a:ext>
                </a:extLst>
              </p:cNvPr>
              <p:cNvSpPr>
                <a:spLocks/>
              </p:cNvSpPr>
              <p:nvPr/>
            </p:nvSpPr>
            <p:spPr bwMode="auto">
              <a:xfrm>
                <a:off x="2103691" y="1596087"/>
                <a:ext cx="28891" cy="29473"/>
              </a:xfrm>
              <a:custGeom>
                <a:avLst/>
                <a:gdLst>
                  <a:gd name="T0" fmla="*/ 22 w 22"/>
                  <a:gd name="T1" fmla="*/ 6 h 22"/>
                  <a:gd name="T2" fmla="*/ 22 w 22"/>
                  <a:gd name="T3" fmla="*/ 0 h 22"/>
                  <a:gd name="T4" fmla="*/ 0 w 22"/>
                  <a:gd name="T5" fmla="*/ 6 h 22"/>
                  <a:gd name="T6" fmla="*/ 6 w 22"/>
                  <a:gd name="T7" fmla="*/ 22 h 22"/>
                  <a:gd name="T8" fmla="*/ 22 w 22"/>
                  <a:gd name="T9" fmla="*/ 6 h 22"/>
                  <a:gd name="T10" fmla="*/ 22 w 22"/>
                  <a:gd name="T11" fmla="*/ 6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6"/>
                    </a:moveTo>
                    <a:lnTo>
                      <a:pt x="22" y="0"/>
                    </a:lnTo>
                    <a:lnTo>
                      <a:pt x="0" y="6"/>
                    </a:lnTo>
                    <a:lnTo>
                      <a:pt x="6" y="22"/>
                    </a:lnTo>
                    <a:lnTo>
                      <a:pt x="2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4" name="Freeform 109">
                <a:extLst>
                  <a:ext uri="{FF2B5EF4-FFF2-40B4-BE49-F238E27FC236}">
                    <a16:creationId xmlns:a16="http://schemas.microsoft.com/office/drawing/2014/main" id="{8BD91857-773E-414F-BC49-03204A98819C}"/>
                  </a:ext>
                </a:extLst>
              </p:cNvPr>
              <p:cNvSpPr>
                <a:spLocks/>
              </p:cNvSpPr>
              <p:nvPr/>
            </p:nvSpPr>
            <p:spPr bwMode="auto">
              <a:xfrm>
                <a:off x="1022909" y="1655032"/>
                <a:ext cx="38084" cy="60285"/>
              </a:xfrm>
              <a:custGeom>
                <a:avLst/>
                <a:gdLst>
                  <a:gd name="T0" fmla="*/ 0 w 29"/>
                  <a:gd name="T1" fmla="*/ 6 h 45"/>
                  <a:gd name="T2" fmla="*/ 12 w 29"/>
                  <a:gd name="T3" fmla="*/ 45 h 45"/>
                  <a:gd name="T4" fmla="*/ 29 w 29"/>
                  <a:gd name="T5" fmla="*/ 6 h 45"/>
                  <a:gd name="T6" fmla="*/ 12 w 29"/>
                  <a:gd name="T7" fmla="*/ 0 h 45"/>
                  <a:gd name="T8" fmla="*/ 0 w 29"/>
                  <a:gd name="T9" fmla="*/ 6 h 45"/>
                  <a:gd name="T10" fmla="*/ 0 w 29"/>
                  <a:gd name="T11" fmla="*/ 6 h 45"/>
                  <a:gd name="T12" fmla="*/ 0 60000 65536"/>
                  <a:gd name="T13" fmla="*/ 0 60000 65536"/>
                  <a:gd name="T14" fmla="*/ 0 60000 65536"/>
                  <a:gd name="T15" fmla="*/ 0 60000 65536"/>
                  <a:gd name="T16" fmla="*/ 0 60000 65536"/>
                  <a:gd name="T17" fmla="*/ 0 60000 65536"/>
                  <a:gd name="T18" fmla="*/ 0 w 29"/>
                  <a:gd name="T19" fmla="*/ 0 h 45"/>
                  <a:gd name="T20" fmla="*/ 29 w 29"/>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29" h="45">
                    <a:moveTo>
                      <a:pt x="0" y="6"/>
                    </a:moveTo>
                    <a:lnTo>
                      <a:pt x="12" y="45"/>
                    </a:lnTo>
                    <a:lnTo>
                      <a:pt x="29" y="6"/>
                    </a:lnTo>
                    <a:lnTo>
                      <a:pt x="12"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5" name="Freeform 110">
                <a:extLst>
                  <a:ext uri="{FF2B5EF4-FFF2-40B4-BE49-F238E27FC236}">
                    <a16:creationId xmlns:a16="http://schemas.microsoft.com/office/drawing/2014/main" id="{26685C87-8610-4846-895E-6DF10D113507}"/>
                  </a:ext>
                </a:extLst>
              </p:cNvPr>
              <p:cNvSpPr>
                <a:spLocks/>
              </p:cNvSpPr>
              <p:nvPr/>
            </p:nvSpPr>
            <p:spPr bwMode="auto">
              <a:xfrm>
                <a:off x="1053113" y="1744788"/>
                <a:ext cx="70914" cy="52246"/>
              </a:xfrm>
              <a:custGeom>
                <a:avLst/>
                <a:gdLst>
                  <a:gd name="T0" fmla="*/ 44 w 54"/>
                  <a:gd name="T1" fmla="*/ 17 h 39"/>
                  <a:gd name="T2" fmla="*/ 22 w 54"/>
                  <a:gd name="T3" fmla="*/ 0 h 39"/>
                  <a:gd name="T4" fmla="*/ 0 w 54"/>
                  <a:gd name="T5" fmla="*/ 0 h 39"/>
                  <a:gd name="T6" fmla="*/ 16 w 54"/>
                  <a:gd name="T7" fmla="*/ 23 h 39"/>
                  <a:gd name="T8" fmla="*/ 44 w 54"/>
                  <a:gd name="T9" fmla="*/ 39 h 39"/>
                  <a:gd name="T10" fmla="*/ 54 w 54"/>
                  <a:gd name="T11" fmla="*/ 33 h 39"/>
                  <a:gd name="T12" fmla="*/ 44 w 54"/>
                  <a:gd name="T13" fmla="*/ 17 h 39"/>
                  <a:gd name="T14" fmla="*/ 44 w 54"/>
                  <a:gd name="T15" fmla="*/ 17 h 39"/>
                  <a:gd name="T16" fmla="*/ 0 60000 65536"/>
                  <a:gd name="T17" fmla="*/ 0 60000 65536"/>
                  <a:gd name="T18" fmla="*/ 0 60000 65536"/>
                  <a:gd name="T19" fmla="*/ 0 60000 65536"/>
                  <a:gd name="T20" fmla="*/ 0 60000 65536"/>
                  <a:gd name="T21" fmla="*/ 0 60000 65536"/>
                  <a:gd name="T22" fmla="*/ 0 60000 65536"/>
                  <a:gd name="T23" fmla="*/ 0 60000 65536"/>
                  <a:gd name="T24" fmla="*/ 0 w 54"/>
                  <a:gd name="T25" fmla="*/ 0 h 39"/>
                  <a:gd name="T26" fmla="*/ 54 w 54"/>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4" h="39">
                    <a:moveTo>
                      <a:pt x="44" y="17"/>
                    </a:moveTo>
                    <a:lnTo>
                      <a:pt x="22" y="0"/>
                    </a:lnTo>
                    <a:lnTo>
                      <a:pt x="0" y="0"/>
                    </a:lnTo>
                    <a:lnTo>
                      <a:pt x="16" y="23"/>
                    </a:lnTo>
                    <a:lnTo>
                      <a:pt x="44" y="39"/>
                    </a:lnTo>
                    <a:lnTo>
                      <a:pt x="54" y="33"/>
                    </a:lnTo>
                    <a:lnTo>
                      <a:pt x="44"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6" name="Freeform 115">
                <a:extLst>
                  <a:ext uri="{FF2B5EF4-FFF2-40B4-BE49-F238E27FC236}">
                    <a16:creationId xmlns:a16="http://schemas.microsoft.com/office/drawing/2014/main" id="{76DF882F-BD3F-46CC-BF7F-0AF8EAD3E94E}"/>
                  </a:ext>
                </a:extLst>
              </p:cNvPr>
              <p:cNvSpPr>
                <a:spLocks/>
              </p:cNvSpPr>
              <p:nvPr/>
            </p:nvSpPr>
            <p:spPr bwMode="auto">
              <a:xfrm>
                <a:off x="1596788" y="2586091"/>
                <a:ext cx="30204" cy="52246"/>
              </a:xfrm>
              <a:custGeom>
                <a:avLst/>
                <a:gdLst>
                  <a:gd name="T0" fmla="*/ 19 w 23"/>
                  <a:gd name="T1" fmla="*/ 0 h 39"/>
                  <a:gd name="T2" fmla="*/ 0 w 23"/>
                  <a:gd name="T3" fmla="*/ 0 h 39"/>
                  <a:gd name="T4" fmla="*/ 0 w 23"/>
                  <a:gd name="T5" fmla="*/ 39 h 39"/>
                  <a:gd name="T6" fmla="*/ 13 w 23"/>
                  <a:gd name="T7" fmla="*/ 39 h 39"/>
                  <a:gd name="T8" fmla="*/ 23 w 23"/>
                  <a:gd name="T9" fmla="*/ 16 h 39"/>
                  <a:gd name="T10" fmla="*/ 19 w 23"/>
                  <a:gd name="T11" fmla="*/ 0 h 39"/>
                  <a:gd name="T12" fmla="*/ 19 w 23"/>
                  <a:gd name="T13" fmla="*/ 0 h 39"/>
                  <a:gd name="T14" fmla="*/ 0 60000 65536"/>
                  <a:gd name="T15" fmla="*/ 0 60000 65536"/>
                  <a:gd name="T16" fmla="*/ 0 60000 65536"/>
                  <a:gd name="T17" fmla="*/ 0 60000 65536"/>
                  <a:gd name="T18" fmla="*/ 0 60000 65536"/>
                  <a:gd name="T19" fmla="*/ 0 60000 65536"/>
                  <a:gd name="T20" fmla="*/ 0 60000 65536"/>
                  <a:gd name="T21" fmla="*/ 0 w 23"/>
                  <a:gd name="T22" fmla="*/ 0 h 39"/>
                  <a:gd name="T23" fmla="*/ 23 w 23"/>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9">
                    <a:moveTo>
                      <a:pt x="19" y="0"/>
                    </a:moveTo>
                    <a:lnTo>
                      <a:pt x="0" y="0"/>
                    </a:lnTo>
                    <a:lnTo>
                      <a:pt x="0" y="39"/>
                    </a:lnTo>
                    <a:lnTo>
                      <a:pt x="13" y="39"/>
                    </a:lnTo>
                    <a:lnTo>
                      <a:pt x="23" y="16"/>
                    </a:lnTo>
                    <a:lnTo>
                      <a:pt x="19"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7" name="Freeform 121">
                <a:extLst>
                  <a:ext uri="{FF2B5EF4-FFF2-40B4-BE49-F238E27FC236}">
                    <a16:creationId xmlns:a16="http://schemas.microsoft.com/office/drawing/2014/main" id="{C742746C-5643-4928-A032-87BFB95B887E}"/>
                  </a:ext>
                </a:extLst>
              </p:cNvPr>
              <p:cNvSpPr>
                <a:spLocks/>
              </p:cNvSpPr>
              <p:nvPr/>
            </p:nvSpPr>
            <p:spPr bwMode="auto">
              <a:xfrm>
                <a:off x="1839734" y="2564657"/>
                <a:ext cx="59095" cy="21434"/>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568" name="Freeform 146">
                <a:extLst>
                  <a:ext uri="{FF2B5EF4-FFF2-40B4-BE49-F238E27FC236}">
                    <a16:creationId xmlns:a16="http://schemas.microsoft.com/office/drawing/2014/main" id="{826F4B2A-0A59-422A-8342-525506ACBBD9}"/>
                  </a:ext>
                </a:extLst>
              </p:cNvPr>
              <p:cNvSpPr>
                <a:spLocks/>
              </p:cNvSpPr>
              <p:nvPr/>
            </p:nvSpPr>
            <p:spPr bwMode="auto">
              <a:xfrm>
                <a:off x="2727472" y="1281269"/>
                <a:ext cx="45963" cy="21434"/>
              </a:xfrm>
              <a:custGeom>
                <a:avLst/>
                <a:gdLst/>
                <a:ahLst/>
                <a:cxnLst>
                  <a:cxn ang="0">
                    <a:pos x="0" y="4"/>
                  </a:cxn>
                  <a:cxn ang="0">
                    <a:pos x="6" y="16"/>
                  </a:cxn>
                  <a:cxn ang="0">
                    <a:pos x="35" y="10"/>
                  </a:cxn>
                  <a:cxn ang="0">
                    <a:pos x="11" y="0"/>
                  </a:cxn>
                  <a:cxn ang="0">
                    <a:pos x="0" y="4"/>
                  </a:cxn>
                  <a:cxn ang="0">
                    <a:pos x="0" y="4"/>
                  </a:cxn>
                </a:cxnLst>
                <a:rect l="0" t="0" r="r" b="b"/>
                <a:pathLst>
                  <a:path w="35" h="16">
                    <a:moveTo>
                      <a:pt x="0" y="4"/>
                    </a:moveTo>
                    <a:lnTo>
                      <a:pt x="6" y="16"/>
                    </a:lnTo>
                    <a:lnTo>
                      <a:pt x="35" y="10"/>
                    </a:lnTo>
                    <a:lnTo>
                      <a:pt x="11" y="0"/>
                    </a:lnTo>
                    <a:lnTo>
                      <a:pt x="0" y="4"/>
                    </a:lnTo>
                    <a:lnTo>
                      <a:pt x="0"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569" name="Freeform 121">
                <a:extLst>
                  <a:ext uri="{FF2B5EF4-FFF2-40B4-BE49-F238E27FC236}">
                    <a16:creationId xmlns:a16="http://schemas.microsoft.com/office/drawing/2014/main" id="{B1B24CBE-C827-48EA-A291-3EC0B710C6A1}"/>
                  </a:ext>
                </a:extLst>
              </p:cNvPr>
              <p:cNvSpPr>
                <a:spLocks/>
              </p:cNvSpPr>
              <p:nvPr/>
            </p:nvSpPr>
            <p:spPr bwMode="auto">
              <a:xfrm rot="10800000">
                <a:off x="2106721" y="2567336"/>
                <a:ext cx="59095" cy="21434"/>
              </a:xfrm>
              <a:custGeom>
                <a:avLst/>
                <a:gdLst>
                  <a:gd name="T0" fmla="*/ 23 w 45"/>
                  <a:gd name="T1" fmla="*/ 0 h 16"/>
                  <a:gd name="T2" fmla="*/ 0 w 45"/>
                  <a:gd name="T3" fmla="*/ 4 h 16"/>
                  <a:gd name="T4" fmla="*/ 23 w 45"/>
                  <a:gd name="T5" fmla="*/ 16 h 16"/>
                  <a:gd name="T6" fmla="*/ 45 w 45"/>
                  <a:gd name="T7" fmla="*/ 16 h 16"/>
                  <a:gd name="T8" fmla="*/ 45 w 45"/>
                  <a:gd name="T9" fmla="*/ 4 h 16"/>
                  <a:gd name="T10" fmla="*/ 33 w 45"/>
                  <a:gd name="T11" fmla="*/ 4 h 16"/>
                  <a:gd name="T12" fmla="*/ 23 w 45"/>
                  <a:gd name="T13" fmla="*/ 0 h 16"/>
                  <a:gd name="T14" fmla="*/ 23 w 45"/>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6"/>
                  <a:gd name="T26" fmla="*/ 45 w 45"/>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6">
                    <a:moveTo>
                      <a:pt x="23" y="0"/>
                    </a:moveTo>
                    <a:lnTo>
                      <a:pt x="0" y="4"/>
                    </a:lnTo>
                    <a:lnTo>
                      <a:pt x="23" y="16"/>
                    </a:lnTo>
                    <a:lnTo>
                      <a:pt x="45" y="16"/>
                    </a:lnTo>
                    <a:lnTo>
                      <a:pt x="45" y="4"/>
                    </a:lnTo>
                    <a:lnTo>
                      <a:pt x="33" y="4"/>
                    </a:lnTo>
                    <a:lnTo>
                      <a:pt x="2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6" name="Group 329">
              <a:extLst>
                <a:ext uri="{FF2B5EF4-FFF2-40B4-BE49-F238E27FC236}">
                  <a16:creationId xmlns:a16="http://schemas.microsoft.com/office/drawing/2014/main" id="{A4BDE77F-65A4-4936-AC9A-C3C5D68DA4C7}"/>
                </a:ext>
              </a:extLst>
            </p:cNvPr>
            <p:cNvGrpSpPr/>
            <p:nvPr/>
          </p:nvGrpSpPr>
          <p:grpSpPr>
            <a:xfrm>
              <a:off x="1618613" y="2363591"/>
              <a:ext cx="1791188" cy="2315168"/>
              <a:chOff x="1474999" y="2279054"/>
              <a:chExt cx="1896152" cy="2456791"/>
            </a:xfrm>
            <a:grpFill/>
          </p:grpSpPr>
          <p:sp>
            <p:nvSpPr>
              <p:cNvPr id="500" name="Freeform 129">
                <a:extLst>
                  <a:ext uri="{FF2B5EF4-FFF2-40B4-BE49-F238E27FC236}">
                    <a16:creationId xmlns:a16="http://schemas.microsoft.com/office/drawing/2014/main" id="{7189F0EA-94B1-4AA6-A0CF-7E5C2F7E879B}"/>
                  </a:ext>
                </a:extLst>
              </p:cNvPr>
              <p:cNvSpPr>
                <a:spLocks/>
              </p:cNvSpPr>
              <p:nvPr/>
            </p:nvSpPr>
            <p:spPr bwMode="auto">
              <a:xfrm>
                <a:off x="2560889" y="4373295"/>
                <a:ext cx="30471" cy="42740"/>
              </a:xfrm>
              <a:custGeom>
                <a:avLst/>
                <a:gdLst>
                  <a:gd name="T0" fmla="*/ 6 w 22"/>
                  <a:gd name="T1" fmla="*/ 0 h 29"/>
                  <a:gd name="T2" fmla="*/ 0 w 22"/>
                  <a:gd name="T3" fmla="*/ 12 h 29"/>
                  <a:gd name="T4" fmla="*/ 12 w 22"/>
                  <a:gd name="T5" fmla="*/ 29 h 29"/>
                  <a:gd name="T6" fmla="*/ 22 w 22"/>
                  <a:gd name="T7" fmla="*/ 16 h 29"/>
                  <a:gd name="T8" fmla="*/ 6 w 22"/>
                  <a:gd name="T9" fmla="*/ 0 h 29"/>
                  <a:gd name="T10" fmla="*/ 6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6" y="0"/>
                    </a:moveTo>
                    <a:lnTo>
                      <a:pt x="0" y="12"/>
                    </a:lnTo>
                    <a:lnTo>
                      <a:pt x="12" y="29"/>
                    </a:lnTo>
                    <a:lnTo>
                      <a:pt x="22" y="16"/>
                    </a:lnTo>
                    <a:lnTo>
                      <a:pt x="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nvGrpSpPr>
              <p:cNvPr id="501" name="Group 328">
                <a:extLst>
                  <a:ext uri="{FF2B5EF4-FFF2-40B4-BE49-F238E27FC236}">
                    <a16:creationId xmlns:a16="http://schemas.microsoft.com/office/drawing/2014/main" id="{16A3F76C-7469-4EE8-AF11-D0CBEC796ACF}"/>
                  </a:ext>
                </a:extLst>
              </p:cNvPr>
              <p:cNvGrpSpPr/>
              <p:nvPr/>
            </p:nvGrpSpPr>
            <p:grpSpPr>
              <a:xfrm>
                <a:off x="1474999" y="2279054"/>
                <a:ext cx="1896152" cy="2456791"/>
                <a:chOff x="1474999" y="2279054"/>
                <a:chExt cx="1896152" cy="2456791"/>
              </a:xfrm>
              <a:grpFill/>
            </p:grpSpPr>
            <p:sp>
              <p:nvSpPr>
                <p:cNvPr id="502" name="Freeform 128">
                  <a:extLst>
                    <a:ext uri="{FF2B5EF4-FFF2-40B4-BE49-F238E27FC236}">
                      <a16:creationId xmlns:a16="http://schemas.microsoft.com/office/drawing/2014/main" id="{00758282-3432-45ED-80DA-327F64BF2C6B}"/>
                    </a:ext>
                  </a:extLst>
                </p:cNvPr>
                <p:cNvSpPr>
                  <a:spLocks/>
                </p:cNvSpPr>
                <p:nvPr/>
              </p:nvSpPr>
              <p:spPr bwMode="auto">
                <a:xfrm>
                  <a:off x="2515182" y="3690934"/>
                  <a:ext cx="261777" cy="987432"/>
                </a:xfrm>
                <a:custGeom>
                  <a:avLst/>
                  <a:gdLst>
                    <a:gd name="T0" fmla="*/ 17 w 189"/>
                    <a:gd name="T1" fmla="*/ 90 h 670"/>
                    <a:gd name="T2" fmla="*/ 7 w 189"/>
                    <a:gd name="T3" fmla="*/ 106 h 670"/>
                    <a:gd name="T4" fmla="*/ 17 w 189"/>
                    <a:gd name="T5" fmla="*/ 207 h 670"/>
                    <a:gd name="T6" fmla="*/ 11 w 189"/>
                    <a:gd name="T7" fmla="*/ 218 h 670"/>
                    <a:gd name="T8" fmla="*/ 23 w 189"/>
                    <a:gd name="T9" fmla="*/ 240 h 670"/>
                    <a:gd name="T10" fmla="*/ 23 w 189"/>
                    <a:gd name="T11" fmla="*/ 268 h 670"/>
                    <a:gd name="T12" fmla="*/ 33 w 189"/>
                    <a:gd name="T13" fmla="*/ 285 h 670"/>
                    <a:gd name="T14" fmla="*/ 23 w 189"/>
                    <a:gd name="T15" fmla="*/ 358 h 670"/>
                    <a:gd name="T16" fmla="*/ 17 w 189"/>
                    <a:gd name="T17" fmla="*/ 374 h 670"/>
                    <a:gd name="T18" fmla="*/ 39 w 189"/>
                    <a:gd name="T19" fmla="*/ 425 h 670"/>
                    <a:gd name="T20" fmla="*/ 33 w 189"/>
                    <a:gd name="T21" fmla="*/ 447 h 670"/>
                    <a:gd name="T22" fmla="*/ 55 w 189"/>
                    <a:gd name="T23" fmla="*/ 459 h 670"/>
                    <a:gd name="T24" fmla="*/ 68 w 189"/>
                    <a:gd name="T25" fmla="*/ 498 h 670"/>
                    <a:gd name="T26" fmla="*/ 72 w 189"/>
                    <a:gd name="T27" fmla="*/ 536 h 670"/>
                    <a:gd name="T28" fmla="*/ 55 w 189"/>
                    <a:gd name="T29" fmla="*/ 546 h 670"/>
                    <a:gd name="T30" fmla="*/ 84 w 189"/>
                    <a:gd name="T31" fmla="*/ 565 h 670"/>
                    <a:gd name="T32" fmla="*/ 68 w 189"/>
                    <a:gd name="T33" fmla="*/ 581 h 670"/>
                    <a:gd name="T34" fmla="*/ 78 w 189"/>
                    <a:gd name="T35" fmla="*/ 597 h 670"/>
                    <a:gd name="T36" fmla="*/ 84 w 189"/>
                    <a:gd name="T37" fmla="*/ 620 h 670"/>
                    <a:gd name="T38" fmla="*/ 94 w 189"/>
                    <a:gd name="T39" fmla="*/ 632 h 670"/>
                    <a:gd name="T40" fmla="*/ 100 w 189"/>
                    <a:gd name="T41" fmla="*/ 654 h 670"/>
                    <a:gd name="T42" fmla="*/ 118 w 189"/>
                    <a:gd name="T43" fmla="*/ 658 h 670"/>
                    <a:gd name="T44" fmla="*/ 118 w 189"/>
                    <a:gd name="T45" fmla="*/ 670 h 670"/>
                    <a:gd name="T46" fmla="*/ 145 w 189"/>
                    <a:gd name="T47" fmla="*/ 664 h 670"/>
                    <a:gd name="T48" fmla="*/ 161 w 189"/>
                    <a:gd name="T49" fmla="*/ 670 h 670"/>
                    <a:gd name="T50" fmla="*/ 189 w 189"/>
                    <a:gd name="T51" fmla="*/ 658 h 670"/>
                    <a:gd name="T52" fmla="*/ 128 w 189"/>
                    <a:gd name="T53" fmla="*/ 632 h 670"/>
                    <a:gd name="T54" fmla="*/ 106 w 189"/>
                    <a:gd name="T55" fmla="*/ 609 h 670"/>
                    <a:gd name="T56" fmla="*/ 112 w 189"/>
                    <a:gd name="T57" fmla="*/ 559 h 670"/>
                    <a:gd name="T58" fmla="*/ 100 w 189"/>
                    <a:gd name="T59" fmla="*/ 514 h 670"/>
                    <a:gd name="T60" fmla="*/ 72 w 189"/>
                    <a:gd name="T61" fmla="*/ 453 h 670"/>
                    <a:gd name="T62" fmla="*/ 72 w 189"/>
                    <a:gd name="T63" fmla="*/ 392 h 670"/>
                    <a:gd name="T64" fmla="*/ 55 w 189"/>
                    <a:gd name="T65" fmla="*/ 364 h 670"/>
                    <a:gd name="T66" fmla="*/ 68 w 189"/>
                    <a:gd name="T67" fmla="*/ 345 h 670"/>
                    <a:gd name="T68" fmla="*/ 61 w 189"/>
                    <a:gd name="T69" fmla="*/ 335 h 670"/>
                    <a:gd name="T70" fmla="*/ 72 w 189"/>
                    <a:gd name="T71" fmla="*/ 307 h 670"/>
                    <a:gd name="T72" fmla="*/ 45 w 189"/>
                    <a:gd name="T73" fmla="*/ 268 h 670"/>
                    <a:gd name="T74" fmla="*/ 51 w 189"/>
                    <a:gd name="T75" fmla="*/ 218 h 670"/>
                    <a:gd name="T76" fmla="*/ 68 w 189"/>
                    <a:gd name="T77" fmla="*/ 167 h 670"/>
                    <a:gd name="T78" fmla="*/ 51 w 189"/>
                    <a:gd name="T79" fmla="*/ 140 h 670"/>
                    <a:gd name="T80" fmla="*/ 72 w 189"/>
                    <a:gd name="T81" fmla="*/ 100 h 670"/>
                    <a:gd name="T82" fmla="*/ 23 w 189"/>
                    <a:gd name="T83" fmla="*/ 0 h 670"/>
                    <a:gd name="T84" fmla="*/ 0 w 189"/>
                    <a:gd name="T85" fmla="*/ 10 h 670"/>
                    <a:gd name="T86" fmla="*/ 17 w 189"/>
                    <a:gd name="T87" fmla="*/ 90 h 670"/>
                    <a:gd name="T88" fmla="*/ 17 w 189"/>
                    <a:gd name="T89" fmla="*/ 90 h 6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9"/>
                    <a:gd name="T136" fmla="*/ 0 h 670"/>
                    <a:gd name="T137" fmla="*/ 189 w 189"/>
                    <a:gd name="T138" fmla="*/ 670 h 6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9" h="670">
                      <a:moveTo>
                        <a:pt x="17" y="90"/>
                      </a:moveTo>
                      <a:lnTo>
                        <a:pt x="7" y="106"/>
                      </a:lnTo>
                      <a:lnTo>
                        <a:pt x="17" y="207"/>
                      </a:lnTo>
                      <a:lnTo>
                        <a:pt x="11" y="218"/>
                      </a:lnTo>
                      <a:lnTo>
                        <a:pt x="23" y="240"/>
                      </a:lnTo>
                      <a:lnTo>
                        <a:pt x="23" y="268"/>
                      </a:lnTo>
                      <a:lnTo>
                        <a:pt x="33" y="285"/>
                      </a:lnTo>
                      <a:lnTo>
                        <a:pt x="23" y="358"/>
                      </a:lnTo>
                      <a:lnTo>
                        <a:pt x="17" y="374"/>
                      </a:lnTo>
                      <a:lnTo>
                        <a:pt x="39" y="425"/>
                      </a:lnTo>
                      <a:lnTo>
                        <a:pt x="33" y="447"/>
                      </a:lnTo>
                      <a:lnTo>
                        <a:pt x="55" y="459"/>
                      </a:lnTo>
                      <a:lnTo>
                        <a:pt x="68" y="498"/>
                      </a:lnTo>
                      <a:lnTo>
                        <a:pt x="72" y="536"/>
                      </a:lnTo>
                      <a:lnTo>
                        <a:pt x="55" y="546"/>
                      </a:lnTo>
                      <a:lnTo>
                        <a:pt x="84" y="565"/>
                      </a:lnTo>
                      <a:lnTo>
                        <a:pt x="68" y="581"/>
                      </a:lnTo>
                      <a:lnTo>
                        <a:pt x="78" y="597"/>
                      </a:lnTo>
                      <a:lnTo>
                        <a:pt x="84" y="620"/>
                      </a:lnTo>
                      <a:lnTo>
                        <a:pt x="94" y="632"/>
                      </a:lnTo>
                      <a:lnTo>
                        <a:pt x="100" y="654"/>
                      </a:lnTo>
                      <a:lnTo>
                        <a:pt x="118" y="658"/>
                      </a:lnTo>
                      <a:lnTo>
                        <a:pt x="118" y="670"/>
                      </a:lnTo>
                      <a:lnTo>
                        <a:pt x="145" y="664"/>
                      </a:lnTo>
                      <a:lnTo>
                        <a:pt x="161" y="670"/>
                      </a:lnTo>
                      <a:lnTo>
                        <a:pt x="189" y="658"/>
                      </a:lnTo>
                      <a:lnTo>
                        <a:pt x="128" y="632"/>
                      </a:lnTo>
                      <a:lnTo>
                        <a:pt x="106" y="609"/>
                      </a:lnTo>
                      <a:lnTo>
                        <a:pt x="112" y="559"/>
                      </a:lnTo>
                      <a:lnTo>
                        <a:pt x="100" y="514"/>
                      </a:lnTo>
                      <a:lnTo>
                        <a:pt x="72" y="453"/>
                      </a:lnTo>
                      <a:lnTo>
                        <a:pt x="72" y="392"/>
                      </a:lnTo>
                      <a:lnTo>
                        <a:pt x="55" y="364"/>
                      </a:lnTo>
                      <a:lnTo>
                        <a:pt x="68" y="345"/>
                      </a:lnTo>
                      <a:lnTo>
                        <a:pt x="61" y="335"/>
                      </a:lnTo>
                      <a:lnTo>
                        <a:pt x="72" y="307"/>
                      </a:lnTo>
                      <a:lnTo>
                        <a:pt x="45" y="268"/>
                      </a:lnTo>
                      <a:lnTo>
                        <a:pt x="51" y="218"/>
                      </a:lnTo>
                      <a:lnTo>
                        <a:pt x="68" y="167"/>
                      </a:lnTo>
                      <a:lnTo>
                        <a:pt x="51" y="140"/>
                      </a:lnTo>
                      <a:lnTo>
                        <a:pt x="72" y="100"/>
                      </a:lnTo>
                      <a:lnTo>
                        <a:pt x="23" y="0"/>
                      </a:lnTo>
                      <a:lnTo>
                        <a:pt x="0" y="10"/>
                      </a:lnTo>
                      <a:lnTo>
                        <a:pt x="17" y="9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3" name="Freeform 134">
                  <a:extLst>
                    <a:ext uri="{FF2B5EF4-FFF2-40B4-BE49-F238E27FC236}">
                      <a16:creationId xmlns:a16="http://schemas.microsoft.com/office/drawing/2014/main" id="{374B8DB9-EF52-4B6D-B399-9375DBE696CD}"/>
                    </a:ext>
                  </a:extLst>
                </p:cNvPr>
                <p:cNvSpPr>
                  <a:spLocks/>
                </p:cNvSpPr>
                <p:nvPr/>
              </p:nvSpPr>
              <p:spPr bwMode="auto">
                <a:xfrm>
                  <a:off x="2878068" y="4035800"/>
                  <a:ext cx="130196" cy="140009"/>
                </a:xfrm>
                <a:custGeom>
                  <a:avLst/>
                  <a:gdLst>
                    <a:gd name="T0" fmla="*/ 94 w 94"/>
                    <a:gd name="T1" fmla="*/ 51 h 95"/>
                    <a:gd name="T2" fmla="*/ 11 w 94"/>
                    <a:gd name="T3" fmla="*/ 0 h 95"/>
                    <a:gd name="T4" fmla="*/ 0 w 94"/>
                    <a:gd name="T5" fmla="*/ 24 h 95"/>
                    <a:gd name="T6" fmla="*/ 5 w 94"/>
                    <a:gd name="T7" fmla="*/ 73 h 95"/>
                    <a:gd name="T8" fmla="*/ 27 w 94"/>
                    <a:gd name="T9" fmla="*/ 95 h 95"/>
                    <a:gd name="T10" fmla="*/ 65 w 94"/>
                    <a:gd name="T11" fmla="*/ 85 h 95"/>
                    <a:gd name="T12" fmla="*/ 94 w 94"/>
                    <a:gd name="T13" fmla="*/ 51 h 95"/>
                    <a:gd name="T14" fmla="*/ 94 w 94"/>
                    <a:gd name="T15" fmla="*/ 51 h 95"/>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95"/>
                    <a:gd name="T26" fmla="*/ 94 w 94"/>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95">
                      <a:moveTo>
                        <a:pt x="94" y="51"/>
                      </a:moveTo>
                      <a:lnTo>
                        <a:pt x="11" y="0"/>
                      </a:lnTo>
                      <a:lnTo>
                        <a:pt x="0" y="24"/>
                      </a:lnTo>
                      <a:lnTo>
                        <a:pt x="5" y="73"/>
                      </a:lnTo>
                      <a:lnTo>
                        <a:pt x="27" y="95"/>
                      </a:lnTo>
                      <a:lnTo>
                        <a:pt x="65" y="85"/>
                      </a:lnTo>
                      <a:lnTo>
                        <a:pt x="94" y="5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grpSp>
              <p:nvGrpSpPr>
                <p:cNvPr id="504" name="Group 326">
                  <a:extLst>
                    <a:ext uri="{FF2B5EF4-FFF2-40B4-BE49-F238E27FC236}">
                      <a16:creationId xmlns:a16="http://schemas.microsoft.com/office/drawing/2014/main" id="{6FE37CB7-D37B-4C66-8717-7782787E98C4}"/>
                    </a:ext>
                  </a:extLst>
                </p:cNvPr>
                <p:cNvGrpSpPr/>
                <p:nvPr/>
              </p:nvGrpSpPr>
              <p:grpSpPr>
                <a:xfrm>
                  <a:off x="1474999" y="2279054"/>
                  <a:ext cx="1896152" cy="2456791"/>
                  <a:chOff x="1042607" y="2213668"/>
                  <a:chExt cx="1797803" cy="2233202"/>
                </a:xfrm>
                <a:grpFill/>
              </p:grpSpPr>
              <p:sp>
                <p:nvSpPr>
                  <p:cNvPr id="505" name="Freeform 112">
                    <a:extLst>
                      <a:ext uri="{FF2B5EF4-FFF2-40B4-BE49-F238E27FC236}">
                        <a16:creationId xmlns:a16="http://schemas.microsoft.com/office/drawing/2014/main" id="{2249B32F-7324-47AB-8BB0-72365F8EBBD9}"/>
                      </a:ext>
                    </a:extLst>
                  </p:cNvPr>
                  <p:cNvSpPr>
                    <a:spLocks/>
                  </p:cNvSpPr>
                  <p:nvPr/>
                </p:nvSpPr>
                <p:spPr bwMode="auto">
                  <a:xfrm>
                    <a:off x="1042607" y="2213668"/>
                    <a:ext cx="621155" cy="462180"/>
                  </a:xfrm>
                  <a:custGeom>
                    <a:avLst/>
                    <a:gdLst>
                      <a:gd name="T0" fmla="*/ 6 w 473"/>
                      <a:gd name="T1" fmla="*/ 49 h 345"/>
                      <a:gd name="T2" fmla="*/ 22 w 473"/>
                      <a:gd name="T3" fmla="*/ 87 h 345"/>
                      <a:gd name="T4" fmla="*/ 45 w 473"/>
                      <a:gd name="T5" fmla="*/ 132 h 345"/>
                      <a:gd name="T6" fmla="*/ 73 w 473"/>
                      <a:gd name="T7" fmla="*/ 189 h 345"/>
                      <a:gd name="T8" fmla="*/ 67 w 473"/>
                      <a:gd name="T9" fmla="*/ 160 h 345"/>
                      <a:gd name="T10" fmla="*/ 57 w 473"/>
                      <a:gd name="T11" fmla="*/ 138 h 345"/>
                      <a:gd name="T12" fmla="*/ 45 w 473"/>
                      <a:gd name="T13" fmla="*/ 100 h 345"/>
                      <a:gd name="T14" fmla="*/ 29 w 473"/>
                      <a:gd name="T15" fmla="*/ 45 h 345"/>
                      <a:gd name="T16" fmla="*/ 51 w 473"/>
                      <a:gd name="T17" fmla="*/ 20 h 345"/>
                      <a:gd name="T18" fmla="*/ 96 w 473"/>
                      <a:gd name="T19" fmla="*/ 128 h 345"/>
                      <a:gd name="T20" fmla="*/ 140 w 473"/>
                      <a:gd name="T21" fmla="*/ 179 h 345"/>
                      <a:gd name="T22" fmla="*/ 140 w 473"/>
                      <a:gd name="T23" fmla="*/ 227 h 345"/>
                      <a:gd name="T24" fmla="*/ 169 w 473"/>
                      <a:gd name="T25" fmla="*/ 256 h 345"/>
                      <a:gd name="T26" fmla="*/ 201 w 473"/>
                      <a:gd name="T27" fmla="*/ 278 h 345"/>
                      <a:gd name="T28" fmla="*/ 223 w 473"/>
                      <a:gd name="T29" fmla="*/ 300 h 345"/>
                      <a:gd name="T30" fmla="*/ 290 w 473"/>
                      <a:gd name="T31" fmla="*/ 323 h 345"/>
                      <a:gd name="T32" fmla="*/ 362 w 473"/>
                      <a:gd name="T33" fmla="*/ 345 h 345"/>
                      <a:gd name="T34" fmla="*/ 396 w 473"/>
                      <a:gd name="T35" fmla="*/ 313 h 345"/>
                      <a:gd name="T36" fmla="*/ 384 w 473"/>
                      <a:gd name="T37" fmla="*/ 284 h 345"/>
                      <a:gd name="T38" fmla="*/ 441 w 473"/>
                      <a:gd name="T39" fmla="*/ 278 h 345"/>
                      <a:gd name="T40" fmla="*/ 457 w 473"/>
                      <a:gd name="T41" fmla="*/ 240 h 345"/>
                      <a:gd name="T42" fmla="*/ 467 w 473"/>
                      <a:gd name="T43" fmla="*/ 211 h 345"/>
                      <a:gd name="T44" fmla="*/ 384 w 473"/>
                      <a:gd name="T45" fmla="*/ 266 h 345"/>
                      <a:gd name="T46" fmla="*/ 329 w 473"/>
                      <a:gd name="T47" fmla="*/ 278 h 345"/>
                      <a:gd name="T48" fmla="*/ 284 w 473"/>
                      <a:gd name="T49" fmla="*/ 154 h 345"/>
                      <a:gd name="T50" fmla="*/ 301 w 473"/>
                      <a:gd name="T51" fmla="*/ 128 h 345"/>
                      <a:gd name="T52" fmla="*/ 278 w 473"/>
                      <a:gd name="T53" fmla="*/ 77 h 345"/>
                      <a:gd name="T54" fmla="*/ 234 w 473"/>
                      <a:gd name="T55" fmla="*/ 55 h 345"/>
                      <a:gd name="T56" fmla="*/ 217 w 473"/>
                      <a:gd name="T57" fmla="*/ 65 h 345"/>
                      <a:gd name="T58" fmla="*/ 163 w 473"/>
                      <a:gd name="T59" fmla="*/ 10 h 345"/>
                      <a:gd name="T60" fmla="*/ 57 w 473"/>
                      <a:gd name="T61" fmla="*/ 0 h 345"/>
                      <a:gd name="T62" fmla="*/ 0 w 473"/>
                      <a:gd name="T63" fmla="*/ 26 h 34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3"/>
                      <a:gd name="T97" fmla="*/ 0 h 345"/>
                      <a:gd name="T98" fmla="*/ 473 w 473"/>
                      <a:gd name="T99" fmla="*/ 345 h 34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3" h="345">
                        <a:moveTo>
                          <a:pt x="0" y="26"/>
                        </a:moveTo>
                        <a:lnTo>
                          <a:pt x="6" y="49"/>
                        </a:lnTo>
                        <a:lnTo>
                          <a:pt x="18" y="65"/>
                        </a:lnTo>
                        <a:lnTo>
                          <a:pt x="22" y="87"/>
                        </a:lnTo>
                        <a:lnTo>
                          <a:pt x="12" y="87"/>
                        </a:lnTo>
                        <a:lnTo>
                          <a:pt x="45" y="132"/>
                        </a:lnTo>
                        <a:lnTo>
                          <a:pt x="45" y="150"/>
                        </a:lnTo>
                        <a:lnTo>
                          <a:pt x="73" y="189"/>
                        </a:lnTo>
                        <a:lnTo>
                          <a:pt x="83" y="179"/>
                        </a:lnTo>
                        <a:lnTo>
                          <a:pt x="67" y="160"/>
                        </a:lnTo>
                        <a:lnTo>
                          <a:pt x="67" y="144"/>
                        </a:lnTo>
                        <a:lnTo>
                          <a:pt x="57" y="138"/>
                        </a:lnTo>
                        <a:lnTo>
                          <a:pt x="61" y="122"/>
                        </a:lnTo>
                        <a:lnTo>
                          <a:pt x="45" y="100"/>
                        </a:lnTo>
                        <a:lnTo>
                          <a:pt x="45" y="83"/>
                        </a:lnTo>
                        <a:lnTo>
                          <a:pt x="29" y="45"/>
                        </a:lnTo>
                        <a:lnTo>
                          <a:pt x="35" y="16"/>
                        </a:lnTo>
                        <a:lnTo>
                          <a:pt x="51" y="20"/>
                        </a:lnTo>
                        <a:lnTo>
                          <a:pt x="96" y="116"/>
                        </a:lnTo>
                        <a:lnTo>
                          <a:pt x="96" y="128"/>
                        </a:lnTo>
                        <a:lnTo>
                          <a:pt x="112" y="144"/>
                        </a:lnTo>
                        <a:lnTo>
                          <a:pt x="140" y="179"/>
                        </a:lnTo>
                        <a:lnTo>
                          <a:pt x="144" y="211"/>
                        </a:lnTo>
                        <a:lnTo>
                          <a:pt x="140" y="227"/>
                        </a:lnTo>
                        <a:lnTo>
                          <a:pt x="150" y="256"/>
                        </a:lnTo>
                        <a:lnTo>
                          <a:pt x="169" y="256"/>
                        </a:lnTo>
                        <a:lnTo>
                          <a:pt x="173" y="272"/>
                        </a:lnTo>
                        <a:lnTo>
                          <a:pt x="201" y="278"/>
                        </a:lnTo>
                        <a:lnTo>
                          <a:pt x="201" y="288"/>
                        </a:lnTo>
                        <a:lnTo>
                          <a:pt x="223" y="300"/>
                        </a:lnTo>
                        <a:lnTo>
                          <a:pt x="240" y="300"/>
                        </a:lnTo>
                        <a:lnTo>
                          <a:pt x="290" y="323"/>
                        </a:lnTo>
                        <a:lnTo>
                          <a:pt x="317" y="313"/>
                        </a:lnTo>
                        <a:lnTo>
                          <a:pt x="362" y="345"/>
                        </a:lnTo>
                        <a:lnTo>
                          <a:pt x="368" y="313"/>
                        </a:lnTo>
                        <a:lnTo>
                          <a:pt x="396" y="313"/>
                        </a:lnTo>
                        <a:lnTo>
                          <a:pt x="400" y="300"/>
                        </a:lnTo>
                        <a:lnTo>
                          <a:pt x="384" y="284"/>
                        </a:lnTo>
                        <a:lnTo>
                          <a:pt x="422" y="278"/>
                        </a:lnTo>
                        <a:lnTo>
                          <a:pt x="441" y="278"/>
                        </a:lnTo>
                        <a:lnTo>
                          <a:pt x="451" y="262"/>
                        </a:lnTo>
                        <a:lnTo>
                          <a:pt x="457" y="240"/>
                        </a:lnTo>
                        <a:lnTo>
                          <a:pt x="473" y="221"/>
                        </a:lnTo>
                        <a:lnTo>
                          <a:pt x="467" y="211"/>
                        </a:lnTo>
                        <a:lnTo>
                          <a:pt x="412" y="217"/>
                        </a:lnTo>
                        <a:lnTo>
                          <a:pt x="384" y="266"/>
                        </a:lnTo>
                        <a:lnTo>
                          <a:pt x="358" y="266"/>
                        </a:lnTo>
                        <a:lnTo>
                          <a:pt x="329" y="278"/>
                        </a:lnTo>
                        <a:lnTo>
                          <a:pt x="290" y="234"/>
                        </a:lnTo>
                        <a:lnTo>
                          <a:pt x="284" y="154"/>
                        </a:lnTo>
                        <a:lnTo>
                          <a:pt x="301" y="138"/>
                        </a:lnTo>
                        <a:lnTo>
                          <a:pt x="301" y="128"/>
                        </a:lnTo>
                        <a:lnTo>
                          <a:pt x="284" y="116"/>
                        </a:lnTo>
                        <a:lnTo>
                          <a:pt x="278" y="77"/>
                        </a:lnTo>
                        <a:lnTo>
                          <a:pt x="256" y="49"/>
                        </a:lnTo>
                        <a:lnTo>
                          <a:pt x="234" y="55"/>
                        </a:lnTo>
                        <a:lnTo>
                          <a:pt x="230" y="65"/>
                        </a:lnTo>
                        <a:lnTo>
                          <a:pt x="217" y="65"/>
                        </a:lnTo>
                        <a:lnTo>
                          <a:pt x="185" y="10"/>
                        </a:lnTo>
                        <a:lnTo>
                          <a:pt x="163" y="10"/>
                        </a:lnTo>
                        <a:lnTo>
                          <a:pt x="128" y="20"/>
                        </a:lnTo>
                        <a:lnTo>
                          <a:pt x="57" y="0"/>
                        </a:lnTo>
                        <a:lnTo>
                          <a:pt x="6" y="0"/>
                        </a:lnTo>
                        <a:lnTo>
                          <a:pt x="0"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6" name="Freeform 113">
                    <a:extLst>
                      <a:ext uri="{FF2B5EF4-FFF2-40B4-BE49-F238E27FC236}">
                        <a16:creationId xmlns:a16="http://schemas.microsoft.com/office/drawing/2014/main" id="{13927F6A-74C0-4F33-A87B-21013132277B}"/>
                      </a:ext>
                    </a:extLst>
                  </p:cNvPr>
                  <p:cNvSpPr>
                    <a:spLocks/>
                  </p:cNvSpPr>
                  <p:nvPr/>
                </p:nvSpPr>
                <p:spPr bwMode="auto">
                  <a:xfrm>
                    <a:off x="1517994" y="2586091"/>
                    <a:ext cx="103745" cy="111191"/>
                  </a:xfrm>
                  <a:custGeom>
                    <a:avLst/>
                    <a:gdLst>
                      <a:gd name="T0" fmla="*/ 22 w 79"/>
                      <a:gd name="T1" fmla="*/ 6 h 83"/>
                      <a:gd name="T2" fmla="*/ 38 w 79"/>
                      <a:gd name="T3" fmla="*/ 22 h 83"/>
                      <a:gd name="T4" fmla="*/ 34 w 79"/>
                      <a:gd name="T5" fmla="*/ 35 h 83"/>
                      <a:gd name="T6" fmla="*/ 6 w 79"/>
                      <a:gd name="T7" fmla="*/ 35 h 83"/>
                      <a:gd name="T8" fmla="*/ 0 w 79"/>
                      <a:gd name="T9" fmla="*/ 67 h 83"/>
                      <a:gd name="T10" fmla="*/ 38 w 79"/>
                      <a:gd name="T11" fmla="*/ 83 h 83"/>
                      <a:gd name="T12" fmla="*/ 60 w 79"/>
                      <a:gd name="T13" fmla="*/ 67 h 83"/>
                      <a:gd name="T14" fmla="*/ 79 w 79"/>
                      <a:gd name="T15" fmla="*/ 51 h 83"/>
                      <a:gd name="T16" fmla="*/ 73 w 79"/>
                      <a:gd name="T17" fmla="*/ 39 h 83"/>
                      <a:gd name="T18" fmla="*/ 60 w 79"/>
                      <a:gd name="T19" fmla="*/ 39 h 83"/>
                      <a:gd name="T20" fmla="*/ 60 w 79"/>
                      <a:gd name="T21" fmla="*/ 0 h 83"/>
                      <a:gd name="T22" fmla="*/ 22 w 79"/>
                      <a:gd name="T23" fmla="*/ 6 h 83"/>
                      <a:gd name="T24" fmla="*/ 22 w 79"/>
                      <a:gd name="T25" fmla="*/ 6 h 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9"/>
                      <a:gd name="T40" fmla="*/ 0 h 83"/>
                      <a:gd name="T41" fmla="*/ 79 w 79"/>
                      <a:gd name="T42" fmla="*/ 83 h 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9" h="83">
                        <a:moveTo>
                          <a:pt x="22" y="6"/>
                        </a:moveTo>
                        <a:lnTo>
                          <a:pt x="38" y="22"/>
                        </a:lnTo>
                        <a:lnTo>
                          <a:pt x="34" y="35"/>
                        </a:lnTo>
                        <a:lnTo>
                          <a:pt x="6" y="35"/>
                        </a:lnTo>
                        <a:lnTo>
                          <a:pt x="0" y="67"/>
                        </a:lnTo>
                        <a:lnTo>
                          <a:pt x="38" y="83"/>
                        </a:lnTo>
                        <a:lnTo>
                          <a:pt x="60" y="67"/>
                        </a:lnTo>
                        <a:lnTo>
                          <a:pt x="79" y="51"/>
                        </a:lnTo>
                        <a:lnTo>
                          <a:pt x="73" y="39"/>
                        </a:lnTo>
                        <a:lnTo>
                          <a:pt x="60" y="39"/>
                        </a:lnTo>
                        <a:lnTo>
                          <a:pt x="60" y="0"/>
                        </a:lnTo>
                        <a:lnTo>
                          <a:pt x="22"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7" name="Freeform 114">
                    <a:extLst>
                      <a:ext uri="{FF2B5EF4-FFF2-40B4-BE49-F238E27FC236}">
                        <a16:creationId xmlns:a16="http://schemas.microsoft.com/office/drawing/2014/main" id="{E97263AC-341F-4496-9FCF-16212ACB6EEA}"/>
                      </a:ext>
                    </a:extLst>
                  </p:cNvPr>
                  <p:cNvSpPr>
                    <a:spLocks/>
                  </p:cNvSpPr>
                  <p:nvPr/>
                </p:nvSpPr>
                <p:spPr bwMode="auto">
                  <a:xfrm>
                    <a:off x="1567897" y="2675848"/>
                    <a:ext cx="59095" cy="38850"/>
                  </a:xfrm>
                  <a:custGeom>
                    <a:avLst/>
                    <a:gdLst>
                      <a:gd name="T0" fmla="*/ 22 w 45"/>
                      <a:gd name="T1" fmla="*/ 0 h 29"/>
                      <a:gd name="T2" fmla="*/ 0 w 45"/>
                      <a:gd name="T3" fmla="*/ 16 h 29"/>
                      <a:gd name="T4" fmla="*/ 35 w 45"/>
                      <a:gd name="T5" fmla="*/ 29 h 29"/>
                      <a:gd name="T6" fmla="*/ 45 w 45"/>
                      <a:gd name="T7" fmla="*/ 16 h 29"/>
                      <a:gd name="T8" fmla="*/ 45 w 45"/>
                      <a:gd name="T9" fmla="*/ 6 h 29"/>
                      <a:gd name="T10" fmla="*/ 22 w 45"/>
                      <a:gd name="T11" fmla="*/ 0 h 29"/>
                      <a:gd name="T12" fmla="*/ 22 w 45"/>
                      <a:gd name="T13" fmla="*/ 0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22" y="0"/>
                        </a:moveTo>
                        <a:lnTo>
                          <a:pt x="0" y="16"/>
                        </a:lnTo>
                        <a:lnTo>
                          <a:pt x="35" y="29"/>
                        </a:lnTo>
                        <a:lnTo>
                          <a:pt x="45" y="16"/>
                        </a:lnTo>
                        <a:lnTo>
                          <a:pt x="45" y="6"/>
                        </a:lnTo>
                        <a:lnTo>
                          <a:pt x="2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8" name="Freeform 116">
                    <a:extLst>
                      <a:ext uri="{FF2B5EF4-FFF2-40B4-BE49-F238E27FC236}">
                        <a16:creationId xmlns:a16="http://schemas.microsoft.com/office/drawing/2014/main" id="{33045DA0-5B43-412C-A611-4146EB1DA2F7}"/>
                      </a:ext>
                    </a:extLst>
                  </p:cNvPr>
                  <p:cNvSpPr>
                    <a:spLocks/>
                  </p:cNvSpPr>
                  <p:nvPr/>
                </p:nvSpPr>
                <p:spPr bwMode="auto">
                  <a:xfrm>
                    <a:off x="1596788" y="2646376"/>
                    <a:ext cx="126070" cy="58945"/>
                  </a:xfrm>
                  <a:custGeom>
                    <a:avLst/>
                    <a:gdLst>
                      <a:gd name="T0" fmla="*/ 19 w 96"/>
                      <a:gd name="T1" fmla="*/ 6 h 44"/>
                      <a:gd name="T2" fmla="*/ 0 w 96"/>
                      <a:gd name="T3" fmla="*/ 22 h 44"/>
                      <a:gd name="T4" fmla="*/ 23 w 96"/>
                      <a:gd name="T5" fmla="*/ 28 h 44"/>
                      <a:gd name="T6" fmla="*/ 23 w 96"/>
                      <a:gd name="T7" fmla="*/ 38 h 44"/>
                      <a:gd name="T8" fmla="*/ 35 w 96"/>
                      <a:gd name="T9" fmla="*/ 44 h 44"/>
                      <a:gd name="T10" fmla="*/ 45 w 96"/>
                      <a:gd name="T11" fmla="*/ 32 h 44"/>
                      <a:gd name="T12" fmla="*/ 96 w 96"/>
                      <a:gd name="T13" fmla="*/ 10 h 44"/>
                      <a:gd name="T14" fmla="*/ 96 w 96"/>
                      <a:gd name="T15" fmla="*/ 0 h 44"/>
                      <a:gd name="T16" fmla="*/ 29 w 96"/>
                      <a:gd name="T17" fmla="*/ 0 h 44"/>
                      <a:gd name="T18" fmla="*/ 19 w 96"/>
                      <a:gd name="T19" fmla="*/ 6 h 44"/>
                      <a:gd name="T20" fmla="*/ 19 w 96"/>
                      <a:gd name="T21" fmla="*/ 6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6"/>
                      <a:gd name="T34" fmla="*/ 0 h 44"/>
                      <a:gd name="T35" fmla="*/ 96 w 96"/>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6" h="44">
                        <a:moveTo>
                          <a:pt x="19" y="6"/>
                        </a:moveTo>
                        <a:lnTo>
                          <a:pt x="0" y="22"/>
                        </a:lnTo>
                        <a:lnTo>
                          <a:pt x="23" y="28"/>
                        </a:lnTo>
                        <a:lnTo>
                          <a:pt x="23" y="38"/>
                        </a:lnTo>
                        <a:lnTo>
                          <a:pt x="35" y="44"/>
                        </a:lnTo>
                        <a:lnTo>
                          <a:pt x="45" y="32"/>
                        </a:lnTo>
                        <a:lnTo>
                          <a:pt x="96" y="10"/>
                        </a:lnTo>
                        <a:lnTo>
                          <a:pt x="96" y="0"/>
                        </a:lnTo>
                        <a:lnTo>
                          <a:pt x="29" y="0"/>
                        </a:lnTo>
                        <a:lnTo>
                          <a:pt x="19"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09" name="Freeform 117">
                    <a:extLst>
                      <a:ext uri="{FF2B5EF4-FFF2-40B4-BE49-F238E27FC236}">
                        <a16:creationId xmlns:a16="http://schemas.microsoft.com/office/drawing/2014/main" id="{1143D688-7FAB-45AC-AB6E-54C918954A0F}"/>
                      </a:ext>
                    </a:extLst>
                  </p:cNvPr>
                  <p:cNvSpPr>
                    <a:spLocks/>
                  </p:cNvSpPr>
                  <p:nvPr/>
                </p:nvSpPr>
                <p:spPr bwMode="auto">
                  <a:xfrm>
                    <a:off x="1626992" y="2659773"/>
                    <a:ext cx="95865" cy="97795"/>
                  </a:xfrm>
                  <a:custGeom>
                    <a:avLst/>
                    <a:gdLst>
                      <a:gd name="T0" fmla="*/ 0 w 73"/>
                      <a:gd name="T1" fmla="*/ 47 h 73"/>
                      <a:gd name="T2" fmla="*/ 28 w 73"/>
                      <a:gd name="T3" fmla="*/ 73 h 73"/>
                      <a:gd name="T4" fmla="*/ 63 w 73"/>
                      <a:gd name="T5" fmla="*/ 73 h 73"/>
                      <a:gd name="T6" fmla="*/ 73 w 73"/>
                      <a:gd name="T7" fmla="*/ 0 h 73"/>
                      <a:gd name="T8" fmla="*/ 22 w 73"/>
                      <a:gd name="T9" fmla="*/ 22 h 73"/>
                      <a:gd name="T10" fmla="*/ 0 w 73"/>
                      <a:gd name="T11" fmla="*/ 47 h 73"/>
                      <a:gd name="T12" fmla="*/ 0 w 73"/>
                      <a:gd name="T13" fmla="*/ 47 h 73"/>
                      <a:gd name="T14" fmla="*/ 0 60000 65536"/>
                      <a:gd name="T15" fmla="*/ 0 60000 65536"/>
                      <a:gd name="T16" fmla="*/ 0 60000 65536"/>
                      <a:gd name="T17" fmla="*/ 0 60000 65536"/>
                      <a:gd name="T18" fmla="*/ 0 60000 65536"/>
                      <a:gd name="T19" fmla="*/ 0 60000 65536"/>
                      <a:gd name="T20" fmla="*/ 0 60000 65536"/>
                      <a:gd name="T21" fmla="*/ 0 w 73"/>
                      <a:gd name="T22" fmla="*/ 0 h 73"/>
                      <a:gd name="T23" fmla="*/ 73 w 73"/>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3" h="73">
                        <a:moveTo>
                          <a:pt x="0" y="47"/>
                        </a:moveTo>
                        <a:lnTo>
                          <a:pt x="28" y="73"/>
                        </a:lnTo>
                        <a:lnTo>
                          <a:pt x="63" y="73"/>
                        </a:lnTo>
                        <a:lnTo>
                          <a:pt x="73" y="0"/>
                        </a:lnTo>
                        <a:lnTo>
                          <a:pt x="22" y="22"/>
                        </a:lnTo>
                        <a:lnTo>
                          <a:pt x="0" y="4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0" name="Freeform 118">
                    <a:extLst>
                      <a:ext uri="{FF2B5EF4-FFF2-40B4-BE49-F238E27FC236}">
                        <a16:creationId xmlns:a16="http://schemas.microsoft.com/office/drawing/2014/main" id="{86F7C1EC-F145-4D2F-8B07-03CED833AA7F}"/>
                      </a:ext>
                    </a:extLst>
                  </p:cNvPr>
                  <p:cNvSpPr>
                    <a:spLocks/>
                  </p:cNvSpPr>
                  <p:nvPr/>
                </p:nvSpPr>
                <p:spPr bwMode="auto">
                  <a:xfrm>
                    <a:off x="1655883" y="2757567"/>
                    <a:ext cx="82733" cy="73681"/>
                  </a:xfrm>
                  <a:custGeom>
                    <a:avLst/>
                    <a:gdLst>
                      <a:gd name="T0" fmla="*/ 41 w 63"/>
                      <a:gd name="T1" fmla="*/ 0 h 55"/>
                      <a:gd name="T2" fmla="*/ 6 w 63"/>
                      <a:gd name="T3" fmla="*/ 0 h 55"/>
                      <a:gd name="T4" fmla="*/ 0 w 63"/>
                      <a:gd name="T5" fmla="*/ 12 h 55"/>
                      <a:gd name="T6" fmla="*/ 6 w 63"/>
                      <a:gd name="T7" fmla="*/ 33 h 55"/>
                      <a:gd name="T8" fmla="*/ 29 w 63"/>
                      <a:gd name="T9" fmla="*/ 33 h 55"/>
                      <a:gd name="T10" fmla="*/ 41 w 63"/>
                      <a:gd name="T11" fmla="*/ 55 h 55"/>
                      <a:gd name="T12" fmla="*/ 63 w 63"/>
                      <a:gd name="T13" fmla="*/ 55 h 55"/>
                      <a:gd name="T14" fmla="*/ 63 w 63"/>
                      <a:gd name="T15" fmla="*/ 45 h 55"/>
                      <a:gd name="T16" fmla="*/ 45 w 63"/>
                      <a:gd name="T17" fmla="*/ 28 h 55"/>
                      <a:gd name="T18" fmla="*/ 41 w 63"/>
                      <a:gd name="T19" fmla="*/ 0 h 55"/>
                      <a:gd name="T20" fmla="*/ 41 w 63"/>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55"/>
                      <a:gd name="T35" fmla="*/ 63 w 63"/>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55">
                        <a:moveTo>
                          <a:pt x="41" y="0"/>
                        </a:moveTo>
                        <a:lnTo>
                          <a:pt x="6" y="0"/>
                        </a:lnTo>
                        <a:lnTo>
                          <a:pt x="0" y="12"/>
                        </a:lnTo>
                        <a:lnTo>
                          <a:pt x="6" y="33"/>
                        </a:lnTo>
                        <a:lnTo>
                          <a:pt x="29" y="33"/>
                        </a:lnTo>
                        <a:lnTo>
                          <a:pt x="41" y="55"/>
                        </a:lnTo>
                        <a:lnTo>
                          <a:pt x="63" y="55"/>
                        </a:lnTo>
                        <a:lnTo>
                          <a:pt x="63" y="45"/>
                        </a:lnTo>
                        <a:lnTo>
                          <a:pt x="45" y="28"/>
                        </a:lnTo>
                        <a:lnTo>
                          <a:pt x="41"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1" name="Freeform 119">
                    <a:extLst>
                      <a:ext uri="{FF2B5EF4-FFF2-40B4-BE49-F238E27FC236}">
                        <a16:creationId xmlns:a16="http://schemas.microsoft.com/office/drawing/2014/main" id="{0DF0FD3E-A4DF-4BC3-A459-0E3500C972BE}"/>
                      </a:ext>
                    </a:extLst>
                  </p:cNvPr>
                  <p:cNvSpPr>
                    <a:spLocks/>
                  </p:cNvSpPr>
                  <p:nvPr/>
                </p:nvSpPr>
                <p:spPr bwMode="auto">
                  <a:xfrm>
                    <a:off x="1738615" y="2795077"/>
                    <a:ext cx="123443" cy="73681"/>
                  </a:xfrm>
                  <a:custGeom>
                    <a:avLst/>
                    <a:gdLst>
                      <a:gd name="T0" fmla="*/ 43 w 94"/>
                      <a:gd name="T1" fmla="*/ 0 h 55"/>
                      <a:gd name="T2" fmla="*/ 20 w 94"/>
                      <a:gd name="T3" fmla="*/ 17 h 55"/>
                      <a:gd name="T4" fmla="*/ 0 w 94"/>
                      <a:gd name="T5" fmla="*/ 17 h 55"/>
                      <a:gd name="T6" fmla="*/ 0 w 94"/>
                      <a:gd name="T7" fmla="*/ 27 h 55"/>
                      <a:gd name="T8" fmla="*/ 33 w 94"/>
                      <a:gd name="T9" fmla="*/ 45 h 55"/>
                      <a:gd name="T10" fmla="*/ 33 w 94"/>
                      <a:gd name="T11" fmla="*/ 27 h 55"/>
                      <a:gd name="T12" fmla="*/ 55 w 94"/>
                      <a:gd name="T13" fmla="*/ 17 h 55"/>
                      <a:gd name="T14" fmla="*/ 71 w 94"/>
                      <a:gd name="T15" fmla="*/ 33 h 55"/>
                      <a:gd name="T16" fmla="*/ 65 w 94"/>
                      <a:gd name="T17" fmla="*/ 49 h 55"/>
                      <a:gd name="T18" fmla="*/ 83 w 94"/>
                      <a:gd name="T19" fmla="*/ 55 h 55"/>
                      <a:gd name="T20" fmla="*/ 94 w 94"/>
                      <a:gd name="T21" fmla="*/ 27 h 55"/>
                      <a:gd name="T22" fmla="*/ 65 w 94"/>
                      <a:gd name="T23" fmla="*/ 5 h 55"/>
                      <a:gd name="T24" fmla="*/ 43 w 94"/>
                      <a:gd name="T25" fmla="*/ 0 h 55"/>
                      <a:gd name="T26" fmla="*/ 43 w 94"/>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55"/>
                      <a:gd name="T44" fmla="*/ 94 w 94"/>
                      <a:gd name="T45" fmla="*/ 55 h 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55">
                        <a:moveTo>
                          <a:pt x="43" y="0"/>
                        </a:moveTo>
                        <a:lnTo>
                          <a:pt x="20" y="17"/>
                        </a:lnTo>
                        <a:lnTo>
                          <a:pt x="0" y="17"/>
                        </a:lnTo>
                        <a:lnTo>
                          <a:pt x="0" y="27"/>
                        </a:lnTo>
                        <a:lnTo>
                          <a:pt x="33" y="45"/>
                        </a:lnTo>
                        <a:lnTo>
                          <a:pt x="33" y="27"/>
                        </a:lnTo>
                        <a:lnTo>
                          <a:pt x="55" y="17"/>
                        </a:lnTo>
                        <a:lnTo>
                          <a:pt x="71" y="33"/>
                        </a:lnTo>
                        <a:lnTo>
                          <a:pt x="65" y="49"/>
                        </a:lnTo>
                        <a:lnTo>
                          <a:pt x="83" y="55"/>
                        </a:lnTo>
                        <a:lnTo>
                          <a:pt x="94" y="27"/>
                        </a:lnTo>
                        <a:lnTo>
                          <a:pt x="65" y="5"/>
                        </a:lnTo>
                        <a:lnTo>
                          <a:pt x="4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2" name="Freeform 120">
                    <a:extLst>
                      <a:ext uri="{FF2B5EF4-FFF2-40B4-BE49-F238E27FC236}">
                        <a16:creationId xmlns:a16="http://schemas.microsoft.com/office/drawing/2014/main" id="{45B049CF-5766-4F74-9D84-6772A065650D}"/>
                      </a:ext>
                    </a:extLst>
                  </p:cNvPr>
                  <p:cNvSpPr>
                    <a:spLocks/>
                  </p:cNvSpPr>
                  <p:nvPr/>
                </p:nvSpPr>
                <p:spPr bwMode="auto">
                  <a:xfrm>
                    <a:off x="1810843" y="2728095"/>
                    <a:ext cx="277090" cy="417972"/>
                  </a:xfrm>
                  <a:custGeom>
                    <a:avLst/>
                    <a:gdLst>
                      <a:gd name="T0" fmla="*/ 89 w 211"/>
                      <a:gd name="T1" fmla="*/ 22 h 312"/>
                      <a:gd name="T2" fmla="*/ 67 w 211"/>
                      <a:gd name="T3" fmla="*/ 22 h 312"/>
                      <a:gd name="T4" fmla="*/ 61 w 211"/>
                      <a:gd name="T5" fmla="*/ 55 h 312"/>
                      <a:gd name="T6" fmla="*/ 39 w 211"/>
                      <a:gd name="T7" fmla="*/ 77 h 312"/>
                      <a:gd name="T8" fmla="*/ 28 w 211"/>
                      <a:gd name="T9" fmla="*/ 105 h 312"/>
                      <a:gd name="T10" fmla="*/ 32 w 211"/>
                      <a:gd name="T11" fmla="*/ 122 h 312"/>
                      <a:gd name="T12" fmla="*/ 28 w 211"/>
                      <a:gd name="T13" fmla="*/ 166 h 312"/>
                      <a:gd name="T14" fmla="*/ 6 w 211"/>
                      <a:gd name="T15" fmla="*/ 189 h 312"/>
                      <a:gd name="T16" fmla="*/ 0 w 211"/>
                      <a:gd name="T17" fmla="*/ 201 h 312"/>
                      <a:gd name="T18" fmla="*/ 45 w 211"/>
                      <a:gd name="T19" fmla="*/ 229 h 312"/>
                      <a:gd name="T20" fmla="*/ 71 w 211"/>
                      <a:gd name="T21" fmla="*/ 233 h 312"/>
                      <a:gd name="T22" fmla="*/ 116 w 211"/>
                      <a:gd name="T23" fmla="*/ 278 h 312"/>
                      <a:gd name="T24" fmla="*/ 150 w 211"/>
                      <a:gd name="T25" fmla="*/ 274 h 312"/>
                      <a:gd name="T26" fmla="*/ 150 w 211"/>
                      <a:gd name="T27" fmla="*/ 306 h 312"/>
                      <a:gd name="T28" fmla="*/ 166 w 211"/>
                      <a:gd name="T29" fmla="*/ 312 h 312"/>
                      <a:gd name="T30" fmla="*/ 173 w 211"/>
                      <a:gd name="T31" fmla="*/ 251 h 312"/>
                      <a:gd name="T32" fmla="*/ 154 w 211"/>
                      <a:gd name="T33" fmla="*/ 229 h 312"/>
                      <a:gd name="T34" fmla="*/ 177 w 211"/>
                      <a:gd name="T35" fmla="*/ 217 h 312"/>
                      <a:gd name="T36" fmla="*/ 173 w 211"/>
                      <a:gd name="T37" fmla="*/ 207 h 312"/>
                      <a:gd name="T38" fmla="*/ 211 w 211"/>
                      <a:gd name="T39" fmla="*/ 195 h 312"/>
                      <a:gd name="T40" fmla="*/ 211 w 211"/>
                      <a:gd name="T41" fmla="*/ 166 h 312"/>
                      <a:gd name="T42" fmla="*/ 205 w 211"/>
                      <a:gd name="T43" fmla="*/ 134 h 312"/>
                      <a:gd name="T44" fmla="*/ 211 w 211"/>
                      <a:gd name="T45" fmla="*/ 111 h 312"/>
                      <a:gd name="T46" fmla="*/ 173 w 211"/>
                      <a:gd name="T47" fmla="*/ 117 h 312"/>
                      <a:gd name="T48" fmla="*/ 160 w 211"/>
                      <a:gd name="T49" fmla="*/ 99 h 312"/>
                      <a:gd name="T50" fmla="*/ 116 w 211"/>
                      <a:gd name="T51" fmla="*/ 73 h 312"/>
                      <a:gd name="T52" fmla="*/ 116 w 211"/>
                      <a:gd name="T53" fmla="*/ 34 h 312"/>
                      <a:gd name="T54" fmla="*/ 144 w 211"/>
                      <a:gd name="T55" fmla="*/ 6 h 312"/>
                      <a:gd name="T56" fmla="*/ 134 w 211"/>
                      <a:gd name="T57" fmla="*/ 0 h 312"/>
                      <a:gd name="T58" fmla="*/ 89 w 211"/>
                      <a:gd name="T59" fmla="*/ 22 h 312"/>
                      <a:gd name="T60" fmla="*/ 89 w 211"/>
                      <a:gd name="T61" fmla="*/ 22 h 31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1"/>
                      <a:gd name="T94" fmla="*/ 0 h 312"/>
                      <a:gd name="T95" fmla="*/ 211 w 211"/>
                      <a:gd name="T96" fmla="*/ 312 h 31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1" h="312">
                        <a:moveTo>
                          <a:pt x="89" y="22"/>
                        </a:moveTo>
                        <a:lnTo>
                          <a:pt x="67" y="22"/>
                        </a:lnTo>
                        <a:lnTo>
                          <a:pt x="61" y="55"/>
                        </a:lnTo>
                        <a:lnTo>
                          <a:pt x="39" y="77"/>
                        </a:lnTo>
                        <a:lnTo>
                          <a:pt x="28" y="105"/>
                        </a:lnTo>
                        <a:lnTo>
                          <a:pt x="32" y="122"/>
                        </a:lnTo>
                        <a:lnTo>
                          <a:pt x="28" y="166"/>
                        </a:lnTo>
                        <a:lnTo>
                          <a:pt x="6" y="189"/>
                        </a:lnTo>
                        <a:lnTo>
                          <a:pt x="0" y="201"/>
                        </a:lnTo>
                        <a:lnTo>
                          <a:pt x="45" y="229"/>
                        </a:lnTo>
                        <a:lnTo>
                          <a:pt x="71" y="233"/>
                        </a:lnTo>
                        <a:lnTo>
                          <a:pt x="116" y="278"/>
                        </a:lnTo>
                        <a:lnTo>
                          <a:pt x="150" y="274"/>
                        </a:lnTo>
                        <a:lnTo>
                          <a:pt x="150" y="306"/>
                        </a:lnTo>
                        <a:lnTo>
                          <a:pt x="166" y="312"/>
                        </a:lnTo>
                        <a:lnTo>
                          <a:pt x="173" y="251"/>
                        </a:lnTo>
                        <a:lnTo>
                          <a:pt x="154" y="229"/>
                        </a:lnTo>
                        <a:lnTo>
                          <a:pt x="177" y="217"/>
                        </a:lnTo>
                        <a:lnTo>
                          <a:pt x="173" y="207"/>
                        </a:lnTo>
                        <a:lnTo>
                          <a:pt x="211" y="195"/>
                        </a:lnTo>
                        <a:lnTo>
                          <a:pt x="211" y="166"/>
                        </a:lnTo>
                        <a:lnTo>
                          <a:pt x="205" y="134"/>
                        </a:lnTo>
                        <a:lnTo>
                          <a:pt x="211" y="111"/>
                        </a:lnTo>
                        <a:lnTo>
                          <a:pt x="173" y="117"/>
                        </a:lnTo>
                        <a:lnTo>
                          <a:pt x="160" y="99"/>
                        </a:lnTo>
                        <a:lnTo>
                          <a:pt x="116" y="73"/>
                        </a:lnTo>
                        <a:lnTo>
                          <a:pt x="116" y="34"/>
                        </a:lnTo>
                        <a:lnTo>
                          <a:pt x="144" y="6"/>
                        </a:lnTo>
                        <a:lnTo>
                          <a:pt x="134" y="0"/>
                        </a:lnTo>
                        <a:lnTo>
                          <a:pt x="89"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3" name="Freeform 122">
                    <a:extLst>
                      <a:ext uri="{FF2B5EF4-FFF2-40B4-BE49-F238E27FC236}">
                        <a16:creationId xmlns:a16="http://schemas.microsoft.com/office/drawing/2014/main" id="{7168006D-2A1E-4C1F-B4C4-24ADAD920839}"/>
                      </a:ext>
                    </a:extLst>
                  </p:cNvPr>
                  <p:cNvSpPr>
                    <a:spLocks/>
                  </p:cNvSpPr>
                  <p:nvPr/>
                </p:nvSpPr>
                <p:spPr bwMode="auto">
                  <a:xfrm>
                    <a:off x="1709725" y="2445427"/>
                    <a:ext cx="231127" cy="89757"/>
                  </a:xfrm>
                  <a:custGeom>
                    <a:avLst/>
                    <a:gdLst>
                      <a:gd name="T0" fmla="*/ 170 w 176"/>
                      <a:gd name="T1" fmla="*/ 67 h 67"/>
                      <a:gd name="T2" fmla="*/ 176 w 176"/>
                      <a:gd name="T3" fmla="*/ 54 h 67"/>
                      <a:gd name="T4" fmla="*/ 109 w 176"/>
                      <a:gd name="T5" fmla="*/ 22 h 67"/>
                      <a:gd name="T6" fmla="*/ 93 w 176"/>
                      <a:gd name="T7" fmla="*/ 22 h 67"/>
                      <a:gd name="T8" fmla="*/ 87 w 176"/>
                      <a:gd name="T9" fmla="*/ 10 h 67"/>
                      <a:gd name="T10" fmla="*/ 38 w 176"/>
                      <a:gd name="T11" fmla="*/ 0 h 67"/>
                      <a:gd name="T12" fmla="*/ 16 w 176"/>
                      <a:gd name="T13" fmla="*/ 10 h 67"/>
                      <a:gd name="T14" fmla="*/ 0 w 176"/>
                      <a:gd name="T15" fmla="*/ 26 h 67"/>
                      <a:gd name="T16" fmla="*/ 10 w 176"/>
                      <a:gd name="T17" fmla="*/ 26 h 67"/>
                      <a:gd name="T18" fmla="*/ 38 w 176"/>
                      <a:gd name="T19" fmla="*/ 22 h 67"/>
                      <a:gd name="T20" fmla="*/ 55 w 176"/>
                      <a:gd name="T21" fmla="*/ 16 h 67"/>
                      <a:gd name="T22" fmla="*/ 59 w 176"/>
                      <a:gd name="T23" fmla="*/ 26 h 67"/>
                      <a:gd name="T24" fmla="*/ 83 w 176"/>
                      <a:gd name="T25" fmla="*/ 26 h 67"/>
                      <a:gd name="T26" fmla="*/ 132 w 176"/>
                      <a:gd name="T27" fmla="*/ 54 h 67"/>
                      <a:gd name="T28" fmla="*/ 126 w 176"/>
                      <a:gd name="T29" fmla="*/ 67 h 67"/>
                      <a:gd name="T30" fmla="*/ 170 w 176"/>
                      <a:gd name="T31" fmla="*/ 67 h 67"/>
                      <a:gd name="T32" fmla="*/ 170 w 176"/>
                      <a:gd name="T33" fmla="*/ 6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67"/>
                      <a:gd name="T53" fmla="*/ 176 w 176"/>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67">
                        <a:moveTo>
                          <a:pt x="170" y="67"/>
                        </a:moveTo>
                        <a:lnTo>
                          <a:pt x="176" y="54"/>
                        </a:lnTo>
                        <a:lnTo>
                          <a:pt x="109" y="22"/>
                        </a:lnTo>
                        <a:lnTo>
                          <a:pt x="93" y="22"/>
                        </a:lnTo>
                        <a:lnTo>
                          <a:pt x="87" y="10"/>
                        </a:lnTo>
                        <a:lnTo>
                          <a:pt x="38" y="0"/>
                        </a:lnTo>
                        <a:lnTo>
                          <a:pt x="16" y="10"/>
                        </a:lnTo>
                        <a:lnTo>
                          <a:pt x="0" y="26"/>
                        </a:lnTo>
                        <a:lnTo>
                          <a:pt x="10" y="26"/>
                        </a:lnTo>
                        <a:lnTo>
                          <a:pt x="38" y="22"/>
                        </a:lnTo>
                        <a:lnTo>
                          <a:pt x="55" y="16"/>
                        </a:lnTo>
                        <a:lnTo>
                          <a:pt x="59" y="26"/>
                        </a:lnTo>
                        <a:lnTo>
                          <a:pt x="83" y="26"/>
                        </a:lnTo>
                        <a:lnTo>
                          <a:pt x="132" y="54"/>
                        </a:lnTo>
                        <a:lnTo>
                          <a:pt x="126" y="67"/>
                        </a:lnTo>
                        <a:lnTo>
                          <a:pt x="170"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4" name="Freeform 123">
                    <a:extLst>
                      <a:ext uri="{FF2B5EF4-FFF2-40B4-BE49-F238E27FC236}">
                        <a16:creationId xmlns:a16="http://schemas.microsoft.com/office/drawing/2014/main" id="{6C2DEEE0-D713-499A-9F47-71A1296F76F8}"/>
                      </a:ext>
                    </a:extLst>
                  </p:cNvPr>
                  <p:cNvSpPr>
                    <a:spLocks/>
                  </p:cNvSpPr>
                  <p:nvPr/>
                </p:nvSpPr>
                <p:spPr bwMode="auto">
                  <a:xfrm>
                    <a:off x="1743868" y="2480258"/>
                    <a:ext cx="21012" cy="24114"/>
                  </a:xfrm>
                  <a:custGeom>
                    <a:avLst/>
                    <a:gdLst>
                      <a:gd name="T0" fmla="*/ 0 w 16"/>
                      <a:gd name="T1" fmla="*/ 6 h 18"/>
                      <a:gd name="T2" fmla="*/ 6 w 16"/>
                      <a:gd name="T3" fmla="*/ 18 h 18"/>
                      <a:gd name="T4" fmla="*/ 16 w 16"/>
                      <a:gd name="T5" fmla="*/ 12 h 18"/>
                      <a:gd name="T6" fmla="*/ 16 w 16"/>
                      <a:gd name="T7" fmla="*/ 0 h 18"/>
                      <a:gd name="T8" fmla="*/ 0 w 16"/>
                      <a:gd name="T9" fmla="*/ 6 h 18"/>
                      <a:gd name="T10" fmla="*/ 0 w 16"/>
                      <a:gd name="T11" fmla="*/ 6 h 18"/>
                      <a:gd name="T12" fmla="*/ 0 60000 65536"/>
                      <a:gd name="T13" fmla="*/ 0 60000 65536"/>
                      <a:gd name="T14" fmla="*/ 0 60000 65536"/>
                      <a:gd name="T15" fmla="*/ 0 60000 65536"/>
                      <a:gd name="T16" fmla="*/ 0 60000 65536"/>
                      <a:gd name="T17" fmla="*/ 0 60000 65536"/>
                      <a:gd name="T18" fmla="*/ 0 w 16"/>
                      <a:gd name="T19" fmla="*/ 0 h 18"/>
                      <a:gd name="T20" fmla="*/ 16 w 16"/>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6" h="18">
                        <a:moveTo>
                          <a:pt x="0" y="6"/>
                        </a:moveTo>
                        <a:lnTo>
                          <a:pt x="6" y="18"/>
                        </a:lnTo>
                        <a:lnTo>
                          <a:pt x="16" y="12"/>
                        </a:lnTo>
                        <a:lnTo>
                          <a:pt x="16" y="0"/>
                        </a:lnTo>
                        <a:lnTo>
                          <a:pt x="0"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5" name="Freeform 124">
                    <a:extLst>
                      <a:ext uri="{FF2B5EF4-FFF2-40B4-BE49-F238E27FC236}">
                        <a16:creationId xmlns:a16="http://schemas.microsoft.com/office/drawing/2014/main" id="{375DCB81-F45A-4C23-8EAE-0CFA19713989}"/>
                      </a:ext>
                    </a:extLst>
                  </p:cNvPr>
                  <p:cNvSpPr>
                    <a:spLocks/>
                  </p:cNvSpPr>
                  <p:nvPr/>
                </p:nvSpPr>
                <p:spPr bwMode="auto">
                  <a:xfrm>
                    <a:off x="1940852" y="2535185"/>
                    <a:ext cx="66974" cy="42869"/>
                  </a:xfrm>
                  <a:custGeom>
                    <a:avLst/>
                    <a:gdLst>
                      <a:gd name="T0" fmla="*/ 13 w 51"/>
                      <a:gd name="T1" fmla="*/ 0 h 32"/>
                      <a:gd name="T2" fmla="*/ 29 w 51"/>
                      <a:gd name="T3" fmla="*/ 10 h 32"/>
                      <a:gd name="T4" fmla="*/ 29 w 51"/>
                      <a:gd name="T5" fmla="*/ 22 h 32"/>
                      <a:gd name="T6" fmla="*/ 0 w 51"/>
                      <a:gd name="T7" fmla="*/ 22 h 32"/>
                      <a:gd name="T8" fmla="*/ 0 w 51"/>
                      <a:gd name="T9" fmla="*/ 32 h 32"/>
                      <a:gd name="T10" fmla="*/ 39 w 51"/>
                      <a:gd name="T11" fmla="*/ 32 h 32"/>
                      <a:gd name="T12" fmla="*/ 51 w 51"/>
                      <a:gd name="T13" fmla="*/ 22 h 32"/>
                      <a:gd name="T14" fmla="*/ 45 w 51"/>
                      <a:gd name="T15" fmla="*/ 0 h 32"/>
                      <a:gd name="T16" fmla="*/ 13 w 51"/>
                      <a:gd name="T17" fmla="*/ 0 h 32"/>
                      <a:gd name="T18" fmla="*/ 13 w 51"/>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32"/>
                      <a:gd name="T32" fmla="*/ 51 w 51"/>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32">
                        <a:moveTo>
                          <a:pt x="13" y="0"/>
                        </a:moveTo>
                        <a:lnTo>
                          <a:pt x="29" y="10"/>
                        </a:lnTo>
                        <a:lnTo>
                          <a:pt x="29" y="22"/>
                        </a:lnTo>
                        <a:lnTo>
                          <a:pt x="0" y="22"/>
                        </a:lnTo>
                        <a:lnTo>
                          <a:pt x="0" y="32"/>
                        </a:lnTo>
                        <a:lnTo>
                          <a:pt x="39" y="32"/>
                        </a:lnTo>
                        <a:lnTo>
                          <a:pt x="51" y="22"/>
                        </a:lnTo>
                        <a:lnTo>
                          <a:pt x="45" y="0"/>
                        </a:lnTo>
                        <a:lnTo>
                          <a:pt x="13"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6" name="Freeform 125">
                    <a:extLst>
                      <a:ext uri="{FF2B5EF4-FFF2-40B4-BE49-F238E27FC236}">
                        <a16:creationId xmlns:a16="http://schemas.microsoft.com/office/drawing/2014/main" id="{36F3F4F1-C834-4F29-B3D0-EE41C64EF4C6}"/>
                      </a:ext>
                    </a:extLst>
                  </p:cNvPr>
                  <p:cNvSpPr>
                    <a:spLocks/>
                  </p:cNvSpPr>
                  <p:nvPr/>
                </p:nvSpPr>
                <p:spPr bwMode="auto">
                  <a:xfrm>
                    <a:off x="1759627" y="2997365"/>
                    <a:ext cx="144455" cy="156740"/>
                  </a:xfrm>
                  <a:custGeom>
                    <a:avLst/>
                    <a:gdLst>
                      <a:gd name="T0" fmla="*/ 21 w 110"/>
                      <a:gd name="T1" fmla="*/ 111 h 117"/>
                      <a:gd name="T2" fmla="*/ 45 w 110"/>
                      <a:gd name="T3" fmla="*/ 117 h 117"/>
                      <a:gd name="T4" fmla="*/ 55 w 110"/>
                      <a:gd name="T5" fmla="*/ 95 h 117"/>
                      <a:gd name="T6" fmla="*/ 106 w 110"/>
                      <a:gd name="T7" fmla="*/ 61 h 117"/>
                      <a:gd name="T8" fmla="*/ 110 w 110"/>
                      <a:gd name="T9" fmla="*/ 32 h 117"/>
                      <a:gd name="T10" fmla="*/ 84 w 110"/>
                      <a:gd name="T11" fmla="*/ 28 h 117"/>
                      <a:gd name="T12" fmla="*/ 39 w 110"/>
                      <a:gd name="T13" fmla="*/ 0 h 117"/>
                      <a:gd name="T14" fmla="*/ 0 w 110"/>
                      <a:gd name="T15" fmla="*/ 55 h 117"/>
                      <a:gd name="T16" fmla="*/ 0 w 110"/>
                      <a:gd name="T17" fmla="*/ 77 h 117"/>
                      <a:gd name="T18" fmla="*/ 17 w 110"/>
                      <a:gd name="T19" fmla="*/ 77 h 117"/>
                      <a:gd name="T20" fmla="*/ 17 w 110"/>
                      <a:gd name="T21" fmla="*/ 95 h 117"/>
                      <a:gd name="T22" fmla="*/ 21 w 110"/>
                      <a:gd name="T23" fmla="*/ 111 h 117"/>
                      <a:gd name="T24" fmla="*/ 21 w 110"/>
                      <a:gd name="T25" fmla="*/ 111 h 1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17"/>
                      <a:gd name="T41" fmla="*/ 110 w 110"/>
                      <a:gd name="T42" fmla="*/ 117 h 1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17">
                        <a:moveTo>
                          <a:pt x="21" y="111"/>
                        </a:moveTo>
                        <a:lnTo>
                          <a:pt x="45" y="117"/>
                        </a:lnTo>
                        <a:lnTo>
                          <a:pt x="55" y="95"/>
                        </a:lnTo>
                        <a:lnTo>
                          <a:pt x="106" y="61"/>
                        </a:lnTo>
                        <a:lnTo>
                          <a:pt x="110" y="32"/>
                        </a:lnTo>
                        <a:lnTo>
                          <a:pt x="84" y="28"/>
                        </a:lnTo>
                        <a:lnTo>
                          <a:pt x="39" y="0"/>
                        </a:lnTo>
                        <a:lnTo>
                          <a:pt x="0" y="55"/>
                        </a:lnTo>
                        <a:lnTo>
                          <a:pt x="0" y="77"/>
                        </a:lnTo>
                        <a:lnTo>
                          <a:pt x="17" y="77"/>
                        </a:lnTo>
                        <a:lnTo>
                          <a:pt x="17" y="95"/>
                        </a:lnTo>
                        <a:lnTo>
                          <a:pt x="21" y="11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7" name="Freeform 126">
                    <a:extLst>
                      <a:ext uri="{FF2B5EF4-FFF2-40B4-BE49-F238E27FC236}">
                        <a16:creationId xmlns:a16="http://schemas.microsoft.com/office/drawing/2014/main" id="{BE781977-B710-44DA-B3E6-5B65D056C715}"/>
                      </a:ext>
                    </a:extLst>
                  </p:cNvPr>
                  <p:cNvSpPr>
                    <a:spLocks/>
                  </p:cNvSpPr>
                  <p:nvPr/>
                </p:nvSpPr>
                <p:spPr bwMode="auto">
                  <a:xfrm>
                    <a:off x="1759627" y="3040234"/>
                    <a:ext cx="312547" cy="470219"/>
                  </a:xfrm>
                  <a:custGeom>
                    <a:avLst/>
                    <a:gdLst>
                      <a:gd name="T0" fmla="*/ 189 w 238"/>
                      <a:gd name="T1" fmla="*/ 41 h 351"/>
                      <a:gd name="T2" fmla="*/ 155 w 238"/>
                      <a:gd name="T3" fmla="*/ 45 h 351"/>
                      <a:gd name="T4" fmla="*/ 110 w 238"/>
                      <a:gd name="T5" fmla="*/ 0 h 351"/>
                      <a:gd name="T6" fmla="*/ 106 w 238"/>
                      <a:gd name="T7" fmla="*/ 29 h 351"/>
                      <a:gd name="T8" fmla="*/ 55 w 238"/>
                      <a:gd name="T9" fmla="*/ 63 h 351"/>
                      <a:gd name="T10" fmla="*/ 45 w 238"/>
                      <a:gd name="T11" fmla="*/ 85 h 351"/>
                      <a:gd name="T12" fmla="*/ 21 w 238"/>
                      <a:gd name="T13" fmla="*/ 79 h 351"/>
                      <a:gd name="T14" fmla="*/ 17 w 238"/>
                      <a:gd name="T15" fmla="*/ 63 h 351"/>
                      <a:gd name="T16" fmla="*/ 0 w 238"/>
                      <a:gd name="T17" fmla="*/ 79 h 351"/>
                      <a:gd name="T18" fmla="*/ 0 w 238"/>
                      <a:gd name="T19" fmla="*/ 112 h 351"/>
                      <a:gd name="T20" fmla="*/ 27 w 238"/>
                      <a:gd name="T21" fmla="*/ 130 h 351"/>
                      <a:gd name="T22" fmla="*/ 71 w 238"/>
                      <a:gd name="T23" fmla="*/ 230 h 351"/>
                      <a:gd name="T24" fmla="*/ 94 w 238"/>
                      <a:gd name="T25" fmla="*/ 246 h 351"/>
                      <a:gd name="T26" fmla="*/ 94 w 238"/>
                      <a:gd name="T27" fmla="*/ 274 h 351"/>
                      <a:gd name="T28" fmla="*/ 183 w 238"/>
                      <a:gd name="T29" fmla="*/ 331 h 351"/>
                      <a:gd name="T30" fmla="*/ 205 w 238"/>
                      <a:gd name="T31" fmla="*/ 351 h 351"/>
                      <a:gd name="T32" fmla="*/ 228 w 238"/>
                      <a:gd name="T33" fmla="*/ 341 h 351"/>
                      <a:gd name="T34" fmla="*/ 238 w 238"/>
                      <a:gd name="T35" fmla="*/ 319 h 351"/>
                      <a:gd name="T36" fmla="*/ 228 w 238"/>
                      <a:gd name="T37" fmla="*/ 297 h 351"/>
                      <a:gd name="T38" fmla="*/ 234 w 238"/>
                      <a:gd name="T39" fmla="*/ 274 h 351"/>
                      <a:gd name="T40" fmla="*/ 228 w 238"/>
                      <a:gd name="T41" fmla="*/ 246 h 351"/>
                      <a:gd name="T42" fmla="*/ 234 w 238"/>
                      <a:gd name="T43" fmla="*/ 213 h 351"/>
                      <a:gd name="T44" fmla="*/ 199 w 238"/>
                      <a:gd name="T45" fmla="*/ 213 h 351"/>
                      <a:gd name="T46" fmla="*/ 193 w 238"/>
                      <a:gd name="T47" fmla="*/ 185 h 351"/>
                      <a:gd name="T48" fmla="*/ 167 w 238"/>
                      <a:gd name="T49" fmla="*/ 191 h 351"/>
                      <a:gd name="T50" fmla="*/ 138 w 238"/>
                      <a:gd name="T51" fmla="*/ 134 h 351"/>
                      <a:gd name="T52" fmla="*/ 161 w 238"/>
                      <a:gd name="T53" fmla="*/ 90 h 351"/>
                      <a:gd name="T54" fmla="*/ 189 w 238"/>
                      <a:gd name="T55" fmla="*/ 73 h 351"/>
                      <a:gd name="T56" fmla="*/ 189 w 238"/>
                      <a:gd name="T57" fmla="*/ 41 h 351"/>
                      <a:gd name="T58" fmla="*/ 189 w 238"/>
                      <a:gd name="T59" fmla="*/ 41 h 3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8"/>
                      <a:gd name="T91" fmla="*/ 0 h 351"/>
                      <a:gd name="T92" fmla="*/ 238 w 238"/>
                      <a:gd name="T93" fmla="*/ 351 h 3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8" h="351">
                        <a:moveTo>
                          <a:pt x="189" y="41"/>
                        </a:moveTo>
                        <a:lnTo>
                          <a:pt x="155" y="45"/>
                        </a:lnTo>
                        <a:lnTo>
                          <a:pt x="110" y="0"/>
                        </a:lnTo>
                        <a:lnTo>
                          <a:pt x="106" y="29"/>
                        </a:lnTo>
                        <a:lnTo>
                          <a:pt x="55" y="63"/>
                        </a:lnTo>
                        <a:lnTo>
                          <a:pt x="45" y="85"/>
                        </a:lnTo>
                        <a:lnTo>
                          <a:pt x="21" y="79"/>
                        </a:lnTo>
                        <a:lnTo>
                          <a:pt x="17" y="63"/>
                        </a:lnTo>
                        <a:lnTo>
                          <a:pt x="0" y="79"/>
                        </a:lnTo>
                        <a:lnTo>
                          <a:pt x="0" y="112"/>
                        </a:lnTo>
                        <a:lnTo>
                          <a:pt x="27" y="130"/>
                        </a:lnTo>
                        <a:lnTo>
                          <a:pt x="71" y="230"/>
                        </a:lnTo>
                        <a:lnTo>
                          <a:pt x="94" y="246"/>
                        </a:lnTo>
                        <a:lnTo>
                          <a:pt x="94" y="274"/>
                        </a:lnTo>
                        <a:lnTo>
                          <a:pt x="183" y="331"/>
                        </a:lnTo>
                        <a:lnTo>
                          <a:pt x="205" y="351"/>
                        </a:lnTo>
                        <a:lnTo>
                          <a:pt x="228" y="341"/>
                        </a:lnTo>
                        <a:lnTo>
                          <a:pt x="238" y="319"/>
                        </a:lnTo>
                        <a:lnTo>
                          <a:pt x="228" y="297"/>
                        </a:lnTo>
                        <a:lnTo>
                          <a:pt x="234" y="274"/>
                        </a:lnTo>
                        <a:lnTo>
                          <a:pt x="228" y="246"/>
                        </a:lnTo>
                        <a:lnTo>
                          <a:pt x="234" y="213"/>
                        </a:lnTo>
                        <a:lnTo>
                          <a:pt x="199" y="213"/>
                        </a:lnTo>
                        <a:lnTo>
                          <a:pt x="193" y="185"/>
                        </a:lnTo>
                        <a:lnTo>
                          <a:pt x="167" y="191"/>
                        </a:lnTo>
                        <a:lnTo>
                          <a:pt x="138" y="134"/>
                        </a:lnTo>
                        <a:lnTo>
                          <a:pt x="161" y="90"/>
                        </a:lnTo>
                        <a:lnTo>
                          <a:pt x="189" y="73"/>
                        </a:lnTo>
                        <a:lnTo>
                          <a:pt x="189" y="4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8" name="Freeform 127">
                    <a:extLst>
                      <a:ext uri="{FF2B5EF4-FFF2-40B4-BE49-F238E27FC236}">
                        <a16:creationId xmlns:a16="http://schemas.microsoft.com/office/drawing/2014/main" id="{9907E64C-C256-4AA9-83CB-2CE039B91F04}"/>
                      </a:ext>
                    </a:extLst>
                  </p:cNvPr>
                  <p:cNvSpPr>
                    <a:spLocks/>
                  </p:cNvSpPr>
                  <p:nvPr/>
                </p:nvSpPr>
                <p:spPr bwMode="auto">
                  <a:xfrm>
                    <a:off x="2059042" y="3288070"/>
                    <a:ext cx="284969" cy="342952"/>
                  </a:xfrm>
                  <a:custGeom>
                    <a:avLst/>
                    <a:gdLst>
                      <a:gd name="T0" fmla="*/ 0 w 217"/>
                      <a:gd name="T1" fmla="*/ 61 h 256"/>
                      <a:gd name="T2" fmla="*/ 6 w 217"/>
                      <a:gd name="T3" fmla="*/ 89 h 256"/>
                      <a:gd name="T4" fmla="*/ 0 w 217"/>
                      <a:gd name="T5" fmla="*/ 112 h 256"/>
                      <a:gd name="T6" fmla="*/ 10 w 217"/>
                      <a:gd name="T7" fmla="*/ 134 h 256"/>
                      <a:gd name="T8" fmla="*/ 0 w 217"/>
                      <a:gd name="T9" fmla="*/ 156 h 256"/>
                      <a:gd name="T10" fmla="*/ 49 w 217"/>
                      <a:gd name="T11" fmla="*/ 256 h 256"/>
                      <a:gd name="T12" fmla="*/ 89 w 217"/>
                      <a:gd name="T13" fmla="*/ 240 h 256"/>
                      <a:gd name="T14" fmla="*/ 105 w 217"/>
                      <a:gd name="T15" fmla="*/ 252 h 256"/>
                      <a:gd name="T16" fmla="*/ 112 w 217"/>
                      <a:gd name="T17" fmla="*/ 233 h 256"/>
                      <a:gd name="T18" fmla="*/ 134 w 217"/>
                      <a:gd name="T19" fmla="*/ 233 h 256"/>
                      <a:gd name="T20" fmla="*/ 138 w 217"/>
                      <a:gd name="T21" fmla="*/ 195 h 256"/>
                      <a:gd name="T22" fmla="*/ 179 w 217"/>
                      <a:gd name="T23" fmla="*/ 185 h 256"/>
                      <a:gd name="T24" fmla="*/ 205 w 217"/>
                      <a:gd name="T25" fmla="*/ 189 h 256"/>
                      <a:gd name="T26" fmla="*/ 217 w 217"/>
                      <a:gd name="T27" fmla="*/ 166 h 256"/>
                      <a:gd name="T28" fmla="*/ 195 w 217"/>
                      <a:gd name="T29" fmla="*/ 122 h 256"/>
                      <a:gd name="T30" fmla="*/ 166 w 217"/>
                      <a:gd name="T31" fmla="*/ 118 h 256"/>
                      <a:gd name="T32" fmla="*/ 150 w 217"/>
                      <a:gd name="T33" fmla="*/ 73 h 256"/>
                      <a:gd name="T34" fmla="*/ 77 w 217"/>
                      <a:gd name="T35" fmla="*/ 45 h 256"/>
                      <a:gd name="T36" fmla="*/ 49 w 217"/>
                      <a:gd name="T37" fmla="*/ 0 h 256"/>
                      <a:gd name="T38" fmla="*/ 6 w 217"/>
                      <a:gd name="T39" fmla="*/ 28 h 256"/>
                      <a:gd name="T40" fmla="*/ 0 w 217"/>
                      <a:gd name="T41" fmla="*/ 61 h 256"/>
                      <a:gd name="T42" fmla="*/ 0 w 217"/>
                      <a:gd name="T43" fmla="*/ 61 h 2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7"/>
                      <a:gd name="T67" fmla="*/ 0 h 256"/>
                      <a:gd name="T68" fmla="*/ 217 w 217"/>
                      <a:gd name="T69" fmla="*/ 256 h 2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7" h="256">
                        <a:moveTo>
                          <a:pt x="0" y="61"/>
                        </a:moveTo>
                        <a:lnTo>
                          <a:pt x="6" y="89"/>
                        </a:lnTo>
                        <a:lnTo>
                          <a:pt x="0" y="112"/>
                        </a:lnTo>
                        <a:lnTo>
                          <a:pt x="10" y="134"/>
                        </a:lnTo>
                        <a:lnTo>
                          <a:pt x="0" y="156"/>
                        </a:lnTo>
                        <a:lnTo>
                          <a:pt x="49" y="256"/>
                        </a:lnTo>
                        <a:lnTo>
                          <a:pt x="89" y="240"/>
                        </a:lnTo>
                        <a:lnTo>
                          <a:pt x="105" y="252"/>
                        </a:lnTo>
                        <a:lnTo>
                          <a:pt x="112" y="233"/>
                        </a:lnTo>
                        <a:lnTo>
                          <a:pt x="134" y="233"/>
                        </a:lnTo>
                        <a:lnTo>
                          <a:pt x="138" y="195"/>
                        </a:lnTo>
                        <a:lnTo>
                          <a:pt x="179" y="185"/>
                        </a:lnTo>
                        <a:lnTo>
                          <a:pt x="205" y="189"/>
                        </a:lnTo>
                        <a:lnTo>
                          <a:pt x="217" y="166"/>
                        </a:lnTo>
                        <a:lnTo>
                          <a:pt x="195" y="122"/>
                        </a:lnTo>
                        <a:lnTo>
                          <a:pt x="166" y="118"/>
                        </a:lnTo>
                        <a:lnTo>
                          <a:pt x="150" y="73"/>
                        </a:lnTo>
                        <a:lnTo>
                          <a:pt x="77" y="45"/>
                        </a:lnTo>
                        <a:lnTo>
                          <a:pt x="49" y="0"/>
                        </a:lnTo>
                        <a:lnTo>
                          <a:pt x="6" y="28"/>
                        </a:lnTo>
                        <a:lnTo>
                          <a:pt x="0"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19" name="Freeform 130">
                    <a:extLst>
                      <a:ext uri="{FF2B5EF4-FFF2-40B4-BE49-F238E27FC236}">
                        <a16:creationId xmlns:a16="http://schemas.microsoft.com/office/drawing/2014/main" id="{D428795D-115F-4594-AF14-9F7068C72294}"/>
                      </a:ext>
                    </a:extLst>
                  </p:cNvPr>
                  <p:cNvSpPr>
                    <a:spLocks/>
                  </p:cNvSpPr>
                  <p:nvPr/>
                </p:nvSpPr>
                <p:spPr bwMode="auto">
                  <a:xfrm>
                    <a:off x="2219255" y="4373189"/>
                    <a:ext cx="108998" cy="73681"/>
                  </a:xfrm>
                  <a:custGeom>
                    <a:avLst/>
                    <a:gdLst>
                      <a:gd name="T0" fmla="*/ 22 w 83"/>
                      <a:gd name="T1" fmla="*/ 26 h 55"/>
                      <a:gd name="T2" fmla="*/ 0 w 83"/>
                      <a:gd name="T3" fmla="*/ 39 h 55"/>
                      <a:gd name="T4" fmla="*/ 38 w 83"/>
                      <a:gd name="T5" fmla="*/ 45 h 55"/>
                      <a:gd name="T6" fmla="*/ 57 w 83"/>
                      <a:gd name="T7" fmla="*/ 55 h 55"/>
                      <a:gd name="T8" fmla="*/ 83 w 83"/>
                      <a:gd name="T9" fmla="*/ 55 h 55"/>
                      <a:gd name="T10" fmla="*/ 67 w 83"/>
                      <a:gd name="T11" fmla="*/ 10 h 55"/>
                      <a:gd name="T12" fmla="*/ 67 w 83"/>
                      <a:gd name="T13" fmla="*/ 0 h 55"/>
                      <a:gd name="T14" fmla="*/ 44 w 83"/>
                      <a:gd name="T15" fmla="*/ 22 h 55"/>
                      <a:gd name="T16" fmla="*/ 22 w 83"/>
                      <a:gd name="T17" fmla="*/ 26 h 55"/>
                      <a:gd name="T18" fmla="*/ 22 w 83"/>
                      <a:gd name="T19" fmla="*/ 26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
                      <a:gd name="T31" fmla="*/ 0 h 55"/>
                      <a:gd name="T32" fmla="*/ 83 w 8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 h="55">
                        <a:moveTo>
                          <a:pt x="22" y="26"/>
                        </a:moveTo>
                        <a:lnTo>
                          <a:pt x="0" y="39"/>
                        </a:lnTo>
                        <a:lnTo>
                          <a:pt x="38" y="45"/>
                        </a:lnTo>
                        <a:lnTo>
                          <a:pt x="57" y="55"/>
                        </a:lnTo>
                        <a:lnTo>
                          <a:pt x="83" y="55"/>
                        </a:lnTo>
                        <a:lnTo>
                          <a:pt x="67" y="10"/>
                        </a:lnTo>
                        <a:lnTo>
                          <a:pt x="67" y="0"/>
                        </a:lnTo>
                        <a:lnTo>
                          <a:pt x="44" y="22"/>
                        </a:lnTo>
                        <a:lnTo>
                          <a:pt x="22" y="2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0" name="Freeform 131">
                    <a:extLst>
                      <a:ext uri="{FF2B5EF4-FFF2-40B4-BE49-F238E27FC236}">
                        <a16:creationId xmlns:a16="http://schemas.microsoft.com/office/drawing/2014/main" id="{3DFD1EDC-A3D8-4F16-A395-9CAA0176A45E}"/>
                      </a:ext>
                    </a:extLst>
                  </p:cNvPr>
                  <p:cNvSpPr>
                    <a:spLocks/>
                  </p:cNvSpPr>
                  <p:nvPr/>
                </p:nvSpPr>
                <p:spPr bwMode="auto">
                  <a:xfrm>
                    <a:off x="2087933" y="3600209"/>
                    <a:ext cx="357196" cy="778339"/>
                  </a:xfrm>
                  <a:custGeom>
                    <a:avLst/>
                    <a:gdLst>
                      <a:gd name="T0" fmla="*/ 27 w 272"/>
                      <a:gd name="T1" fmla="*/ 23 h 581"/>
                      <a:gd name="T2" fmla="*/ 6 w 272"/>
                      <a:gd name="T3" fmla="*/ 63 h 581"/>
                      <a:gd name="T4" fmla="*/ 23 w 272"/>
                      <a:gd name="T5" fmla="*/ 90 h 581"/>
                      <a:gd name="T6" fmla="*/ 6 w 272"/>
                      <a:gd name="T7" fmla="*/ 141 h 581"/>
                      <a:gd name="T8" fmla="*/ 0 w 272"/>
                      <a:gd name="T9" fmla="*/ 191 h 581"/>
                      <a:gd name="T10" fmla="*/ 27 w 272"/>
                      <a:gd name="T11" fmla="*/ 230 h 581"/>
                      <a:gd name="T12" fmla="*/ 16 w 272"/>
                      <a:gd name="T13" fmla="*/ 258 h 581"/>
                      <a:gd name="T14" fmla="*/ 23 w 272"/>
                      <a:gd name="T15" fmla="*/ 268 h 581"/>
                      <a:gd name="T16" fmla="*/ 10 w 272"/>
                      <a:gd name="T17" fmla="*/ 287 h 581"/>
                      <a:gd name="T18" fmla="*/ 27 w 272"/>
                      <a:gd name="T19" fmla="*/ 315 h 581"/>
                      <a:gd name="T20" fmla="*/ 27 w 272"/>
                      <a:gd name="T21" fmla="*/ 376 h 581"/>
                      <a:gd name="T22" fmla="*/ 55 w 272"/>
                      <a:gd name="T23" fmla="*/ 437 h 581"/>
                      <a:gd name="T24" fmla="*/ 67 w 272"/>
                      <a:gd name="T25" fmla="*/ 482 h 581"/>
                      <a:gd name="T26" fmla="*/ 61 w 272"/>
                      <a:gd name="T27" fmla="*/ 532 h 581"/>
                      <a:gd name="T28" fmla="*/ 83 w 272"/>
                      <a:gd name="T29" fmla="*/ 555 h 581"/>
                      <a:gd name="T30" fmla="*/ 144 w 272"/>
                      <a:gd name="T31" fmla="*/ 581 h 581"/>
                      <a:gd name="T32" fmla="*/ 157 w 272"/>
                      <a:gd name="T33" fmla="*/ 571 h 581"/>
                      <a:gd name="T34" fmla="*/ 138 w 272"/>
                      <a:gd name="T35" fmla="*/ 565 h 581"/>
                      <a:gd name="T36" fmla="*/ 132 w 272"/>
                      <a:gd name="T37" fmla="*/ 543 h 581"/>
                      <a:gd name="T38" fmla="*/ 144 w 272"/>
                      <a:gd name="T39" fmla="*/ 536 h 581"/>
                      <a:gd name="T40" fmla="*/ 144 w 272"/>
                      <a:gd name="T41" fmla="*/ 510 h 581"/>
                      <a:gd name="T42" fmla="*/ 161 w 272"/>
                      <a:gd name="T43" fmla="*/ 504 h 581"/>
                      <a:gd name="T44" fmla="*/ 161 w 272"/>
                      <a:gd name="T45" fmla="*/ 482 h 581"/>
                      <a:gd name="T46" fmla="*/ 128 w 272"/>
                      <a:gd name="T47" fmla="*/ 465 h 581"/>
                      <a:gd name="T48" fmla="*/ 128 w 272"/>
                      <a:gd name="T49" fmla="*/ 453 h 581"/>
                      <a:gd name="T50" fmla="*/ 144 w 272"/>
                      <a:gd name="T51" fmla="*/ 443 h 581"/>
                      <a:gd name="T52" fmla="*/ 150 w 272"/>
                      <a:gd name="T53" fmla="*/ 409 h 581"/>
                      <a:gd name="T54" fmla="*/ 144 w 272"/>
                      <a:gd name="T55" fmla="*/ 398 h 581"/>
                      <a:gd name="T56" fmla="*/ 167 w 272"/>
                      <a:gd name="T57" fmla="*/ 402 h 581"/>
                      <a:gd name="T58" fmla="*/ 167 w 272"/>
                      <a:gd name="T59" fmla="*/ 386 h 581"/>
                      <a:gd name="T60" fmla="*/ 150 w 272"/>
                      <a:gd name="T61" fmla="*/ 386 h 581"/>
                      <a:gd name="T62" fmla="*/ 138 w 272"/>
                      <a:gd name="T63" fmla="*/ 392 h 581"/>
                      <a:gd name="T64" fmla="*/ 128 w 272"/>
                      <a:gd name="T65" fmla="*/ 364 h 581"/>
                      <a:gd name="T66" fmla="*/ 173 w 272"/>
                      <a:gd name="T67" fmla="*/ 370 h 581"/>
                      <a:gd name="T68" fmla="*/ 179 w 272"/>
                      <a:gd name="T69" fmla="*/ 354 h 581"/>
                      <a:gd name="T70" fmla="*/ 167 w 272"/>
                      <a:gd name="T71" fmla="*/ 335 h 581"/>
                      <a:gd name="T72" fmla="*/ 183 w 272"/>
                      <a:gd name="T73" fmla="*/ 319 h 581"/>
                      <a:gd name="T74" fmla="*/ 228 w 272"/>
                      <a:gd name="T75" fmla="*/ 319 h 581"/>
                      <a:gd name="T76" fmla="*/ 256 w 272"/>
                      <a:gd name="T77" fmla="*/ 291 h 581"/>
                      <a:gd name="T78" fmla="*/ 244 w 272"/>
                      <a:gd name="T79" fmla="*/ 275 h 581"/>
                      <a:gd name="T80" fmla="*/ 244 w 272"/>
                      <a:gd name="T81" fmla="*/ 264 h 581"/>
                      <a:gd name="T82" fmla="*/ 211 w 272"/>
                      <a:gd name="T83" fmla="*/ 242 h 581"/>
                      <a:gd name="T84" fmla="*/ 222 w 272"/>
                      <a:gd name="T85" fmla="*/ 230 h 581"/>
                      <a:gd name="T86" fmla="*/ 217 w 272"/>
                      <a:gd name="T87" fmla="*/ 181 h 581"/>
                      <a:gd name="T88" fmla="*/ 228 w 272"/>
                      <a:gd name="T89" fmla="*/ 157 h 581"/>
                      <a:gd name="T90" fmla="*/ 228 w 272"/>
                      <a:gd name="T91" fmla="*/ 147 h 581"/>
                      <a:gd name="T92" fmla="*/ 272 w 272"/>
                      <a:gd name="T93" fmla="*/ 114 h 581"/>
                      <a:gd name="T94" fmla="*/ 272 w 272"/>
                      <a:gd name="T95" fmla="*/ 74 h 581"/>
                      <a:gd name="T96" fmla="*/ 256 w 272"/>
                      <a:gd name="T97" fmla="*/ 74 h 581"/>
                      <a:gd name="T98" fmla="*/ 256 w 272"/>
                      <a:gd name="T99" fmla="*/ 90 h 581"/>
                      <a:gd name="T100" fmla="*/ 234 w 272"/>
                      <a:gd name="T101" fmla="*/ 108 h 581"/>
                      <a:gd name="T102" fmla="*/ 199 w 272"/>
                      <a:gd name="T103" fmla="*/ 102 h 581"/>
                      <a:gd name="T104" fmla="*/ 183 w 272"/>
                      <a:gd name="T105" fmla="*/ 90 h 581"/>
                      <a:gd name="T106" fmla="*/ 199 w 272"/>
                      <a:gd name="T107" fmla="*/ 63 h 581"/>
                      <a:gd name="T108" fmla="*/ 138 w 272"/>
                      <a:gd name="T109" fmla="*/ 41 h 581"/>
                      <a:gd name="T110" fmla="*/ 112 w 272"/>
                      <a:gd name="T111" fmla="*/ 0 h 581"/>
                      <a:gd name="T112" fmla="*/ 90 w 272"/>
                      <a:gd name="T113" fmla="*/ 0 h 581"/>
                      <a:gd name="T114" fmla="*/ 83 w 272"/>
                      <a:gd name="T115" fmla="*/ 19 h 581"/>
                      <a:gd name="T116" fmla="*/ 67 w 272"/>
                      <a:gd name="T117" fmla="*/ 7 h 581"/>
                      <a:gd name="T118" fmla="*/ 27 w 272"/>
                      <a:gd name="T119" fmla="*/ 23 h 581"/>
                      <a:gd name="T120" fmla="*/ 27 w 272"/>
                      <a:gd name="T121" fmla="*/ 23 h 58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2"/>
                      <a:gd name="T184" fmla="*/ 0 h 581"/>
                      <a:gd name="T185" fmla="*/ 272 w 272"/>
                      <a:gd name="T186" fmla="*/ 581 h 58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2" h="581">
                        <a:moveTo>
                          <a:pt x="27" y="23"/>
                        </a:moveTo>
                        <a:lnTo>
                          <a:pt x="6" y="63"/>
                        </a:lnTo>
                        <a:lnTo>
                          <a:pt x="23" y="90"/>
                        </a:lnTo>
                        <a:lnTo>
                          <a:pt x="6" y="141"/>
                        </a:lnTo>
                        <a:lnTo>
                          <a:pt x="0" y="191"/>
                        </a:lnTo>
                        <a:lnTo>
                          <a:pt x="27" y="230"/>
                        </a:lnTo>
                        <a:lnTo>
                          <a:pt x="16" y="258"/>
                        </a:lnTo>
                        <a:lnTo>
                          <a:pt x="23" y="268"/>
                        </a:lnTo>
                        <a:lnTo>
                          <a:pt x="10" y="287"/>
                        </a:lnTo>
                        <a:lnTo>
                          <a:pt x="27" y="315"/>
                        </a:lnTo>
                        <a:lnTo>
                          <a:pt x="27" y="376"/>
                        </a:lnTo>
                        <a:lnTo>
                          <a:pt x="55" y="437"/>
                        </a:lnTo>
                        <a:lnTo>
                          <a:pt x="67" y="482"/>
                        </a:lnTo>
                        <a:lnTo>
                          <a:pt x="61" y="532"/>
                        </a:lnTo>
                        <a:lnTo>
                          <a:pt x="83" y="555"/>
                        </a:lnTo>
                        <a:lnTo>
                          <a:pt x="144" y="581"/>
                        </a:lnTo>
                        <a:lnTo>
                          <a:pt x="157" y="571"/>
                        </a:lnTo>
                        <a:lnTo>
                          <a:pt x="138" y="565"/>
                        </a:lnTo>
                        <a:lnTo>
                          <a:pt x="132" y="543"/>
                        </a:lnTo>
                        <a:lnTo>
                          <a:pt x="144" y="536"/>
                        </a:lnTo>
                        <a:lnTo>
                          <a:pt x="144" y="510"/>
                        </a:lnTo>
                        <a:lnTo>
                          <a:pt x="161" y="504"/>
                        </a:lnTo>
                        <a:lnTo>
                          <a:pt x="161" y="482"/>
                        </a:lnTo>
                        <a:lnTo>
                          <a:pt x="128" y="465"/>
                        </a:lnTo>
                        <a:lnTo>
                          <a:pt x="128" y="453"/>
                        </a:lnTo>
                        <a:lnTo>
                          <a:pt x="144" y="443"/>
                        </a:lnTo>
                        <a:lnTo>
                          <a:pt x="150" y="409"/>
                        </a:lnTo>
                        <a:lnTo>
                          <a:pt x="144" y="398"/>
                        </a:lnTo>
                        <a:lnTo>
                          <a:pt x="167" y="402"/>
                        </a:lnTo>
                        <a:lnTo>
                          <a:pt x="167" y="386"/>
                        </a:lnTo>
                        <a:lnTo>
                          <a:pt x="150" y="386"/>
                        </a:lnTo>
                        <a:lnTo>
                          <a:pt x="138" y="392"/>
                        </a:lnTo>
                        <a:lnTo>
                          <a:pt x="128" y="364"/>
                        </a:lnTo>
                        <a:lnTo>
                          <a:pt x="173" y="370"/>
                        </a:lnTo>
                        <a:lnTo>
                          <a:pt x="179" y="354"/>
                        </a:lnTo>
                        <a:lnTo>
                          <a:pt x="167" y="335"/>
                        </a:lnTo>
                        <a:lnTo>
                          <a:pt x="183" y="319"/>
                        </a:lnTo>
                        <a:lnTo>
                          <a:pt x="228" y="319"/>
                        </a:lnTo>
                        <a:lnTo>
                          <a:pt x="256" y="291"/>
                        </a:lnTo>
                        <a:lnTo>
                          <a:pt x="244" y="275"/>
                        </a:lnTo>
                        <a:lnTo>
                          <a:pt x="244" y="264"/>
                        </a:lnTo>
                        <a:lnTo>
                          <a:pt x="211" y="242"/>
                        </a:lnTo>
                        <a:lnTo>
                          <a:pt x="222" y="230"/>
                        </a:lnTo>
                        <a:lnTo>
                          <a:pt x="217" y="181"/>
                        </a:lnTo>
                        <a:lnTo>
                          <a:pt x="228" y="157"/>
                        </a:lnTo>
                        <a:lnTo>
                          <a:pt x="228" y="147"/>
                        </a:lnTo>
                        <a:lnTo>
                          <a:pt x="272" y="114"/>
                        </a:lnTo>
                        <a:lnTo>
                          <a:pt x="272" y="74"/>
                        </a:lnTo>
                        <a:lnTo>
                          <a:pt x="256" y="74"/>
                        </a:lnTo>
                        <a:lnTo>
                          <a:pt x="256" y="90"/>
                        </a:lnTo>
                        <a:lnTo>
                          <a:pt x="234" y="108"/>
                        </a:lnTo>
                        <a:lnTo>
                          <a:pt x="199" y="102"/>
                        </a:lnTo>
                        <a:lnTo>
                          <a:pt x="183" y="90"/>
                        </a:lnTo>
                        <a:lnTo>
                          <a:pt x="199" y="63"/>
                        </a:lnTo>
                        <a:lnTo>
                          <a:pt x="138" y="41"/>
                        </a:lnTo>
                        <a:lnTo>
                          <a:pt x="112" y="0"/>
                        </a:lnTo>
                        <a:lnTo>
                          <a:pt x="90" y="0"/>
                        </a:lnTo>
                        <a:lnTo>
                          <a:pt x="83" y="19"/>
                        </a:lnTo>
                        <a:lnTo>
                          <a:pt x="67" y="7"/>
                        </a:lnTo>
                        <a:lnTo>
                          <a:pt x="27"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1" name="Freeform 132">
                    <a:extLst>
                      <a:ext uri="{FF2B5EF4-FFF2-40B4-BE49-F238E27FC236}">
                        <a16:creationId xmlns:a16="http://schemas.microsoft.com/office/drawing/2014/main" id="{90AAC7A8-4874-4219-8504-86242EEFFF13}"/>
                      </a:ext>
                    </a:extLst>
                  </p:cNvPr>
                  <p:cNvSpPr>
                    <a:spLocks/>
                  </p:cNvSpPr>
                  <p:nvPr/>
                </p:nvSpPr>
                <p:spPr bwMode="auto">
                  <a:xfrm>
                    <a:off x="2307241" y="4386585"/>
                    <a:ext cx="80107" cy="60285"/>
                  </a:xfrm>
                  <a:custGeom>
                    <a:avLst/>
                    <a:gdLst>
                      <a:gd name="T0" fmla="*/ 0 w 61"/>
                      <a:gd name="T1" fmla="*/ 0 h 45"/>
                      <a:gd name="T2" fmla="*/ 16 w 61"/>
                      <a:gd name="T3" fmla="*/ 45 h 45"/>
                      <a:gd name="T4" fmla="*/ 61 w 61"/>
                      <a:gd name="T5" fmla="*/ 39 h 45"/>
                      <a:gd name="T6" fmla="*/ 0 w 61"/>
                      <a:gd name="T7" fmla="*/ 0 h 45"/>
                      <a:gd name="T8" fmla="*/ 0 w 61"/>
                      <a:gd name="T9" fmla="*/ 0 h 45"/>
                      <a:gd name="T10" fmla="*/ 0 60000 65536"/>
                      <a:gd name="T11" fmla="*/ 0 60000 65536"/>
                      <a:gd name="T12" fmla="*/ 0 60000 65536"/>
                      <a:gd name="T13" fmla="*/ 0 60000 65536"/>
                      <a:gd name="T14" fmla="*/ 0 60000 65536"/>
                      <a:gd name="T15" fmla="*/ 0 w 61"/>
                      <a:gd name="T16" fmla="*/ 0 h 45"/>
                      <a:gd name="T17" fmla="*/ 61 w 61"/>
                      <a:gd name="T18" fmla="*/ 45 h 45"/>
                    </a:gdLst>
                    <a:ahLst/>
                    <a:cxnLst>
                      <a:cxn ang="T10">
                        <a:pos x="T0" y="T1"/>
                      </a:cxn>
                      <a:cxn ang="T11">
                        <a:pos x="T2" y="T3"/>
                      </a:cxn>
                      <a:cxn ang="T12">
                        <a:pos x="T4" y="T5"/>
                      </a:cxn>
                      <a:cxn ang="T13">
                        <a:pos x="T6" y="T7"/>
                      </a:cxn>
                      <a:cxn ang="T14">
                        <a:pos x="T8" y="T9"/>
                      </a:cxn>
                    </a:cxnLst>
                    <a:rect l="T15" t="T16" r="T17" b="T18"/>
                    <a:pathLst>
                      <a:path w="61" h="45">
                        <a:moveTo>
                          <a:pt x="0" y="0"/>
                        </a:moveTo>
                        <a:lnTo>
                          <a:pt x="16" y="45"/>
                        </a:lnTo>
                        <a:lnTo>
                          <a:pt x="61" y="39"/>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2" name="Freeform 133">
                    <a:extLst>
                      <a:ext uri="{FF2B5EF4-FFF2-40B4-BE49-F238E27FC236}">
                        <a16:creationId xmlns:a16="http://schemas.microsoft.com/office/drawing/2014/main" id="{9212802F-5315-4A98-AFA5-0954055EAFC4}"/>
                      </a:ext>
                    </a:extLst>
                  </p:cNvPr>
                  <p:cNvSpPr>
                    <a:spLocks/>
                  </p:cNvSpPr>
                  <p:nvPr/>
                </p:nvSpPr>
                <p:spPr bwMode="auto">
                  <a:xfrm>
                    <a:off x="1940852" y="2907608"/>
                    <a:ext cx="899558" cy="971249"/>
                  </a:xfrm>
                  <a:custGeom>
                    <a:avLst/>
                    <a:gdLst>
                      <a:gd name="T0" fmla="*/ 78 w 685"/>
                      <a:gd name="T1" fmla="*/ 83 h 725"/>
                      <a:gd name="T2" fmla="*/ 74 w 685"/>
                      <a:gd name="T3" fmla="*/ 117 h 725"/>
                      <a:gd name="T4" fmla="*/ 51 w 685"/>
                      <a:gd name="T5" fmla="*/ 172 h 725"/>
                      <a:gd name="T6" fmla="*/ 0 w 685"/>
                      <a:gd name="T7" fmla="*/ 233 h 725"/>
                      <a:gd name="T8" fmla="*/ 55 w 685"/>
                      <a:gd name="T9" fmla="*/ 284 h 725"/>
                      <a:gd name="T10" fmla="*/ 96 w 685"/>
                      <a:gd name="T11" fmla="*/ 312 h 725"/>
                      <a:gd name="T12" fmla="*/ 167 w 685"/>
                      <a:gd name="T13" fmla="*/ 329 h 725"/>
                      <a:gd name="T14" fmla="*/ 256 w 685"/>
                      <a:gd name="T15" fmla="*/ 402 h 725"/>
                      <a:gd name="T16" fmla="*/ 307 w 685"/>
                      <a:gd name="T17" fmla="*/ 450 h 725"/>
                      <a:gd name="T18" fmla="*/ 307 w 685"/>
                      <a:gd name="T19" fmla="*/ 491 h 725"/>
                      <a:gd name="T20" fmla="*/ 346 w 685"/>
                      <a:gd name="T21" fmla="*/ 540 h 725"/>
                      <a:gd name="T22" fmla="*/ 368 w 685"/>
                      <a:gd name="T23" fmla="*/ 591 h 725"/>
                      <a:gd name="T24" fmla="*/ 384 w 685"/>
                      <a:gd name="T25" fmla="*/ 631 h 725"/>
                      <a:gd name="T26" fmla="*/ 340 w 685"/>
                      <a:gd name="T27" fmla="*/ 674 h 725"/>
                      <a:gd name="T28" fmla="*/ 451 w 685"/>
                      <a:gd name="T29" fmla="*/ 658 h 725"/>
                      <a:gd name="T30" fmla="*/ 461 w 685"/>
                      <a:gd name="T31" fmla="*/ 597 h 725"/>
                      <a:gd name="T32" fmla="*/ 579 w 685"/>
                      <a:gd name="T33" fmla="*/ 536 h 725"/>
                      <a:gd name="T34" fmla="*/ 612 w 685"/>
                      <a:gd name="T35" fmla="*/ 446 h 725"/>
                      <a:gd name="T36" fmla="*/ 612 w 685"/>
                      <a:gd name="T37" fmla="*/ 351 h 725"/>
                      <a:gd name="T38" fmla="*/ 640 w 685"/>
                      <a:gd name="T39" fmla="*/ 318 h 725"/>
                      <a:gd name="T40" fmla="*/ 685 w 685"/>
                      <a:gd name="T41" fmla="*/ 233 h 725"/>
                      <a:gd name="T42" fmla="*/ 646 w 685"/>
                      <a:gd name="T43" fmla="*/ 189 h 725"/>
                      <a:gd name="T44" fmla="*/ 528 w 685"/>
                      <a:gd name="T45" fmla="*/ 144 h 725"/>
                      <a:gd name="T46" fmla="*/ 518 w 685"/>
                      <a:gd name="T47" fmla="*/ 134 h 725"/>
                      <a:gd name="T48" fmla="*/ 474 w 685"/>
                      <a:gd name="T49" fmla="*/ 117 h 725"/>
                      <a:gd name="T50" fmla="*/ 435 w 685"/>
                      <a:gd name="T51" fmla="*/ 134 h 725"/>
                      <a:gd name="T52" fmla="*/ 435 w 685"/>
                      <a:gd name="T53" fmla="*/ 122 h 725"/>
                      <a:gd name="T54" fmla="*/ 413 w 685"/>
                      <a:gd name="T55" fmla="*/ 95 h 725"/>
                      <a:gd name="T56" fmla="*/ 374 w 685"/>
                      <a:gd name="T57" fmla="*/ 122 h 725"/>
                      <a:gd name="T58" fmla="*/ 394 w 685"/>
                      <a:gd name="T59" fmla="*/ 16 h 725"/>
                      <a:gd name="T60" fmla="*/ 340 w 685"/>
                      <a:gd name="T61" fmla="*/ 44 h 725"/>
                      <a:gd name="T62" fmla="*/ 240 w 685"/>
                      <a:gd name="T63" fmla="*/ 44 h 725"/>
                      <a:gd name="T64" fmla="*/ 234 w 685"/>
                      <a:gd name="T65" fmla="*/ 0 h 725"/>
                      <a:gd name="T66" fmla="*/ 157 w 685"/>
                      <a:gd name="T67" fmla="*/ 16 h 725"/>
                      <a:gd name="T68" fmla="*/ 139 w 685"/>
                      <a:gd name="T69" fmla="*/ 83 h 725"/>
                      <a:gd name="T70" fmla="*/ 74 w 685"/>
                      <a:gd name="T71" fmla="*/ 73 h 7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85"/>
                      <a:gd name="T109" fmla="*/ 0 h 725"/>
                      <a:gd name="T110" fmla="*/ 685 w 685"/>
                      <a:gd name="T111" fmla="*/ 725 h 7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85" h="725">
                        <a:moveTo>
                          <a:pt x="74" y="73"/>
                        </a:moveTo>
                        <a:lnTo>
                          <a:pt x="78" y="83"/>
                        </a:lnTo>
                        <a:lnTo>
                          <a:pt x="55" y="95"/>
                        </a:lnTo>
                        <a:lnTo>
                          <a:pt x="74" y="117"/>
                        </a:lnTo>
                        <a:lnTo>
                          <a:pt x="67" y="178"/>
                        </a:lnTo>
                        <a:lnTo>
                          <a:pt x="51" y="172"/>
                        </a:lnTo>
                        <a:lnTo>
                          <a:pt x="23" y="189"/>
                        </a:lnTo>
                        <a:lnTo>
                          <a:pt x="0" y="233"/>
                        </a:lnTo>
                        <a:lnTo>
                          <a:pt x="29" y="290"/>
                        </a:lnTo>
                        <a:lnTo>
                          <a:pt x="55" y="284"/>
                        </a:lnTo>
                        <a:lnTo>
                          <a:pt x="61" y="312"/>
                        </a:lnTo>
                        <a:lnTo>
                          <a:pt x="96" y="312"/>
                        </a:lnTo>
                        <a:lnTo>
                          <a:pt x="139" y="284"/>
                        </a:lnTo>
                        <a:lnTo>
                          <a:pt x="167" y="329"/>
                        </a:lnTo>
                        <a:lnTo>
                          <a:pt x="240" y="357"/>
                        </a:lnTo>
                        <a:lnTo>
                          <a:pt x="256" y="402"/>
                        </a:lnTo>
                        <a:lnTo>
                          <a:pt x="285" y="406"/>
                        </a:lnTo>
                        <a:lnTo>
                          <a:pt x="307" y="450"/>
                        </a:lnTo>
                        <a:lnTo>
                          <a:pt x="295" y="473"/>
                        </a:lnTo>
                        <a:lnTo>
                          <a:pt x="307" y="491"/>
                        </a:lnTo>
                        <a:lnTo>
                          <a:pt x="307" y="513"/>
                        </a:lnTo>
                        <a:lnTo>
                          <a:pt x="346" y="540"/>
                        </a:lnTo>
                        <a:lnTo>
                          <a:pt x="362" y="546"/>
                        </a:lnTo>
                        <a:lnTo>
                          <a:pt x="368" y="591"/>
                        </a:lnTo>
                        <a:lnTo>
                          <a:pt x="384" y="591"/>
                        </a:lnTo>
                        <a:lnTo>
                          <a:pt x="384" y="631"/>
                        </a:lnTo>
                        <a:lnTo>
                          <a:pt x="340" y="664"/>
                        </a:lnTo>
                        <a:lnTo>
                          <a:pt x="340" y="674"/>
                        </a:lnTo>
                        <a:lnTo>
                          <a:pt x="423" y="725"/>
                        </a:lnTo>
                        <a:lnTo>
                          <a:pt x="451" y="658"/>
                        </a:lnTo>
                        <a:lnTo>
                          <a:pt x="474" y="641"/>
                        </a:lnTo>
                        <a:lnTo>
                          <a:pt x="461" y="597"/>
                        </a:lnTo>
                        <a:lnTo>
                          <a:pt x="518" y="552"/>
                        </a:lnTo>
                        <a:lnTo>
                          <a:pt x="579" y="536"/>
                        </a:lnTo>
                        <a:lnTo>
                          <a:pt x="612" y="463"/>
                        </a:lnTo>
                        <a:lnTo>
                          <a:pt x="612" y="446"/>
                        </a:lnTo>
                        <a:lnTo>
                          <a:pt x="624" y="434"/>
                        </a:lnTo>
                        <a:lnTo>
                          <a:pt x="612" y="351"/>
                        </a:lnTo>
                        <a:lnTo>
                          <a:pt x="640" y="339"/>
                        </a:lnTo>
                        <a:lnTo>
                          <a:pt x="640" y="318"/>
                        </a:lnTo>
                        <a:lnTo>
                          <a:pt x="679" y="272"/>
                        </a:lnTo>
                        <a:lnTo>
                          <a:pt x="685" y="233"/>
                        </a:lnTo>
                        <a:lnTo>
                          <a:pt x="669" y="189"/>
                        </a:lnTo>
                        <a:lnTo>
                          <a:pt x="646" y="189"/>
                        </a:lnTo>
                        <a:lnTo>
                          <a:pt x="606" y="150"/>
                        </a:lnTo>
                        <a:lnTo>
                          <a:pt x="528" y="144"/>
                        </a:lnTo>
                        <a:lnTo>
                          <a:pt x="518" y="156"/>
                        </a:lnTo>
                        <a:lnTo>
                          <a:pt x="518" y="134"/>
                        </a:lnTo>
                        <a:lnTo>
                          <a:pt x="490" y="117"/>
                        </a:lnTo>
                        <a:lnTo>
                          <a:pt x="474" y="117"/>
                        </a:lnTo>
                        <a:lnTo>
                          <a:pt x="457" y="105"/>
                        </a:lnTo>
                        <a:lnTo>
                          <a:pt x="435" y="134"/>
                        </a:lnTo>
                        <a:lnTo>
                          <a:pt x="407" y="128"/>
                        </a:lnTo>
                        <a:lnTo>
                          <a:pt x="435" y="122"/>
                        </a:lnTo>
                        <a:lnTo>
                          <a:pt x="451" y="99"/>
                        </a:lnTo>
                        <a:lnTo>
                          <a:pt x="413" y="95"/>
                        </a:lnTo>
                        <a:lnTo>
                          <a:pt x="394" y="117"/>
                        </a:lnTo>
                        <a:lnTo>
                          <a:pt x="374" y="122"/>
                        </a:lnTo>
                        <a:lnTo>
                          <a:pt x="423" y="73"/>
                        </a:lnTo>
                        <a:lnTo>
                          <a:pt x="394" y="16"/>
                        </a:lnTo>
                        <a:lnTo>
                          <a:pt x="368" y="50"/>
                        </a:lnTo>
                        <a:lnTo>
                          <a:pt x="340" y="44"/>
                        </a:lnTo>
                        <a:lnTo>
                          <a:pt x="262" y="67"/>
                        </a:lnTo>
                        <a:lnTo>
                          <a:pt x="240" y="44"/>
                        </a:lnTo>
                        <a:lnTo>
                          <a:pt x="250" y="22"/>
                        </a:lnTo>
                        <a:lnTo>
                          <a:pt x="234" y="0"/>
                        </a:lnTo>
                        <a:lnTo>
                          <a:pt x="195" y="28"/>
                        </a:lnTo>
                        <a:lnTo>
                          <a:pt x="157" y="16"/>
                        </a:lnTo>
                        <a:lnTo>
                          <a:pt x="173" y="61"/>
                        </a:lnTo>
                        <a:lnTo>
                          <a:pt x="139" y="83"/>
                        </a:lnTo>
                        <a:lnTo>
                          <a:pt x="112" y="61"/>
                        </a:lnTo>
                        <a:lnTo>
                          <a:pt x="74" y="7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3" name="Freeform 135">
                    <a:extLst>
                      <a:ext uri="{FF2B5EF4-FFF2-40B4-BE49-F238E27FC236}">
                        <a16:creationId xmlns:a16="http://schemas.microsoft.com/office/drawing/2014/main" id="{6CF87FC9-B2F9-47D5-80DD-031C4FE3C60F}"/>
                      </a:ext>
                    </a:extLst>
                  </p:cNvPr>
                  <p:cNvSpPr>
                    <a:spLocks/>
                  </p:cNvSpPr>
                  <p:nvPr/>
                </p:nvSpPr>
                <p:spPr bwMode="auto">
                  <a:xfrm>
                    <a:off x="2235014" y="3535906"/>
                    <a:ext cx="189104" cy="208986"/>
                  </a:xfrm>
                  <a:custGeom>
                    <a:avLst/>
                    <a:gdLst>
                      <a:gd name="T0" fmla="*/ 138 w 144"/>
                      <a:gd name="T1" fmla="*/ 77 h 156"/>
                      <a:gd name="T2" fmla="*/ 122 w 144"/>
                      <a:gd name="T3" fmla="*/ 71 h 156"/>
                      <a:gd name="T4" fmla="*/ 83 w 144"/>
                      <a:gd name="T5" fmla="*/ 44 h 156"/>
                      <a:gd name="T6" fmla="*/ 83 w 144"/>
                      <a:gd name="T7" fmla="*/ 22 h 156"/>
                      <a:gd name="T8" fmla="*/ 71 w 144"/>
                      <a:gd name="T9" fmla="*/ 4 h 156"/>
                      <a:gd name="T10" fmla="*/ 45 w 144"/>
                      <a:gd name="T11" fmla="*/ 0 h 156"/>
                      <a:gd name="T12" fmla="*/ 4 w 144"/>
                      <a:gd name="T13" fmla="*/ 10 h 156"/>
                      <a:gd name="T14" fmla="*/ 0 w 144"/>
                      <a:gd name="T15" fmla="*/ 48 h 156"/>
                      <a:gd name="T16" fmla="*/ 26 w 144"/>
                      <a:gd name="T17" fmla="*/ 89 h 156"/>
                      <a:gd name="T18" fmla="*/ 87 w 144"/>
                      <a:gd name="T19" fmla="*/ 111 h 156"/>
                      <a:gd name="T20" fmla="*/ 71 w 144"/>
                      <a:gd name="T21" fmla="*/ 138 h 156"/>
                      <a:gd name="T22" fmla="*/ 87 w 144"/>
                      <a:gd name="T23" fmla="*/ 150 h 156"/>
                      <a:gd name="T24" fmla="*/ 122 w 144"/>
                      <a:gd name="T25" fmla="*/ 156 h 156"/>
                      <a:gd name="T26" fmla="*/ 144 w 144"/>
                      <a:gd name="T27" fmla="*/ 138 h 156"/>
                      <a:gd name="T28" fmla="*/ 144 w 144"/>
                      <a:gd name="T29" fmla="*/ 122 h 156"/>
                      <a:gd name="T30" fmla="*/ 138 w 144"/>
                      <a:gd name="T31" fmla="*/ 77 h 156"/>
                      <a:gd name="T32" fmla="*/ 138 w 144"/>
                      <a:gd name="T33" fmla="*/ 77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4"/>
                      <a:gd name="T52" fmla="*/ 0 h 156"/>
                      <a:gd name="T53" fmla="*/ 144 w 144"/>
                      <a:gd name="T54" fmla="*/ 156 h 15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4" h="156">
                        <a:moveTo>
                          <a:pt x="138" y="77"/>
                        </a:moveTo>
                        <a:lnTo>
                          <a:pt x="122" y="71"/>
                        </a:lnTo>
                        <a:lnTo>
                          <a:pt x="83" y="44"/>
                        </a:lnTo>
                        <a:lnTo>
                          <a:pt x="83" y="22"/>
                        </a:lnTo>
                        <a:lnTo>
                          <a:pt x="71" y="4"/>
                        </a:lnTo>
                        <a:lnTo>
                          <a:pt x="45" y="0"/>
                        </a:lnTo>
                        <a:lnTo>
                          <a:pt x="4" y="10"/>
                        </a:lnTo>
                        <a:lnTo>
                          <a:pt x="0" y="48"/>
                        </a:lnTo>
                        <a:lnTo>
                          <a:pt x="26" y="89"/>
                        </a:lnTo>
                        <a:lnTo>
                          <a:pt x="87" y="111"/>
                        </a:lnTo>
                        <a:lnTo>
                          <a:pt x="71" y="138"/>
                        </a:lnTo>
                        <a:lnTo>
                          <a:pt x="87" y="150"/>
                        </a:lnTo>
                        <a:lnTo>
                          <a:pt x="122" y="156"/>
                        </a:lnTo>
                        <a:lnTo>
                          <a:pt x="144" y="138"/>
                        </a:lnTo>
                        <a:lnTo>
                          <a:pt x="144" y="122"/>
                        </a:lnTo>
                        <a:lnTo>
                          <a:pt x="138" y="7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4" name="Freeform 136">
                    <a:extLst>
                      <a:ext uri="{FF2B5EF4-FFF2-40B4-BE49-F238E27FC236}">
                        <a16:creationId xmlns:a16="http://schemas.microsoft.com/office/drawing/2014/main" id="{91A7F4EA-C70E-4585-A380-68E412DFC5BA}"/>
                      </a:ext>
                    </a:extLst>
                  </p:cNvPr>
                  <p:cNvSpPr>
                    <a:spLocks/>
                  </p:cNvSpPr>
                  <p:nvPr/>
                </p:nvSpPr>
                <p:spPr bwMode="auto">
                  <a:xfrm>
                    <a:off x="1963177" y="2736132"/>
                    <a:ext cx="292848" cy="282667"/>
                  </a:xfrm>
                  <a:custGeom>
                    <a:avLst/>
                    <a:gdLst>
                      <a:gd name="T0" fmla="*/ 144 w 223"/>
                      <a:gd name="T1" fmla="*/ 22 h 211"/>
                      <a:gd name="T2" fmla="*/ 150 w 223"/>
                      <a:gd name="T3" fmla="*/ 28 h 211"/>
                      <a:gd name="T4" fmla="*/ 134 w 223"/>
                      <a:gd name="T5" fmla="*/ 38 h 211"/>
                      <a:gd name="T6" fmla="*/ 118 w 223"/>
                      <a:gd name="T7" fmla="*/ 28 h 211"/>
                      <a:gd name="T8" fmla="*/ 79 w 223"/>
                      <a:gd name="T9" fmla="*/ 28 h 211"/>
                      <a:gd name="T10" fmla="*/ 73 w 223"/>
                      <a:gd name="T11" fmla="*/ 10 h 211"/>
                      <a:gd name="T12" fmla="*/ 44 w 223"/>
                      <a:gd name="T13" fmla="*/ 0 h 211"/>
                      <a:gd name="T14" fmla="*/ 44 w 223"/>
                      <a:gd name="T15" fmla="*/ 10 h 211"/>
                      <a:gd name="T16" fmla="*/ 34 w 223"/>
                      <a:gd name="T17" fmla="*/ 22 h 211"/>
                      <a:gd name="T18" fmla="*/ 38 w 223"/>
                      <a:gd name="T19" fmla="*/ 61 h 211"/>
                      <a:gd name="T20" fmla="*/ 18 w 223"/>
                      <a:gd name="T21" fmla="*/ 49 h 211"/>
                      <a:gd name="T22" fmla="*/ 18 w 223"/>
                      <a:gd name="T23" fmla="*/ 28 h 211"/>
                      <a:gd name="T24" fmla="*/ 28 w 223"/>
                      <a:gd name="T25" fmla="*/ 0 h 211"/>
                      <a:gd name="T26" fmla="*/ 0 w 223"/>
                      <a:gd name="T27" fmla="*/ 28 h 211"/>
                      <a:gd name="T28" fmla="*/ 0 w 223"/>
                      <a:gd name="T29" fmla="*/ 67 h 211"/>
                      <a:gd name="T30" fmla="*/ 44 w 223"/>
                      <a:gd name="T31" fmla="*/ 93 h 211"/>
                      <a:gd name="T32" fmla="*/ 57 w 223"/>
                      <a:gd name="T33" fmla="*/ 111 h 211"/>
                      <a:gd name="T34" fmla="*/ 95 w 223"/>
                      <a:gd name="T35" fmla="*/ 105 h 211"/>
                      <a:gd name="T36" fmla="*/ 89 w 223"/>
                      <a:gd name="T37" fmla="*/ 128 h 211"/>
                      <a:gd name="T38" fmla="*/ 95 w 223"/>
                      <a:gd name="T39" fmla="*/ 160 h 211"/>
                      <a:gd name="T40" fmla="*/ 95 w 223"/>
                      <a:gd name="T41" fmla="*/ 189 h 211"/>
                      <a:gd name="T42" fmla="*/ 122 w 223"/>
                      <a:gd name="T43" fmla="*/ 211 h 211"/>
                      <a:gd name="T44" fmla="*/ 156 w 223"/>
                      <a:gd name="T45" fmla="*/ 189 h 211"/>
                      <a:gd name="T46" fmla="*/ 140 w 223"/>
                      <a:gd name="T47" fmla="*/ 144 h 211"/>
                      <a:gd name="T48" fmla="*/ 178 w 223"/>
                      <a:gd name="T49" fmla="*/ 156 h 211"/>
                      <a:gd name="T50" fmla="*/ 217 w 223"/>
                      <a:gd name="T51" fmla="*/ 128 h 211"/>
                      <a:gd name="T52" fmla="*/ 201 w 223"/>
                      <a:gd name="T53" fmla="*/ 105 h 211"/>
                      <a:gd name="T54" fmla="*/ 217 w 223"/>
                      <a:gd name="T55" fmla="*/ 93 h 211"/>
                      <a:gd name="T56" fmla="*/ 223 w 223"/>
                      <a:gd name="T57" fmla="*/ 67 h 211"/>
                      <a:gd name="T58" fmla="*/ 207 w 223"/>
                      <a:gd name="T59" fmla="*/ 44 h 211"/>
                      <a:gd name="T60" fmla="*/ 195 w 223"/>
                      <a:gd name="T61" fmla="*/ 49 h 211"/>
                      <a:gd name="T62" fmla="*/ 178 w 223"/>
                      <a:gd name="T63" fmla="*/ 32 h 211"/>
                      <a:gd name="T64" fmla="*/ 185 w 223"/>
                      <a:gd name="T65" fmla="*/ 22 h 211"/>
                      <a:gd name="T66" fmla="*/ 144 w 223"/>
                      <a:gd name="T67" fmla="*/ 22 h 211"/>
                      <a:gd name="T68" fmla="*/ 144 w 223"/>
                      <a:gd name="T69" fmla="*/ 22 h 21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3"/>
                      <a:gd name="T106" fmla="*/ 0 h 211"/>
                      <a:gd name="T107" fmla="*/ 223 w 223"/>
                      <a:gd name="T108" fmla="*/ 211 h 21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3" h="211">
                        <a:moveTo>
                          <a:pt x="144" y="22"/>
                        </a:moveTo>
                        <a:lnTo>
                          <a:pt x="150" y="28"/>
                        </a:lnTo>
                        <a:lnTo>
                          <a:pt x="134" y="38"/>
                        </a:lnTo>
                        <a:lnTo>
                          <a:pt x="118" y="28"/>
                        </a:lnTo>
                        <a:lnTo>
                          <a:pt x="79" y="28"/>
                        </a:lnTo>
                        <a:lnTo>
                          <a:pt x="73" y="10"/>
                        </a:lnTo>
                        <a:lnTo>
                          <a:pt x="44" y="0"/>
                        </a:lnTo>
                        <a:lnTo>
                          <a:pt x="44" y="10"/>
                        </a:lnTo>
                        <a:lnTo>
                          <a:pt x="34" y="22"/>
                        </a:lnTo>
                        <a:lnTo>
                          <a:pt x="38" y="61"/>
                        </a:lnTo>
                        <a:lnTo>
                          <a:pt x="18" y="49"/>
                        </a:lnTo>
                        <a:lnTo>
                          <a:pt x="18" y="28"/>
                        </a:lnTo>
                        <a:lnTo>
                          <a:pt x="28" y="0"/>
                        </a:lnTo>
                        <a:lnTo>
                          <a:pt x="0" y="28"/>
                        </a:lnTo>
                        <a:lnTo>
                          <a:pt x="0" y="67"/>
                        </a:lnTo>
                        <a:lnTo>
                          <a:pt x="44" y="93"/>
                        </a:lnTo>
                        <a:lnTo>
                          <a:pt x="57" y="111"/>
                        </a:lnTo>
                        <a:lnTo>
                          <a:pt x="95" y="105"/>
                        </a:lnTo>
                        <a:lnTo>
                          <a:pt x="89" y="128"/>
                        </a:lnTo>
                        <a:lnTo>
                          <a:pt x="95" y="160"/>
                        </a:lnTo>
                        <a:lnTo>
                          <a:pt x="95" y="189"/>
                        </a:lnTo>
                        <a:lnTo>
                          <a:pt x="122" y="211"/>
                        </a:lnTo>
                        <a:lnTo>
                          <a:pt x="156" y="189"/>
                        </a:lnTo>
                        <a:lnTo>
                          <a:pt x="140" y="144"/>
                        </a:lnTo>
                        <a:lnTo>
                          <a:pt x="178" y="156"/>
                        </a:lnTo>
                        <a:lnTo>
                          <a:pt x="217" y="128"/>
                        </a:lnTo>
                        <a:lnTo>
                          <a:pt x="201" y="105"/>
                        </a:lnTo>
                        <a:lnTo>
                          <a:pt x="217" y="93"/>
                        </a:lnTo>
                        <a:lnTo>
                          <a:pt x="223" y="67"/>
                        </a:lnTo>
                        <a:lnTo>
                          <a:pt x="207" y="44"/>
                        </a:lnTo>
                        <a:lnTo>
                          <a:pt x="195" y="49"/>
                        </a:lnTo>
                        <a:lnTo>
                          <a:pt x="178" y="32"/>
                        </a:lnTo>
                        <a:lnTo>
                          <a:pt x="185" y="22"/>
                        </a:lnTo>
                        <a:lnTo>
                          <a:pt x="144"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5" name="Freeform 137">
                    <a:extLst>
                      <a:ext uri="{FF2B5EF4-FFF2-40B4-BE49-F238E27FC236}">
                        <a16:creationId xmlns:a16="http://schemas.microsoft.com/office/drawing/2014/main" id="{83EEE94E-B543-4A51-B9DA-6AB5D153D6B9}"/>
                      </a:ext>
                    </a:extLst>
                  </p:cNvPr>
                  <p:cNvSpPr>
                    <a:spLocks/>
                  </p:cNvSpPr>
                  <p:nvPr/>
                </p:nvSpPr>
                <p:spPr bwMode="auto">
                  <a:xfrm>
                    <a:off x="2387348" y="2884834"/>
                    <a:ext cx="70914" cy="89757"/>
                  </a:xfrm>
                  <a:custGeom>
                    <a:avLst/>
                    <a:gdLst>
                      <a:gd name="T0" fmla="*/ 0 w 54"/>
                      <a:gd name="T1" fmla="*/ 61 h 67"/>
                      <a:gd name="T2" fmla="*/ 28 w 54"/>
                      <a:gd name="T3" fmla="*/ 67 h 67"/>
                      <a:gd name="T4" fmla="*/ 54 w 54"/>
                      <a:gd name="T5" fmla="*/ 33 h 67"/>
                      <a:gd name="T6" fmla="*/ 12 w 54"/>
                      <a:gd name="T7" fmla="*/ 0 h 67"/>
                      <a:gd name="T8" fmla="*/ 0 w 54"/>
                      <a:gd name="T9" fmla="*/ 61 h 67"/>
                      <a:gd name="T10" fmla="*/ 0 w 54"/>
                      <a:gd name="T11" fmla="*/ 61 h 67"/>
                      <a:gd name="T12" fmla="*/ 0 60000 65536"/>
                      <a:gd name="T13" fmla="*/ 0 60000 65536"/>
                      <a:gd name="T14" fmla="*/ 0 60000 65536"/>
                      <a:gd name="T15" fmla="*/ 0 60000 65536"/>
                      <a:gd name="T16" fmla="*/ 0 60000 65536"/>
                      <a:gd name="T17" fmla="*/ 0 60000 65536"/>
                      <a:gd name="T18" fmla="*/ 0 w 54"/>
                      <a:gd name="T19" fmla="*/ 0 h 67"/>
                      <a:gd name="T20" fmla="*/ 54 w 54"/>
                      <a:gd name="T21" fmla="*/ 67 h 67"/>
                    </a:gdLst>
                    <a:ahLst/>
                    <a:cxnLst>
                      <a:cxn ang="T12">
                        <a:pos x="T0" y="T1"/>
                      </a:cxn>
                      <a:cxn ang="T13">
                        <a:pos x="T2" y="T3"/>
                      </a:cxn>
                      <a:cxn ang="T14">
                        <a:pos x="T4" y="T5"/>
                      </a:cxn>
                      <a:cxn ang="T15">
                        <a:pos x="T6" y="T7"/>
                      </a:cxn>
                      <a:cxn ang="T16">
                        <a:pos x="T8" y="T9"/>
                      </a:cxn>
                      <a:cxn ang="T17">
                        <a:pos x="T10" y="T11"/>
                      </a:cxn>
                    </a:cxnLst>
                    <a:rect l="T18" t="T19" r="T20" b="T21"/>
                    <a:pathLst>
                      <a:path w="54" h="67">
                        <a:moveTo>
                          <a:pt x="0" y="61"/>
                        </a:moveTo>
                        <a:lnTo>
                          <a:pt x="28" y="67"/>
                        </a:lnTo>
                        <a:lnTo>
                          <a:pt x="54" y="33"/>
                        </a:lnTo>
                        <a:lnTo>
                          <a:pt x="12" y="0"/>
                        </a:lnTo>
                        <a:lnTo>
                          <a:pt x="0" y="61"/>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6" name="Freeform 138">
                    <a:extLst>
                      <a:ext uri="{FF2B5EF4-FFF2-40B4-BE49-F238E27FC236}">
                        <a16:creationId xmlns:a16="http://schemas.microsoft.com/office/drawing/2014/main" id="{5315AF0C-CFA0-4E40-9B72-44F07565B6FB}"/>
                      </a:ext>
                    </a:extLst>
                  </p:cNvPr>
                  <p:cNvSpPr>
                    <a:spLocks/>
                  </p:cNvSpPr>
                  <p:nvPr/>
                </p:nvSpPr>
                <p:spPr bwMode="auto">
                  <a:xfrm>
                    <a:off x="2315120" y="2884834"/>
                    <a:ext cx="87986" cy="96455"/>
                  </a:xfrm>
                  <a:custGeom>
                    <a:avLst/>
                    <a:gdLst>
                      <a:gd name="T0" fmla="*/ 67 w 67"/>
                      <a:gd name="T1" fmla="*/ 0 h 72"/>
                      <a:gd name="T2" fmla="*/ 6 w 67"/>
                      <a:gd name="T3" fmla="*/ 0 h 72"/>
                      <a:gd name="T4" fmla="*/ 0 w 67"/>
                      <a:gd name="T5" fmla="*/ 33 h 72"/>
                      <a:gd name="T6" fmla="*/ 22 w 67"/>
                      <a:gd name="T7" fmla="*/ 72 h 72"/>
                      <a:gd name="T8" fmla="*/ 55 w 67"/>
                      <a:gd name="T9" fmla="*/ 61 h 72"/>
                      <a:gd name="T10" fmla="*/ 67 w 67"/>
                      <a:gd name="T11" fmla="*/ 0 h 72"/>
                      <a:gd name="T12" fmla="*/ 67 w 67"/>
                      <a:gd name="T13" fmla="*/ 0 h 72"/>
                      <a:gd name="T14" fmla="*/ 0 60000 65536"/>
                      <a:gd name="T15" fmla="*/ 0 60000 65536"/>
                      <a:gd name="T16" fmla="*/ 0 60000 65536"/>
                      <a:gd name="T17" fmla="*/ 0 60000 65536"/>
                      <a:gd name="T18" fmla="*/ 0 60000 65536"/>
                      <a:gd name="T19" fmla="*/ 0 60000 65536"/>
                      <a:gd name="T20" fmla="*/ 0 60000 65536"/>
                      <a:gd name="T21" fmla="*/ 0 w 67"/>
                      <a:gd name="T22" fmla="*/ 0 h 72"/>
                      <a:gd name="T23" fmla="*/ 67 w 67"/>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72">
                        <a:moveTo>
                          <a:pt x="67" y="0"/>
                        </a:moveTo>
                        <a:lnTo>
                          <a:pt x="6" y="0"/>
                        </a:lnTo>
                        <a:lnTo>
                          <a:pt x="0" y="33"/>
                        </a:lnTo>
                        <a:lnTo>
                          <a:pt x="22" y="72"/>
                        </a:lnTo>
                        <a:lnTo>
                          <a:pt x="55" y="61"/>
                        </a:lnTo>
                        <a:lnTo>
                          <a:pt x="6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7" name="Freeform 139">
                    <a:extLst>
                      <a:ext uri="{FF2B5EF4-FFF2-40B4-BE49-F238E27FC236}">
                        <a16:creationId xmlns:a16="http://schemas.microsoft.com/office/drawing/2014/main" id="{67B7FBB0-FD0F-456E-B60D-AC683FBCBC9E}"/>
                      </a:ext>
                    </a:extLst>
                  </p:cNvPr>
                  <p:cNvSpPr>
                    <a:spLocks/>
                  </p:cNvSpPr>
                  <p:nvPr/>
                </p:nvSpPr>
                <p:spPr bwMode="auto">
                  <a:xfrm>
                    <a:off x="2227134" y="2825889"/>
                    <a:ext cx="116877" cy="171476"/>
                  </a:xfrm>
                  <a:custGeom>
                    <a:avLst/>
                    <a:gdLst>
                      <a:gd name="T0" fmla="*/ 22 w 89"/>
                      <a:gd name="T1" fmla="*/ 0 h 128"/>
                      <a:gd name="T2" fmla="*/ 16 w 89"/>
                      <a:gd name="T3" fmla="*/ 26 h 128"/>
                      <a:gd name="T4" fmla="*/ 0 w 89"/>
                      <a:gd name="T5" fmla="*/ 38 h 128"/>
                      <a:gd name="T6" fmla="*/ 32 w 89"/>
                      <a:gd name="T7" fmla="*/ 83 h 128"/>
                      <a:gd name="T8" fmla="*/ 22 w 89"/>
                      <a:gd name="T9" fmla="*/ 105 h 128"/>
                      <a:gd name="T10" fmla="*/ 44 w 89"/>
                      <a:gd name="T11" fmla="*/ 128 h 128"/>
                      <a:gd name="T12" fmla="*/ 89 w 89"/>
                      <a:gd name="T13" fmla="*/ 116 h 128"/>
                      <a:gd name="T14" fmla="*/ 67 w 89"/>
                      <a:gd name="T15" fmla="*/ 77 h 128"/>
                      <a:gd name="T16" fmla="*/ 73 w 89"/>
                      <a:gd name="T17" fmla="*/ 44 h 128"/>
                      <a:gd name="T18" fmla="*/ 22 w 89"/>
                      <a:gd name="T19" fmla="*/ 0 h 128"/>
                      <a:gd name="T20" fmla="*/ 22 w 89"/>
                      <a:gd name="T21" fmla="*/ 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9"/>
                      <a:gd name="T34" fmla="*/ 0 h 128"/>
                      <a:gd name="T35" fmla="*/ 89 w 89"/>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9" h="128">
                        <a:moveTo>
                          <a:pt x="22" y="0"/>
                        </a:moveTo>
                        <a:lnTo>
                          <a:pt x="16" y="26"/>
                        </a:lnTo>
                        <a:lnTo>
                          <a:pt x="0" y="38"/>
                        </a:lnTo>
                        <a:lnTo>
                          <a:pt x="32" y="83"/>
                        </a:lnTo>
                        <a:lnTo>
                          <a:pt x="22" y="105"/>
                        </a:lnTo>
                        <a:lnTo>
                          <a:pt x="44" y="128"/>
                        </a:lnTo>
                        <a:lnTo>
                          <a:pt x="89" y="116"/>
                        </a:lnTo>
                        <a:lnTo>
                          <a:pt x="67" y="77"/>
                        </a:lnTo>
                        <a:lnTo>
                          <a:pt x="73" y="44"/>
                        </a:lnTo>
                        <a:lnTo>
                          <a:pt x="2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sp>
                <p:nvSpPr>
                  <p:cNvPr id="528" name="Freeform 220">
                    <a:extLst>
                      <a:ext uri="{FF2B5EF4-FFF2-40B4-BE49-F238E27FC236}">
                        <a16:creationId xmlns:a16="http://schemas.microsoft.com/office/drawing/2014/main" id="{62241C24-B4F2-4FBD-AB21-F1EF11D581AE}"/>
                      </a:ext>
                    </a:extLst>
                  </p:cNvPr>
                  <p:cNvSpPr>
                    <a:spLocks/>
                  </p:cNvSpPr>
                  <p:nvPr/>
                </p:nvSpPr>
                <p:spPr bwMode="auto">
                  <a:xfrm rot="15839930">
                    <a:off x="2010867" y="2518969"/>
                    <a:ext cx="52807" cy="78178"/>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25000" noProof="0">
                      <a:ln>
                        <a:noFill/>
                      </a:ln>
                      <a:solidFill>
                        <a:sysClr val="windowText" lastClr="000000"/>
                      </a:solidFill>
                      <a:effectLst/>
                      <a:uLnTx/>
                      <a:uFillTx/>
                      <a:ea typeface="ＭＳ Ｐゴシック"/>
                    </a:endParaRPr>
                  </a:p>
                </p:txBody>
              </p:sp>
            </p:grpSp>
          </p:grpSp>
        </p:grpSp>
        <p:grpSp>
          <p:nvGrpSpPr>
            <p:cNvPr id="407" name="Group 494">
              <a:extLst>
                <a:ext uri="{FF2B5EF4-FFF2-40B4-BE49-F238E27FC236}">
                  <a16:creationId xmlns:a16="http://schemas.microsoft.com/office/drawing/2014/main" id="{A001F01E-D486-4614-BF42-9EAE4EC22BED}"/>
                </a:ext>
              </a:extLst>
            </p:cNvPr>
            <p:cNvGrpSpPr/>
            <p:nvPr/>
          </p:nvGrpSpPr>
          <p:grpSpPr>
            <a:xfrm>
              <a:off x="3146812" y="1133094"/>
              <a:ext cx="4394888" cy="1330493"/>
              <a:chOff x="3092752" y="973285"/>
              <a:chExt cx="4652429" cy="1411881"/>
            </a:xfrm>
            <a:grpFill/>
          </p:grpSpPr>
          <p:grpSp>
            <p:nvGrpSpPr>
              <p:cNvPr id="408" name="Group 414">
                <a:extLst>
                  <a:ext uri="{FF2B5EF4-FFF2-40B4-BE49-F238E27FC236}">
                    <a16:creationId xmlns:a16="http://schemas.microsoft.com/office/drawing/2014/main" id="{E79B81A4-694F-4A03-8BCF-FC5E4F8D737F}"/>
                  </a:ext>
                </a:extLst>
              </p:cNvPr>
              <p:cNvGrpSpPr/>
              <p:nvPr/>
            </p:nvGrpSpPr>
            <p:grpSpPr>
              <a:xfrm>
                <a:off x="4278368" y="1779442"/>
                <a:ext cx="746548" cy="362550"/>
                <a:chOff x="4278368" y="1779442"/>
                <a:chExt cx="746548" cy="362550"/>
              </a:xfrm>
              <a:grpFill/>
            </p:grpSpPr>
            <p:sp>
              <p:nvSpPr>
                <p:cNvPr id="487" name="Freeform 186">
                  <a:extLst>
                    <a:ext uri="{FF2B5EF4-FFF2-40B4-BE49-F238E27FC236}">
                      <a16:creationId xmlns:a16="http://schemas.microsoft.com/office/drawing/2014/main" id="{BB77474B-7B6B-4AE6-AB31-E0156DCF95E3}"/>
                    </a:ext>
                  </a:extLst>
                </p:cNvPr>
                <p:cNvSpPr>
                  <a:spLocks/>
                </p:cNvSpPr>
                <p:nvPr/>
              </p:nvSpPr>
              <p:spPr bwMode="auto">
                <a:xfrm>
                  <a:off x="4786685" y="1990192"/>
                  <a:ext cx="87259" cy="33897"/>
                </a:xfrm>
                <a:custGeom>
                  <a:avLst/>
                  <a:gdLst/>
                  <a:ahLst/>
                  <a:cxnLst>
                    <a:cxn ang="0">
                      <a:pos x="6" y="10"/>
                    </a:cxn>
                    <a:cxn ang="0">
                      <a:pos x="0" y="17"/>
                    </a:cxn>
                    <a:cxn ang="0">
                      <a:pos x="12" y="23"/>
                    </a:cxn>
                    <a:cxn ang="0">
                      <a:pos x="63" y="10"/>
                    </a:cxn>
                    <a:cxn ang="0">
                      <a:pos x="40" y="0"/>
                    </a:cxn>
                    <a:cxn ang="0">
                      <a:pos x="6" y="10"/>
                    </a:cxn>
                    <a:cxn ang="0">
                      <a:pos x="6" y="10"/>
                    </a:cxn>
                  </a:cxnLst>
                  <a:rect l="0" t="0" r="r" b="b"/>
                  <a:pathLst>
                    <a:path w="63" h="23">
                      <a:moveTo>
                        <a:pt x="6" y="10"/>
                      </a:moveTo>
                      <a:lnTo>
                        <a:pt x="0" y="17"/>
                      </a:lnTo>
                      <a:lnTo>
                        <a:pt x="12" y="23"/>
                      </a:lnTo>
                      <a:lnTo>
                        <a:pt x="63" y="10"/>
                      </a:lnTo>
                      <a:lnTo>
                        <a:pt x="40" y="0"/>
                      </a:lnTo>
                      <a:lnTo>
                        <a:pt x="6" y="10"/>
                      </a:lnTo>
                      <a:lnTo>
                        <a:pt x="6"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88" name="Freeform 195">
                  <a:extLst>
                    <a:ext uri="{FF2B5EF4-FFF2-40B4-BE49-F238E27FC236}">
                      <a16:creationId xmlns:a16="http://schemas.microsoft.com/office/drawing/2014/main" id="{33E3A3A7-63B2-4946-BB63-F58C9E92EC60}"/>
                    </a:ext>
                  </a:extLst>
                </p:cNvPr>
                <p:cNvSpPr>
                  <a:spLocks/>
                </p:cNvSpPr>
                <p:nvPr/>
              </p:nvSpPr>
              <p:spPr bwMode="auto">
                <a:xfrm>
                  <a:off x="5002755" y="1891450"/>
                  <a:ext cx="22161" cy="16211"/>
                </a:xfrm>
                <a:custGeom>
                  <a:avLst/>
                  <a:gdLst/>
                  <a:ahLst/>
                  <a:cxnLst>
                    <a:cxn ang="0">
                      <a:pos x="16" y="0"/>
                    </a:cxn>
                    <a:cxn ang="0">
                      <a:pos x="0" y="7"/>
                    </a:cxn>
                    <a:cxn ang="0">
                      <a:pos x="10" y="11"/>
                    </a:cxn>
                    <a:cxn ang="0">
                      <a:pos x="16" y="0"/>
                    </a:cxn>
                    <a:cxn ang="0">
                      <a:pos x="16" y="0"/>
                    </a:cxn>
                  </a:cxnLst>
                  <a:rect l="0" t="0" r="r" b="b"/>
                  <a:pathLst>
                    <a:path w="16" h="11">
                      <a:moveTo>
                        <a:pt x="16" y="0"/>
                      </a:moveTo>
                      <a:lnTo>
                        <a:pt x="0" y="7"/>
                      </a:lnTo>
                      <a:lnTo>
                        <a:pt x="10" y="11"/>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89" name="Freeform 196">
                  <a:extLst>
                    <a:ext uri="{FF2B5EF4-FFF2-40B4-BE49-F238E27FC236}">
                      <a16:creationId xmlns:a16="http://schemas.microsoft.com/office/drawing/2014/main" id="{5C34489B-5B18-4606-995B-4DBA332F5144}"/>
                    </a:ext>
                  </a:extLst>
                </p:cNvPr>
                <p:cNvSpPr>
                  <a:spLocks/>
                </p:cNvSpPr>
                <p:nvPr/>
              </p:nvSpPr>
              <p:spPr bwMode="auto">
                <a:xfrm>
                  <a:off x="4803306" y="1808918"/>
                  <a:ext cx="70638" cy="82532"/>
                </a:xfrm>
                <a:custGeom>
                  <a:avLst/>
                  <a:gdLst/>
                  <a:ahLst/>
                  <a:cxnLst>
                    <a:cxn ang="0">
                      <a:pos x="16" y="0"/>
                    </a:cxn>
                    <a:cxn ang="0">
                      <a:pos x="0" y="6"/>
                    </a:cxn>
                    <a:cxn ang="0">
                      <a:pos x="22" y="28"/>
                    </a:cxn>
                    <a:cxn ang="0">
                      <a:pos x="32" y="56"/>
                    </a:cxn>
                    <a:cxn ang="0">
                      <a:pos x="51" y="34"/>
                    </a:cxn>
                    <a:cxn ang="0">
                      <a:pos x="38" y="12"/>
                    </a:cxn>
                    <a:cxn ang="0">
                      <a:pos x="16" y="0"/>
                    </a:cxn>
                    <a:cxn ang="0">
                      <a:pos x="16" y="0"/>
                    </a:cxn>
                  </a:cxnLst>
                  <a:rect l="0" t="0" r="r" b="b"/>
                  <a:pathLst>
                    <a:path w="51" h="56">
                      <a:moveTo>
                        <a:pt x="16" y="0"/>
                      </a:moveTo>
                      <a:lnTo>
                        <a:pt x="0" y="6"/>
                      </a:lnTo>
                      <a:lnTo>
                        <a:pt x="22" y="28"/>
                      </a:lnTo>
                      <a:lnTo>
                        <a:pt x="32" y="56"/>
                      </a:lnTo>
                      <a:lnTo>
                        <a:pt x="51" y="34"/>
                      </a:lnTo>
                      <a:lnTo>
                        <a:pt x="38" y="12"/>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90" name="Freeform 201">
                  <a:extLst>
                    <a:ext uri="{FF2B5EF4-FFF2-40B4-BE49-F238E27FC236}">
                      <a16:creationId xmlns:a16="http://schemas.microsoft.com/office/drawing/2014/main" id="{66164D36-F4BD-4BF9-A34E-94F0DE39AFB8}"/>
                    </a:ext>
                  </a:extLst>
                </p:cNvPr>
                <p:cNvSpPr>
                  <a:spLocks/>
                </p:cNvSpPr>
                <p:nvPr/>
              </p:nvSpPr>
              <p:spPr bwMode="auto">
                <a:xfrm>
                  <a:off x="4594162" y="1779442"/>
                  <a:ext cx="120501" cy="51582"/>
                </a:xfrm>
                <a:custGeom>
                  <a:avLst/>
                  <a:gdLst>
                    <a:gd name="T0" fmla="*/ 0 w 87"/>
                    <a:gd name="T1" fmla="*/ 16 h 35"/>
                    <a:gd name="T2" fmla="*/ 4 w 87"/>
                    <a:gd name="T3" fmla="*/ 28 h 35"/>
                    <a:gd name="T4" fmla="*/ 20 w 87"/>
                    <a:gd name="T5" fmla="*/ 35 h 35"/>
                    <a:gd name="T6" fmla="*/ 43 w 87"/>
                    <a:gd name="T7" fmla="*/ 24 h 35"/>
                    <a:gd name="T8" fmla="*/ 81 w 87"/>
                    <a:gd name="T9" fmla="*/ 16 h 35"/>
                    <a:gd name="T10" fmla="*/ 87 w 87"/>
                    <a:gd name="T11" fmla="*/ 0 h 35"/>
                    <a:gd name="T12" fmla="*/ 32 w 87"/>
                    <a:gd name="T13" fmla="*/ 0 h 35"/>
                    <a:gd name="T14" fmla="*/ 16 w 87"/>
                    <a:gd name="T15" fmla="*/ 12 h 35"/>
                    <a:gd name="T16" fmla="*/ 0 w 87"/>
                    <a:gd name="T17" fmla="*/ 6 h 35"/>
                    <a:gd name="T18" fmla="*/ 0 w 87"/>
                    <a:gd name="T19" fmla="*/ 16 h 35"/>
                    <a:gd name="T20" fmla="*/ 0 w 87"/>
                    <a:gd name="T21" fmla="*/ 1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35"/>
                    <a:gd name="T35" fmla="*/ 87 w 87"/>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35">
                      <a:moveTo>
                        <a:pt x="0" y="16"/>
                      </a:moveTo>
                      <a:lnTo>
                        <a:pt x="4" y="28"/>
                      </a:lnTo>
                      <a:lnTo>
                        <a:pt x="20" y="35"/>
                      </a:lnTo>
                      <a:lnTo>
                        <a:pt x="43" y="24"/>
                      </a:lnTo>
                      <a:lnTo>
                        <a:pt x="81" y="16"/>
                      </a:lnTo>
                      <a:lnTo>
                        <a:pt x="87" y="0"/>
                      </a:lnTo>
                      <a:lnTo>
                        <a:pt x="32" y="0"/>
                      </a:lnTo>
                      <a:lnTo>
                        <a:pt x="16" y="12"/>
                      </a:lnTo>
                      <a:lnTo>
                        <a:pt x="0" y="6"/>
                      </a:lnTo>
                      <a:lnTo>
                        <a:pt x="0" y="1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1" name="Freeform 202">
                  <a:extLst>
                    <a:ext uri="{FF2B5EF4-FFF2-40B4-BE49-F238E27FC236}">
                      <a16:creationId xmlns:a16="http://schemas.microsoft.com/office/drawing/2014/main" id="{084E3E41-CB61-4FFE-8C28-624ACD016BD1}"/>
                    </a:ext>
                  </a:extLst>
                </p:cNvPr>
                <p:cNvSpPr>
                  <a:spLocks/>
                </p:cNvSpPr>
                <p:nvPr/>
              </p:nvSpPr>
              <p:spPr bwMode="auto">
                <a:xfrm>
                  <a:off x="4577541" y="1803022"/>
                  <a:ext cx="145432" cy="66321"/>
                </a:xfrm>
                <a:custGeom>
                  <a:avLst/>
                  <a:gdLst>
                    <a:gd name="T0" fmla="*/ 105 w 105"/>
                    <a:gd name="T1" fmla="*/ 12 h 45"/>
                    <a:gd name="T2" fmla="*/ 93 w 105"/>
                    <a:gd name="T3" fmla="*/ 0 h 45"/>
                    <a:gd name="T4" fmla="*/ 55 w 105"/>
                    <a:gd name="T5" fmla="*/ 6 h 45"/>
                    <a:gd name="T6" fmla="*/ 32 w 105"/>
                    <a:gd name="T7" fmla="*/ 19 h 45"/>
                    <a:gd name="T8" fmla="*/ 16 w 105"/>
                    <a:gd name="T9" fmla="*/ 12 h 45"/>
                    <a:gd name="T10" fmla="*/ 0 w 105"/>
                    <a:gd name="T11" fmla="*/ 35 h 45"/>
                    <a:gd name="T12" fmla="*/ 12 w 105"/>
                    <a:gd name="T13" fmla="*/ 41 h 45"/>
                    <a:gd name="T14" fmla="*/ 50 w 105"/>
                    <a:gd name="T15" fmla="*/ 45 h 45"/>
                    <a:gd name="T16" fmla="*/ 71 w 105"/>
                    <a:gd name="T17" fmla="*/ 45 h 45"/>
                    <a:gd name="T18" fmla="*/ 105 w 105"/>
                    <a:gd name="T19" fmla="*/ 12 h 45"/>
                    <a:gd name="T20" fmla="*/ 105 w 105"/>
                    <a:gd name="T21" fmla="*/ 12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45"/>
                    <a:gd name="T35" fmla="*/ 105 w 105"/>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45">
                      <a:moveTo>
                        <a:pt x="105" y="12"/>
                      </a:moveTo>
                      <a:lnTo>
                        <a:pt x="93" y="0"/>
                      </a:lnTo>
                      <a:lnTo>
                        <a:pt x="55" y="6"/>
                      </a:lnTo>
                      <a:lnTo>
                        <a:pt x="32" y="19"/>
                      </a:lnTo>
                      <a:lnTo>
                        <a:pt x="16" y="12"/>
                      </a:lnTo>
                      <a:lnTo>
                        <a:pt x="0" y="35"/>
                      </a:lnTo>
                      <a:lnTo>
                        <a:pt x="12" y="41"/>
                      </a:lnTo>
                      <a:lnTo>
                        <a:pt x="50" y="45"/>
                      </a:lnTo>
                      <a:lnTo>
                        <a:pt x="71" y="45"/>
                      </a:lnTo>
                      <a:lnTo>
                        <a:pt x="105"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2" name="Freeform 203">
                  <a:extLst>
                    <a:ext uri="{FF2B5EF4-FFF2-40B4-BE49-F238E27FC236}">
                      <a16:creationId xmlns:a16="http://schemas.microsoft.com/office/drawing/2014/main" id="{08F900B2-E762-4031-B68C-F38214C2D1F4}"/>
                    </a:ext>
                  </a:extLst>
                </p:cNvPr>
                <p:cNvSpPr>
                  <a:spLocks/>
                </p:cNvSpPr>
                <p:nvPr/>
              </p:nvSpPr>
              <p:spPr bwMode="auto">
                <a:xfrm>
                  <a:off x="4678651" y="1811865"/>
                  <a:ext cx="193910" cy="132640"/>
                </a:xfrm>
                <a:custGeom>
                  <a:avLst/>
                  <a:gdLst>
                    <a:gd name="T0" fmla="*/ 38 w 140"/>
                    <a:gd name="T1" fmla="*/ 80 h 90"/>
                    <a:gd name="T2" fmla="*/ 61 w 140"/>
                    <a:gd name="T3" fmla="*/ 90 h 90"/>
                    <a:gd name="T4" fmla="*/ 95 w 140"/>
                    <a:gd name="T5" fmla="*/ 74 h 90"/>
                    <a:gd name="T6" fmla="*/ 128 w 140"/>
                    <a:gd name="T7" fmla="*/ 80 h 90"/>
                    <a:gd name="T8" fmla="*/ 122 w 140"/>
                    <a:gd name="T9" fmla="*/ 67 h 90"/>
                    <a:gd name="T10" fmla="*/ 140 w 140"/>
                    <a:gd name="T11" fmla="*/ 57 h 90"/>
                    <a:gd name="T12" fmla="*/ 122 w 140"/>
                    <a:gd name="T13" fmla="*/ 51 h 90"/>
                    <a:gd name="T14" fmla="*/ 111 w 140"/>
                    <a:gd name="T15" fmla="*/ 23 h 90"/>
                    <a:gd name="T16" fmla="*/ 89 w 140"/>
                    <a:gd name="T17" fmla="*/ 0 h 90"/>
                    <a:gd name="T18" fmla="*/ 73 w 140"/>
                    <a:gd name="T19" fmla="*/ 13 h 90"/>
                    <a:gd name="T20" fmla="*/ 34 w 140"/>
                    <a:gd name="T21" fmla="*/ 6 h 90"/>
                    <a:gd name="T22" fmla="*/ 0 w 140"/>
                    <a:gd name="T23" fmla="*/ 41 h 90"/>
                    <a:gd name="T24" fmla="*/ 38 w 140"/>
                    <a:gd name="T25" fmla="*/ 80 h 90"/>
                    <a:gd name="T26" fmla="*/ 38 w 140"/>
                    <a:gd name="T27" fmla="*/ 80 h 9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0"/>
                    <a:gd name="T43" fmla="*/ 0 h 90"/>
                    <a:gd name="T44" fmla="*/ 140 w 140"/>
                    <a:gd name="T45" fmla="*/ 90 h 9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0" h="90">
                      <a:moveTo>
                        <a:pt x="38" y="80"/>
                      </a:moveTo>
                      <a:lnTo>
                        <a:pt x="61" y="90"/>
                      </a:lnTo>
                      <a:lnTo>
                        <a:pt x="95" y="74"/>
                      </a:lnTo>
                      <a:lnTo>
                        <a:pt x="128" y="80"/>
                      </a:lnTo>
                      <a:lnTo>
                        <a:pt x="122" y="67"/>
                      </a:lnTo>
                      <a:lnTo>
                        <a:pt x="140" y="57"/>
                      </a:lnTo>
                      <a:lnTo>
                        <a:pt x="122" y="51"/>
                      </a:lnTo>
                      <a:lnTo>
                        <a:pt x="111" y="23"/>
                      </a:lnTo>
                      <a:lnTo>
                        <a:pt x="89" y="0"/>
                      </a:lnTo>
                      <a:lnTo>
                        <a:pt x="73" y="13"/>
                      </a:lnTo>
                      <a:lnTo>
                        <a:pt x="34" y="6"/>
                      </a:lnTo>
                      <a:lnTo>
                        <a:pt x="0" y="41"/>
                      </a:lnTo>
                      <a:lnTo>
                        <a:pt x="38" y="8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3" name="Freeform 205">
                  <a:extLst>
                    <a:ext uri="{FF2B5EF4-FFF2-40B4-BE49-F238E27FC236}">
                      <a16:creationId xmlns:a16="http://schemas.microsoft.com/office/drawing/2014/main" id="{CEFD490F-2F78-421A-B636-68D921CCE2E6}"/>
                    </a:ext>
                  </a:extLst>
                </p:cNvPr>
                <p:cNvSpPr>
                  <a:spLocks/>
                </p:cNvSpPr>
                <p:nvPr/>
              </p:nvSpPr>
              <p:spPr bwMode="auto">
                <a:xfrm>
                  <a:off x="4678651" y="1994614"/>
                  <a:ext cx="114961" cy="147378"/>
                </a:xfrm>
                <a:custGeom>
                  <a:avLst/>
                  <a:gdLst>
                    <a:gd name="T0" fmla="*/ 55 w 83"/>
                    <a:gd name="T1" fmla="*/ 33 h 100"/>
                    <a:gd name="T2" fmla="*/ 55 w 83"/>
                    <a:gd name="T3" fmla="*/ 23 h 100"/>
                    <a:gd name="T4" fmla="*/ 77 w 83"/>
                    <a:gd name="T5" fmla="*/ 11 h 100"/>
                    <a:gd name="T6" fmla="*/ 83 w 83"/>
                    <a:gd name="T7" fmla="*/ 4 h 100"/>
                    <a:gd name="T8" fmla="*/ 55 w 83"/>
                    <a:gd name="T9" fmla="*/ 0 h 100"/>
                    <a:gd name="T10" fmla="*/ 16 w 83"/>
                    <a:gd name="T11" fmla="*/ 23 h 100"/>
                    <a:gd name="T12" fmla="*/ 0 w 83"/>
                    <a:gd name="T13" fmla="*/ 39 h 100"/>
                    <a:gd name="T14" fmla="*/ 6 w 83"/>
                    <a:gd name="T15" fmla="*/ 61 h 100"/>
                    <a:gd name="T16" fmla="*/ 22 w 83"/>
                    <a:gd name="T17" fmla="*/ 68 h 100"/>
                    <a:gd name="T18" fmla="*/ 22 w 83"/>
                    <a:gd name="T19" fmla="*/ 96 h 100"/>
                    <a:gd name="T20" fmla="*/ 34 w 83"/>
                    <a:gd name="T21" fmla="*/ 96 h 100"/>
                    <a:gd name="T22" fmla="*/ 38 w 83"/>
                    <a:gd name="T23" fmla="*/ 100 h 100"/>
                    <a:gd name="T24" fmla="*/ 51 w 83"/>
                    <a:gd name="T25" fmla="*/ 90 h 100"/>
                    <a:gd name="T26" fmla="*/ 44 w 83"/>
                    <a:gd name="T27" fmla="*/ 84 h 100"/>
                    <a:gd name="T28" fmla="*/ 51 w 83"/>
                    <a:gd name="T29" fmla="*/ 78 h 100"/>
                    <a:gd name="T30" fmla="*/ 51 w 83"/>
                    <a:gd name="T31" fmla="*/ 45 h 100"/>
                    <a:gd name="T32" fmla="*/ 34 w 83"/>
                    <a:gd name="T33" fmla="*/ 29 h 100"/>
                    <a:gd name="T34" fmla="*/ 55 w 83"/>
                    <a:gd name="T35" fmla="*/ 33 h 100"/>
                    <a:gd name="T36" fmla="*/ 55 w 83"/>
                    <a:gd name="T37" fmla="*/ 33 h 1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3"/>
                    <a:gd name="T58" fmla="*/ 0 h 100"/>
                    <a:gd name="T59" fmla="*/ 83 w 83"/>
                    <a:gd name="T60" fmla="*/ 100 h 1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3" h="100">
                      <a:moveTo>
                        <a:pt x="55" y="33"/>
                      </a:moveTo>
                      <a:lnTo>
                        <a:pt x="55" y="23"/>
                      </a:lnTo>
                      <a:lnTo>
                        <a:pt x="77" y="11"/>
                      </a:lnTo>
                      <a:lnTo>
                        <a:pt x="83" y="4"/>
                      </a:lnTo>
                      <a:lnTo>
                        <a:pt x="55" y="0"/>
                      </a:lnTo>
                      <a:lnTo>
                        <a:pt x="16" y="23"/>
                      </a:lnTo>
                      <a:lnTo>
                        <a:pt x="0" y="39"/>
                      </a:lnTo>
                      <a:lnTo>
                        <a:pt x="6" y="61"/>
                      </a:lnTo>
                      <a:lnTo>
                        <a:pt x="22" y="68"/>
                      </a:lnTo>
                      <a:lnTo>
                        <a:pt x="22" y="96"/>
                      </a:lnTo>
                      <a:lnTo>
                        <a:pt x="34" y="96"/>
                      </a:lnTo>
                      <a:lnTo>
                        <a:pt x="38" y="100"/>
                      </a:lnTo>
                      <a:lnTo>
                        <a:pt x="51" y="90"/>
                      </a:lnTo>
                      <a:lnTo>
                        <a:pt x="44" y="84"/>
                      </a:lnTo>
                      <a:lnTo>
                        <a:pt x="51" y="78"/>
                      </a:lnTo>
                      <a:lnTo>
                        <a:pt x="51" y="45"/>
                      </a:lnTo>
                      <a:lnTo>
                        <a:pt x="34" y="29"/>
                      </a:lnTo>
                      <a:lnTo>
                        <a:pt x="55" y="3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4" name="Freeform 209">
                  <a:extLst>
                    <a:ext uri="{FF2B5EF4-FFF2-40B4-BE49-F238E27FC236}">
                      <a16:creationId xmlns:a16="http://schemas.microsoft.com/office/drawing/2014/main" id="{D1D20141-FC68-45BE-989D-4184782A6A3E}"/>
                    </a:ext>
                  </a:extLst>
                </p:cNvPr>
                <p:cNvSpPr>
                  <a:spLocks/>
                </p:cNvSpPr>
                <p:nvPr/>
              </p:nvSpPr>
              <p:spPr bwMode="auto">
                <a:xfrm>
                  <a:off x="4403024" y="2010825"/>
                  <a:ext cx="33241" cy="64847"/>
                </a:xfrm>
                <a:custGeom>
                  <a:avLst/>
                  <a:gdLst>
                    <a:gd name="T0" fmla="*/ 16 w 24"/>
                    <a:gd name="T1" fmla="*/ 0 h 44"/>
                    <a:gd name="T2" fmla="*/ 0 w 24"/>
                    <a:gd name="T3" fmla="*/ 6 h 44"/>
                    <a:gd name="T4" fmla="*/ 0 w 24"/>
                    <a:gd name="T5" fmla="*/ 34 h 44"/>
                    <a:gd name="T6" fmla="*/ 14 w 24"/>
                    <a:gd name="T7" fmla="*/ 44 h 44"/>
                    <a:gd name="T8" fmla="*/ 24 w 24"/>
                    <a:gd name="T9" fmla="*/ 24 h 44"/>
                    <a:gd name="T10" fmla="*/ 22 w 24"/>
                    <a:gd name="T11" fmla="*/ 12 h 44"/>
                    <a:gd name="T12" fmla="*/ 16 w 24"/>
                    <a:gd name="T13" fmla="*/ 0 h 44"/>
                    <a:gd name="T14" fmla="*/ 16 w 24"/>
                    <a:gd name="T15" fmla="*/ 0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16" y="0"/>
                      </a:moveTo>
                      <a:lnTo>
                        <a:pt x="0" y="6"/>
                      </a:lnTo>
                      <a:lnTo>
                        <a:pt x="0" y="34"/>
                      </a:lnTo>
                      <a:lnTo>
                        <a:pt x="14" y="44"/>
                      </a:lnTo>
                      <a:lnTo>
                        <a:pt x="24" y="24"/>
                      </a:lnTo>
                      <a:lnTo>
                        <a:pt x="22" y="12"/>
                      </a:lnTo>
                      <a:lnTo>
                        <a:pt x="1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5" name="Freeform 213">
                  <a:extLst>
                    <a:ext uri="{FF2B5EF4-FFF2-40B4-BE49-F238E27FC236}">
                      <a16:creationId xmlns:a16="http://schemas.microsoft.com/office/drawing/2014/main" id="{637B30CB-47DF-4E6E-8497-617E8EA78529}"/>
                    </a:ext>
                  </a:extLst>
                </p:cNvPr>
                <p:cNvSpPr>
                  <a:spLocks/>
                </p:cNvSpPr>
                <p:nvPr/>
              </p:nvSpPr>
              <p:spPr bwMode="auto">
                <a:xfrm>
                  <a:off x="4646794" y="1971034"/>
                  <a:ext cx="54018" cy="81058"/>
                </a:xfrm>
                <a:custGeom>
                  <a:avLst/>
                  <a:gdLst>
                    <a:gd name="T0" fmla="*/ 39 w 39"/>
                    <a:gd name="T1" fmla="*/ 39 h 55"/>
                    <a:gd name="T2" fmla="*/ 29 w 39"/>
                    <a:gd name="T3" fmla="*/ 16 h 55"/>
                    <a:gd name="T4" fmla="*/ 17 w 39"/>
                    <a:gd name="T5" fmla="*/ 0 h 55"/>
                    <a:gd name="T6" fmla="*/ 7 w 39"/>
                    <a:gd name="T7" fmla="*/ 0 h 55"/>
                    <a:gd name="T8" fmla="*/ 0 w 39"/>
                    <a:gd name="T9" fmla="*/ 10 h 55"/>
                    <a:gd name="T10" fmla="*/ 7 w 39"/>
                    <a:gd name="T11" fmla="*/ 45 h 55"/>
                    <a:gd name="T12" fmla="*/ 23 w 39"/>
                    <a:gd name="T13" fmla="*/ 55 h 55"/>
                    <a:gd name="T14" fmla="*/ 39 w 39"/>
                    <a:gd name="T15" fmla="*/ 39 h 55"/>
                    <a:gd name="T16" fmla="*/ 39 w 39"/>
                    <a:gd name="T17" fmla="*/ 39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5"/>
                    <a:gd name="T29" fmla="*/ 39 w 3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5">
                      <a:moveTo>
                        <a:pt x="39" y="39"/>
                      </a:moveTo>
                      <a:lnTo>
                        <a:pt x="29" y="16"/>
                      </a:lnTo>
                      <a:lnTo>
                        <a:pt x="17" y="0"/>
                      </a:lnTo>
                      <a:lnTo>
                        <a:pt x="7" y="0"/>
                      </a:lnTo>
                      <a:lnTo>
                        <a:pt x="0" y="10"/>
                      </a:lnTo>
                      <a:lnTo>
                        <a:pt x="7" y="45"/>
                      </a:lnTo>
                      <a:lnTo>
                        <a:pt x="23" y="55"/>
                      </a:lnTo>
                      <a:lnTo>
                        <a:pt x="39"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6" name="Freeform 214">
                  <a:extLst>
                    <a:ext uri="{FF2B5EF4-FFF2-40B4-BE49-F238E27FC236}">
                      <a16:creationId xmlns:a16="http://schemas.microsoft.com/office/drawing/2014/main" id="{174919B8-F462-4E8A-B5D1-3F6B3825E2B9}"/>
                    </a:ext>
                  </a:extLst>
                </p:cNvPr>
                <p:cNvSpPr>
                  <a:spLocks/>
                </p:cNvSpPr>
                <p:nvPr/>
              </p:nvSpPr>
              <p:spPr bwMode="auto">
                <a:xfrm>
                  <a:off x="4686961" y="1971034"/>
                  <a:ext cx="67868" cy="57477"/>
                </a:xfrm>
                <a:custGeom>
                  <a:avLst/>
                  <a:gdLst>
                    <a:gd name="T0" fmla="*/ 45 w 49"/>
                    <a:gd name="T1" fmla="*/ 4 h 39"/>
                    <a:gd name="T2" fmla="*/ 28 w 49"/>
                    <a:gd name="T3" fmla="*/ 0 h 39"/>
                    <a:gd name="T4" fmla="*/ 0 w 49"/>
                    <a:gd name="T5" fmla="*/ 16 h 39"/>
                    <a:gd name="T6" fmla="*/ 10 w 49"/>
                    <a:gd name="T7" fmla="*/ 39 h 39"/>
                    <a:gd name="T8" fmla="*/ 49 w 49"/>
                    <a:gd name="T9" fmla="*/ 16 h 39"/>
                    <a:gd name="T10" fmla="*/ 45 w 49"/>
                    <a:gd name="T11" fmla="*/ 4 h 39"/>
                    <a:gd name="T12" fmla="*/ 45 w 49"/>
                    <a:gd name="T13" fmla="*/ 4 h 39"/>
                    <a:gd name="T14" fmla="*/ 0 60000 65536"/>
                    <a:gd name="T15" fmla="*/ 0 60000 65536"/>
                    <a:gd name="T16" fmla="*/ 0 60000 65536"/>
                    <a:gd name="T17" fmla="*/ 0 60000 65536"/>
                    <a:gd name="T18" fmla="*/ 0 60000 65536"/>
                    <a:gd name="T19" fmla="*/ 0 60000 65536"/>
                    <a:gd name="T20" fmla="*/ 0 60000 65536"/>
                    <a:gd name="T21" fmla="*/ 0 w 49"/>
                    <a:gd name="T22" fmla="*/ 0 h 39"/>
                    <a:gd name="T23" fmla="*/ 49 w 4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39">
                      <a:moveTo>
                        <a:pt x="45" y="4"/>
                      </a:moveTo>
                      <a:lnTo>
                        <a:pt x="28" y="0"/>
                      </a:lnTo>
                      <a:lnTo>
                        <a:pt x="0" y="16"/>
                      </a:lnTo>
                      <a:lnTo>
                        <a:pt x="10" y="39"/>
                      </a:lnTo>
                      <a:lnTo>
                        <a:pt x="49" y="16"/>
                      </a:lnTo>
                      <a:lnTo>
                        <a:pt x="45"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7" name="Freeform 216">
                  <a:extLst>
                    <a:ext uri="{FF2B5EF4-FFF2-40B4-BE49-F238E27FC236}">
                      <a16:creationId xmlns:a16="http://schemas.microsoft.com/office/drawing/2014/main" id="{0BB982E4-7274-4AD3-A2A0-E5955B36C8FF}"/>
                    </a:ext>
                  </a:extLst>
                </p:cNvPr>
                <p:cNvSpPr>
                  <a:spLocks/>
                </p:cNvSpPr>
                <p:nvPr/>
              </p:nvSpPr>
              <p:spPr bwMode="auto">
                <a:xfrm>
                  <a:off x="4278368" y="2043249"/>
                  <a:ext cx="15235" cy="20633"/>
                </a:xfrm>
                <a:custGeom>
                  <a:avLst/>
                  <a:gdLst>
                    <a:gd name="T0" fmla="*/ 0 w 11"/>
                    <a:gd name="T1" fmla="*/ 0 h 14"/>
                    <a:gd name="T2" fmla="*/ 11 w 11"/>
                    <a:gd name="T3" fmla="*/ 14 h 14"/>
                    <a:gd name="T4" fmla="*/ 11 w 11"/>
                    <a:gd name="T5" fmla="*/ 6 h 14"/>
                    <a:gd name="T6" fmla="*/ 6 w 11"/>
                    <a:gd name="T7" fmla="*/ 0 h 14"/>
                    <a:gd name="T8" fmla="*/ 0 w 11"/>
                    <a:gd name="T9" fmla="*/ 0 h 14"/>
                    <a:gd name="T10" fmla="*/ 0 w 11"/>
                    <a:gd name="T11" fmla="*/ 0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0" y="0"/>
                      </a:moveTo>
                      <a:lnTo>
                        <a:pt x="11" y="14"/>
                      </a:lnTo>
                      <a:lnTo>
                        <a:pt x="11" y="6"/>
                      </a:lnTo>
                      <a:lnTo>
                        <a:pt x="6" y="0"/>
                      </a:lnTo>
                      <a:lnTo>
                        <a:pt x="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8" name="Freeform 230">
                  <a:extLst>
                    <a:ext uri="{FF2B5EF4-FFF2-40B4-BE49-F238E27FC236}">
                      <a16:creationId xmlns:a16="http://schemas.microsoft.com/office/drawing/2014/main" id="{65DA84CB-36F0-4B04-A807-1E5B848685FB}"/>
                    </a:ext>
                  </a:extLst>
                </p:cNvPr>
                <p:cNvSpPr>
                  <a:spLocks/>
                </p:cNvSpPr>
                <p:nvPr/>
              </p:nvSpPr>
              <p:spPr bwMode="auto">
                <a:xfrm>
                  <a:off x="4371167" y="1831025"/>
                  <a:ext cx="76178" cy="47161"/>
                </a:xfrm>
                <a:custGeom>
                  <a:avLst/>
                  <a:gdLst>
                    <a:gd name="T0" fmla="*/ 17 w 55"/>
                    <a:gd name="T1" fmla="*/ 0 h 32"/>
                    <a:gd name="T2" fmla="*/ 0 w 55"/>
                    <a:gd name="T3" fmla="*/ 22 h 32"/>
                    <a:gd name="T4" fmla="*/ 11 w 55"/>
                    <a:gd name="T5" fmla="*/ 32 h 32"/>
                    <a:gd name="T6" fmla="*/ 29 w 55"/>
                    <a:gd name="T7" fmla="*/ 28 h 32"/>
                    <a:gd name="T8" fmla="*/ 39 w 55"/>
                    <a:gd name="T9" fmla="*/ 28 h 32"/>
                    <a:gd name="T10" fmla="*/ 49 w 55"/>
                    <a:gd name="T11" fmla="*/ 22 h 32"/>
                    <a:gd name="T12" fmla="*/ 45 w 55"/>
                    <a:gd name="T13" fmla="*/ 16 h 32"/>
                    <a:gd name="T14" fmla="*/ 55 w 55"/>
                    <a:gd name="T15" fmla="*/ 0 h 32"/>
                    <a:gd name="T16" fmla="*/ 17 w 55"/>
                    <a:gd name="T17" fmla="*/ 0 h 32"/>
                    <a:gd name="T18" fmla="*/ 17 w 55"/>
                    <a:gd name="T19" fmla="*/ 0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32"/>
                    <a:gd name="T32" fmla="*/ 55 w 55"/>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32">
                      <a:moveTo>
                        <a:pt x="17" y="0"/>
                      </a:moveTo>
                      <a:lnTo>
                        <a:pt x="0" y="22"/>
                      </a:lnTo>
                      <a:lnTo>
                        <a:pt x="11" y="32"/>
                      </a:lnTo>
                      <a:lnTo>
                        <a:pt x="29" y="28"/>
                      </a:lnTo>
                      <a:lnTo>
                        <a:pt x="39" y="28"/>
                      </a:lnTo>
                      <a:lnTo>
                        <a:pt x="49" y="22"/>
                      </a:lnTo>
                      <a:lnTo>
                        <a:pt x="45" y="16"/>
                      </a:lnTo>
                      <a:lnTo>
                        <a:pt x="55" y="0"/>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99" name="Freeform 231">
                  <a:extLst>
                    <a:ext uri="{FF2B5EF4-FFF2-40B4-BE49-F238E27FC236}">
                      <a16:creationId xmlns:a16="http://schemas.microsoft.com/office/drawing/2014/main" id="{CBA5C208-FF11-4D41-9F8B-DA532196B5DB}"/>
                    </a:ext>
                  </a:extLst>
                </p:cNvPr>
                <p:cNvSpPr>
                  <a:spLocks/>
                </p:cNvSpPr>
                <p:nvPr/>
              </p:nvSpPr>
              <p:spPr bwMode="auto">
                <a:xfrm>
                  <a:off x="4433495" y="1788285"/>
                  <a:ext cx="168979" cy="75162"/>
                </a:xfrm>
                <a:custGeom>
                  <a:avLst/>
                  <a:gdLst>
                    <a:gd name="T0" fmla="*/ 122 w 122"/>
                    <a:gd name="T1" fmla="*/ 22 h 51"/>
                    <a:gd name="T2" fmla="*/ 116 w 122"/>
                    <a:gd name="T3" fmla="*/ 10 h 51"/>
                    <a:gd name="T4" fmla="*/ 100 w 122"/>
                    <a:gd name="T5" fmla="*/ 0 h 51"/>
                    <a:gd name="T6" fmla="*/ 61 w 122"/>
                    <a:gd name="T7" fmla="*/ 6 h 51"/>
                    <a:gd name="T8" fmla="*/ 55 w 122"/>
                    <a:gd name="T9" fmla="*/ 29 h 51"/>
                    <a:gd name="T10" fmla="*/ 10 w 122"/>
                    <a:gd name="T11" fmla="*/ 29 h 51"/>
                    <a:gd name="T12" fmla="*/ 0 w 122"/>
                    <a:gd name="T13" fmla="*/ 45 h 51"/>
                    <a:gd name="T14" fmla="*/ 4 w 122"/>
                    <a:gd name="T15" fmla="*/ 51 h 51"/>
                    <a:gd name="T16" fmla="*/ 16 w 122"/>
                    <a:gd name="T17" fmla="*/ 45 h 51"/>
                    <a:gd name="T18" fmla="*/ 39 w 122"/>
                    <a:gd name="T19" fmla="*/ 45 h 51"/>
                    <a:gd name="T20" fmla="*/ 45 w 122"/>
                    <a:gd name="T21" fmla="*/ 51 h 51"/>
                    <a:gd name="T22" fmla="*/ 71 w 122"/>
                    <a:gd name="T23" fmla="*/ 51 h 51"/>
                    <a:gd name="T24" fmla="*/ 106 w 122"/>
                    <a:gd name="T25" fmla="*/ 45 h 51"/>
                    <a:gd name="T26" fmla="*/ 122 w 122"/>
                    <a:gd name="T27" fmla="*/ 22 h 51"/>
                    <a:gd name="T28" fmla="*/ 122 w 122"/>
                    <a:gd name="T29" fmla="*/ 22 h 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2"/>
                    <a:gd name="T46" fmla="*/ 0 h 51"/>
                    <a:gd name="T47" fmla="*/ 122 w 122"/>
                    <a:gd name="T48" fmla="*/ 51 h 5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2" h="51">
                      <a:moveTo>
                        <a:pt x="122" y="22"/>
                      </a:moveTo>
                      <a:lnTo>
                        <a:pt x="116" y="10"/>
                      </a:lnTo>
                      <a:lnTo>
                        <a:pt x="100" y="0"/>
                      </a:lnTo>
                      <a:lnTo>
                        <a:pt x="61" y="6"/>
                      </a:lnTo>
                      <a:lnTo>
                        <a:pt x="55" y="29"/>
                      </a:lnTo>
                      <a:lnTo>
                        <a:pt x="10" y="29"/>
                      </a:lnTo>
                      <a:lnTo>
                        <a:pt x="0" y="45"/>
                      </a:lnTo>
                      <a:lnTo>
                        <a:pt x="4" y="51"/>
                      </a:lnTo>
                      <a:lnTo>
                        <a:pt x="16" y="45"/>
                      </a:lnTo>
                      <a:lnTo>
                        <a:pt x="39" y="45"/>
                      </a:lnTo>
                      <a:lnTo>
                        <a:pt x="45" y="51"/>
                      </a:lnTo>
                      <a:lnTo>
                        <a:pt x="71" y="51"/>
                      </a:lnTo>
                      <a:lnTo>
                        <a:pt x="106" y="45"/>
                      </a:lnTo>
                      <a:lnTo>
                        <a:pt x="122"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nvGrpSpPr>
              <p:cNvPr id="409" name="Group 415">
                <a:extLst>
                  <a:ext uri="{FF2B5EF4-FFF2-40B4-BE49-F238E27FC236}">
                    <a16:creationId xmlns:a16="http://schemas.microsoft.com/office/drawing/2014/main" id="{3D781AC9-EC0A-4B7C-BE13-3155DD2EEF61}"/>
                  </a:ext>
                </a:extLst>
              </p:cNvPr>
              <p:cNvGrpSpPr/>
              <p:nvPr/>
            </p:nvGrpSpPr>
            <p:grpSpPr>
              <a:xfrm>
                <a:off x="3092752" y="973285"/>
                <a:ext cx="4652429" cy="1411881"/>
                <a:chOff x="3092752" y="973285"/>
                <a:chExt cx="4652429" cy="1411881"/>
              </a:xfrm>
              <a:grpFill/>
            </p:grpSpPr>
            <p:sp>
              <p:nvSpPr>
                <p:cNvPr id="410" name="Freeform 142">
                  <a:extLst>
                    <a:ext uri="{FF2B5EF4-FFF2-40B4-BE49-F238E27FC236}">
                      <a16:creationId xmlns:a16="http://schemas.microsoft.com/office/drawing/2014/main" id="{F4409CE1-9F58-4D71-84C3-61EDC2F6C34A}"/>
                    </a:ext>
                  </a:extLst>
                </p:cNvPr>
                <p:cNvSpPr>
                  <a:spLocks/>
                </p:cNvSpPr>
                <p:nvPr/>
              </p:nvSpPr>
              <p:spPr bwMode="auto">
                <a:xfrm>
                  <a:off x="6116346" y="1710174"/>
                  <a:ext cx="714693" cy="288861"/>
                </a:xfrm>
                <a:custGeom>
                  <a:avLst/>
                  <a:gdLst/>
                  <a:ahLst/>
                  <a:cxnLst>
                    <a:cxn ang="0">
                      <a:pos x="271" y="34"/>
                    </a:cxn>
                    <a:cxn ang="0">
                      <a:pos x="222" y="34"/>
                    </a:cxn>
                    <a:cxn ang="0">
                      <a:pos x="200" y="12"/>
                    </a:cxn>
                    <a:cxn ang="0">
                      <a:pos x="139" y="0"/>
                    </a:cxn>
                    <a:cxn ang="0">
                      <a:pos x="149" y="40"/>
                    </a:cxn>
                    <a:cxn ang="0">
                      <a:pos x="95" y="40"/>
                    </a:cxn>
                    <a:cxn ang="0">
                      <a:pos x="83" y="28"/>
                    </a:cxn>
                    <a:cxn ang="0">
                      <a:pos x="44" y="28"/>
                    </a:cxn>
                    <a:cxn ang="0">
                      <a:pos x="0" y="51"/>
                    </a:cxn>
                    <a:cxn ang="0">
                      <a:pos x="10" y="73"/>
                    </a:cxn>
                    <a:cxn ang="0">
                      <a:pos x="50" y="79"/>
                    </a:cxn>
                    <a:cxn ang="0">
                      <a:pos x="76" y="107"/>
                    </a:cxn>
                    <a:cxn ang="0">
                      <a:pos x="76" y="130"/>
                    </a:cxn>
                    <a:cxn ang="0">
                      <a:pos x="166" y="152"/>
                    </a:cxn>
                    <a:cxn ang="0">
                      <a:pos x="194" y="174"/>
                    </a:cxn>
                    <a:cxn ang="0">
                      <a:pos x="271" y="180"/>
                    </a:cxn>
                    <a:cxn ang="0">
                      <a:pos x="344" y="196"/>
                    </a:cxn>
                    <a:cxn ang="0">
                      <a:pos x="376" y="180"/>
                    </a:cxn>
                    <a:cxn ang="0">
                      <a:pos x="411" y="180"/>
                    </a:cxn>
                    <a:cxn ang="0">
                      <a:pos x="433" y="152"/>
                    </a:cxn>
                    <a:cxn ang="0">
                      <a:pos x="421" y="130"/>
                    </a:cxn>
                    <a:cxn ang="0">
                      <a:pos x="449" y="130"/>
                    </a:cxn>
                    <a:cxn ang="0">
                      <a:pos x="516" y="95"/>
                    </a:cxn>
                    <a:cxn ang="0">
                      <a:pos x="500" y="73"/>
                    </a:cxn>
                    <a:cxn ang="0">
                      <a:pos x="477" y="79"/>
                    </a:cxn>
                    <a:cxn ang="0">
                      <a:pos x="449" y="73"/>
                    </a:cxn>
                    <a:cxn ang="0">
                      <a:pos x="437" y="57"/>
                    </a:cxn>
                    <a:cxn ang="0">
                      <a:pos x="443" y="40"/>
                    </a:cxn>
                    <a:cxn ang="0">
                      <a:pos x="394" y="40"/>
                    </a:cxn>
                    <a:cxn ang="0">
                      <a:pos x="382" y="51"/>
                    </a:cxn>
                    <a:cxn ang="0">
                      <a:pos x="311" y="51"/>
                    </a:cxn>
                    <a:cxn ang="0">
                      <a:pos x="271" y="34"/>
                    </a:cxn>
                    <a:cxn ang="0">
                      <a:pos x="271" y="34"/>
                    </a:cxn>
                  </a:cxnLst>
                  <a:rect l="0" t="0" r="r" b="b"/>
                  <a:pathLst>
                    <a:path w="516" h="196">
                      <a:moveTo>
                        <a:pt x="271" y="34"/>
                      </a:moveTo>
                      <a:lnTo>
                        <a:pt x="222" y="34"/>
                      </a:lnTo>
                      <a:lnTo>
                        <a:pt x="200" y="12"/>
                      </a:lnTo>
                      <a:lnTo>
                        <a:pt x="139" y="0"/>
                      </a:lnTo>
                      <a:lnTo>
                        <a:pt x="149" y="40"/>
                      </a:lnTo>
                      <a:lnTo>
                        <a:pt x="95" y="40"/>
                      </a:lnTo>
                      <a:lnTo>
                        <a:pt x="83" y="28"/>
                      </a:lnTo>
                      <a:lnTo>
                        <a:pt x="44" y="28"/>
                      </a:lnTo>
                      <a:lnTo>
                        <a:pt x="0" y="51"/>
                      </a:lnTo>
                      <a:lnTo>
                        <a:pt x="10" y="73"/>
                      </a:lnTo>
                      <a:lnTo>
                        <a:pt x="50" y="79"/>
                      </a:lnTo>
                      <a:lnTo>
                        <a:pt x="76" y="107"/>
                      </a:lnTo>
                      <a:lnTo>
                        <a:pt x="76" y="130"/>
                      </a:lnTo>
                      <a:lnTo>
                        <a:pt x="166" y="152"/>
                      </a:lnTo>
                      <a:lnTo>
                        <a:pt x="194" y="174"/>
                      </a:lnTo>
                      <a:lnTo>
                        <a:pt x="271" y="180"/>
                      </a:lnTo>
                      <a:lnTo>
                        <a:pt x="344" y="196"/>
                      </a:lnTo>
                      <a:lnTo>
                        <a:pt x="376" y="180"/>
                      </a:lnTo>
                      <a:lnTo>
                        <a:pt x="411" y="180"/>
                      </a:lnTo>
                      <a:lnTo>
                        <a:pt x="433" y="152"/>
                      </a:lnTo>
                      <a:lnTo>
                        <a:pt x="421" y="130"/>
                      </a:lnTo>
                      <a:lnTo>
                        <a:pt x="449" y="130"/>
                      </a:lnTo>
                      <a:lnTo>
                        <a:pt x="516" y="95"/>
                      </a:lnTo>
                      <a:lnTo>
                        <a:pt x="500" y="73"/>
                      </a:lnTo>
                      <a:lnTo>
                        <a:pt x="477" y="79"/>
                      </a:lnTo>
                      <a:lnTo>
                        <a:pt x="449" y="73"/>
                      </a:lnTo>
                      <a:lnTo>
                        <a:pt x="437" y="57"/>
                      </a:lnTo>
                      <a:lnTo>
                        <a:pt x="443" y="40"/>
                      </a:lnTo>
                      <a:lnTo>
                        <a:pt x="394" y="40"/>
                      </a:lnTo>
                      <a:lnTo>
                        <a:pt x="382" y="51"/>
                      </a:lnTo>
                      <a:lnTo>
                        <a:pt x="311" y="51"/>
                      </a:lnTo>
                      <a:lnTo>
                        <a:pt x="271" y="34"/>
                      </a:lnTo>
                      <a:lnTo>
                        <a:pt x="271" y="3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1" name="Freeform 143">
                  <a:extLst>
                    <a:ext uri="{FF2B5EF4-FFF2-40B4-BE49-F238E27FC236}">
                      <a16:creationId xmlns:a16="http://schemas.microsoft.com/office/drawing/2014/main" id="{D4506046-CD7F-4212-831E-213E9FC7E2EE}"/>
                    </a:ext>
                  </a:extLst>
                </p:cNvPr>
                <p:cNvSpPr>
                  <a:spLocks noEditPoints="1"/>
                </p:cNvSpPr>
                <p:nvPr/>
              </p:nvSpPr>
              <p:spPr bwMode="auto">
                <a:xfrm>
                  <a:off x="5232676" y="1620275"/>
                  <a:ext cx="851814" cy="403816"/>
                </a:xfrm>
                <a:custGeom>
                  <a:avLst/>
                  <a:gdLst/>
                  <a:ahLst/>
                  <a:cxnLst>
                    <a:cxn ang="0">
                      <a:pos x="204" y="35"/>
                    </a:cxn>
                    <a:cxn ang="0">
                      <a:pos x="204" y="51"/>
                    </a:cxn>
                    <a:cxn ang="0">
                      <a:pos x="229" y="73"/>
                    </a:cxn>
                    <a:cxn ang="0">
                      <a:pos x="194" y="89"/>
                    </a:cxn>
                    <a:cxn ang="0">
                      <a:pos x="150" y="85"/>
                    </a:cxn>
                    <a:cxn ang="0">
                      <a:pos x="111" y="79"/>
                    </a:cxn>
                    <a:cxn ang="0">
                      <a:pos x="50" y="79"/>
                    </a:cxn>
                    <a:cxn ang="0">
                      <a:pos x="38" y="101"/>
                    </a:cxn>
                    <a:cxn ang="0">
                      <a:pos x="12" y="95"/>
                    </a:cxn>
                    <a:cxn ang="0">
                      <a:pos x="6" y="134"/>
                    </a:cxn>
                    <a:cxn ang="0">
                      <a:pos x="16" y="146"/>
                    </a:cxn>
                    <a:cxn ang="0">
                      <a:pos x="44" y="168"/>
                    </a:cxn>
                    <a:cxn ang="0">
                      <a:pos x="99" y="156"/>
                    </a:cxn>
                    <a:cxn ang="0">
                      <a:pos x="83" y="191"/>
                    </a:cxn>
                    <a:cxn ang="0">
                      <a:pos x="99" y="235"/>
                    </a:cxn>
                    <a:cxn ang="0">
                      <a:pos x="121" y="251"/>
                    </a:cxn>
                    <a:cxn ang="0">
                      <a:pos x="162" y="257"/>
                    </a:cxn>
                    <a:cxn ang="0">
                      <a:pos x="166" y="195"/>
                    </a:cxn>
                    <a:cxn ang="0">
                      <a:pos x="200" y="178"/>
                    </a:cxn>
                    <a:cxn ang="0">
                      <a:pos x="289" y="223"/>
                    </a:cxn>
                    <a:cxn ang="0">
                      <a:pos x="316" y="223"/>
                    </a:cxn>
                    <a:cxn ang="0">
                      <a:pos x="354" y="268"/>
                    </a:cxn>
                    <a:cxn ang="0">
                      <a:pos x="388" y="274"/>
                    </a:cxn>
                    <a:cxn ang="0">
                      <a:pos x="417" y="245"/>
                    </a:cxn>
                    <a:cxn ang="0">
                      <a:pos x="455" y="245"/>
                    </a:cxn>
                    <a:cxn ang="0">
                      <a:pos x="544" y="241"/>
                    </a:cxn>
                    <a:cxn ang="0">
                      <a:pos x="565" y="219"/>
                    </a:cxn>
                    <a:cxn ang="0">
                      <a:pos x="583" y="191"/>
                    </a:cxn>
                    <a:cxn ang="0">
                      <a:pos x="615" y="152"/>
                    </a:cxn>
                    <a:cxn ang="0">
                      <a:pos x="615" y="124"/>
                    </a:cxn>
                    <a:cxn ang="0">
                      <a:pos x="565" y="89"/>
                    </a:cxn>
                    <a:cxn ang="0">
                      <a:pos x="459" y="41"/>
                    </a:cxn>
                    <a:cxn ang="0">
                      <a:pos x="395" y="45"/>
                    </a:cxn>
                    <a:cxn ang="0">
                      <a:pos x="350" y="23"/>
                    </a:cxn>
                    <a:cxn ang="0">
                      <a:pos x="305" y="0"/>
                    </a:cxn>
                    <a:cxn ang="0">
                      <a:pos x="267" y="18"/>
                    </a:cxn>
                    <a:cxn ang="0">
                      <a:pos x="255" y="29"/>
                    </a:cxn>
                    <a:cxn ang="0">
                      <a:pos x="532" y="178"/>
                    </a:cxn>
                    <a:cxn ang="0">
                      <a:pos x="522" y="195"/>
                    </a:cxn>
                    <a:cxn ang="0">
                      <a:pos x="478" y="201"/>
                    </a:cxn>
                    <a:cxn ang="0">
                      <a:pos x="455" y="213"/>
                    </a:cxn>
                    <a:cxn ang="0">
                      <a:pos x="471" y="184"/>
                    </a:cxn>
                    <a:cxn ang="0">
                      <a:pos x="516" y="184"/>
                    </a:cxn>
                  </a:cxnLst>
                  <a:rect l="0" t="0" r="r" b="b"/>
                  <a:pathLst>
                    <a:path w="615" h="274">
                      <a:moveTo>
                        <a:pt x="255" y="29"/>
                      </a:moveTo>
                      <a:lnTo>
                        <a:pt x="204" y="35"/>
                      </a:lnTo>
                      <a:lnTo>
                        <a:pt x="222" y="51"/>
                      </a:lnTo>
                      <a:lnTo>
                        <a:pt x="204" y="51"/>
                      </a:lnTo>
                      <a:lnTo>
                        <a:pt x="200" y="67"/>
                      </a:lnTo>
                      <a:lnTo>
                        <a:pt x="229" y="73"/>
                      </a:lnTo>
                      <a:lnTo>
                        <a:pt x="229" y="85"/>
                      </a:lnTo>
                      <a:lnTo>
                        <a:pt x="194" y="89"/>
                      </a:lnTo>
                      <a:lnTo>
                        <a:pt x="172" y="85"/>
                      </a:lnTo>
                      <a:lnTo>
                        <a:pt x="150" y="85"/>
                      </a:lnTo>
                      <a:lnTo>
                        <a:pt x="121" y="95"/>
                      </a:lnTo>
                      <a:lnTo>
                        <a:pt x="111" y="79"/>
                      </a:lnTo>
                      <a:lnTo>
                        <a:pt x="79" y="73"/>
                      </a:lnTo>
                      <a:lnTo>
                        <a:pt x="50" y="79"/>
                      </a:lnTo>
                      <a:lnTo>
                        <a:pt x="34" y="95"/>
                      </a:lnTo>
                      <a:lnTo>
                        <a:pt x="38" y="101"/>
                      </a:lnTo>
                      <a:lnTo>
                        <a:pt x="28" y="108"/>
                      </a:lnTo>
                      <a:lnTo>
                        <a:pt x="12" y="95"/>
                      </a:lnTo>
                      <a:lnTo>
                        <a:pt x="0" y="112"/>
                      </a:lnTo>
                      <a:lnTo>
                        <a:pt x="6" y="134"/>
                      </a:lnTo>
                      <a:lnTo>
                        <a:pt x="16" y="134"/>
                      </a:lnTo>
                      <a:lnTo>
                        <a:pt x="16" y="146"/>
                      </a:lnTo>
                      <a:lnTo>
                        <a:pt x="28" y="146"/>
                      </a:lnTo>
                      <a:lnTo>
                        <a:pt x="44" y="168"/>
                      </a:lnTo>
                      <a:lnTo>
                        <a:pt x="73" y="156"/>
                      </a:lnTo>
                      <a:lnTo>
                        <a:pt x="99" y="156"/>
                      </a:lnTo>
                      <a:lnTo>
                        <a:pt x="111" y="184"/>
                      </a:lnTo>
                      <a:lnTo>
                        <a:pt x="83" y="191"/>
                      </a:lnTo>
                      <a:lnTo>
                        <a:pt x="79" y="207"/>
                      </a:lnTo>
                      <a:lnTo>
                        <a:pt x="99" y="235"/>
                      </a:lnTo>
                      <a:lnTo>
                        <a:pt x="121" y="241"/>
                      </a:lnTo>
                      <a:lnTo>
                        <a:pt x="121" y="251"/>
                      </a:lnTo>
                      <a:lnTo>
                        <a:pt x="144" y="245"/>
                      </a:lnTo>
                      <a:lnTo>
                        <a:pt x="162" y="257"/>
                      </a:lnTo>
                      <a:lnTo>
                        <a:pt x="178" y="261"/>
                      </a:lnTo>
                      <a:lnTo>
                        <a:pt x="166" y="195"/>
                      </a:lnTo>
                      <a:lnTo>
                        <a:pt x="188" y="191"/>
                      </a:lnTo>
                      <a:lnTo>
                        <a:pt x="200" y="178"/>
                      </a:lnTo>
                      <a:lnTo>
                        <a:pt x="267" y="223"/>
                      </a:lnTo>
                      <a:lnTo>
                        <a:pt x="289" y="223"/>
                      </a:lnTo>
                      <a:lnTo>
                        <a:pt x="305" y="229"/>
                      </a:lnTo>
                      <a:lnTo>
                        <a:pt x="316" y="223"/>
                      </a:lnTo>
                      <a:lnTo>
                        <a:pt x="338" y="241"/>
                      </a:lnTo>
                      <a:lnTo>
                        <a:pt x="354" y="268"/>
                      </a:lnTo>
                      <a:lnTo>
                        <a:pt x="372" y="268"/>
                      </a:lnTo>
                      <a:lnTo>
                        <a:pt x="388" y="274"/>
                      </a:lnTo>
                      <a:lnTo>
                        <a:pt x="399" y="257"/>
                      </a:lnTo>
                      <a:lnTo>
                        <a:pt x="417" y="245"/>
                      </a:lnTo>
                      <a:lnTo>
                        <a:pt x="427" y="235"/>
                      </a:lnTo>
                      <a:lnTo>
                        <a:pt x="455" y="245"/>
                      </a:lnTo>
                      <a:lnTo>
                        <a:pt x="459" y="235"/>
                      </a:lnTo>
                      <a:lnTo>
                        <a:pt x="544" y="241"/>
                      </a:lnTo>
                      <a:lnTo>
                        <a:pt x="565" y="245"/>
                      </a:lnTo>
                      <a:lnTo>
                        <a:pt x="565" y="219"/>
                      </a:lnTo>
                      <a:lnTo>
                        <a:pt x="548" y="191"/>
                      </a:lnTo>
                      <a:lnTo>
                        <a:pt x="583" y="191"/>
                      </a:lnTo>
                      <a:lnTo>
                        <a:pt x="577" y="156"/>
                      </a:lnTo>
                      <a:lnTo>
                        <a:pt x="615" y="152"/>
                      </a:lnTo>
                      <a:lnTo>
                        <a:pt x="605" y="134"/>
                      </a:lnTo>
                      <a:lnTo>
                        <a:pt x="615" y="124"/>
                      </a:lnTo>
                      <a:lnTo>
                        <a:pt x="615" y="112"/>
                      </a:lnTo>
                      <a:lnTo>
                        <a:pt x="565" y="89"/>
                      </a:lnTo>
                      <a:lnTo>
                        <a:pt x="510" y="89"/>
                      </a:lnTo>
                      <a:lnTo>
                        <a:pt x="459" y="41"/>
                      </a:lnTo>
                      <a:lnTo>
                        <a:pt x="439" y="23"/>
                      </a:lnTo>
                      <a:lnTo>
                        <a:pt x="395" y="45"/>
                      </a:lnTo>
                      <a:lnTo>
                        <a:pt x="388" y="35"/>
                      </a:lnTo>
                      <a:lnTo>
                        <a:pt x="350" y="23"/>
                      </a:lnTo>
                      <a:lnTo>
                        <a:pt x="338" y="6"/>
                      </a:lnTo>
                      <a:lnTo>
                        <a:pt x="305" y="0"/>
                      </a:lnTo>
                      <a:lnTo>
                        <a:pt x="299" y="12"/>
                      </a:lnTo>
                      <a:lnTo>
                        <a:pt x="267" y="18"/>
                      </a:lnTo>
                      <a:lnTo>
                        <a:pt x="255" y="29"/>
                      </a:lnTo>
                      <a:lnTo>
                        <a:pt x="255" y="29"/>
                      </a:lnTo>
                      <a:close/>
                      <a:moveTo>
                        <a:pt x="516" y="184"/>
                      </a:moveTo>
                      <a:lnTo>
                        <a:pt x="532" y="178"/>
                      </a:lnTo>
                      <a:lnTo>
                        <a:pt x="532" y="191"/>
                      </a:lnTo>
                      <a:lnTo>
                        <a:pt x="522" y="195"/>
                      </a:lnTo>
                      <a:lnTo>
                        <a:pt x="500" y="195"/>
                      </a:lnTo>
                      <a:lnTo>
                        <a:pt x="478" y="201"/>
                      </a:lnTo>
                      <a:lnTo>
                        <a:pt x="465" y="213"/>
                      </a:lnTo>
                      <a:lnTo>
                        <a:pt x="455" y="213"/>
                      </a:lnTo>
                      <a:lnTo>
                        <a:pt x="455" y="201"/>
                      </a:lnTo>
                      <a:lnTo>
                        <a:pt x="471" y="184"/>
                      </a:lnTo>
                      <a:lnTo>
                        <a:pt x="500" y="178"/>
                      </a:lnTo>
                      <a:lnTo>
                        <a:pt x="516" y="184"/>
                      </a:lnTo>
                      <a:lnTo>
                        <a:pt x="516" y="18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2" name="Freeform 144">
                  <a:extLst>
                    <a:ext uri="{FF2B5EF4-FFF2-40B4-BE49-F238E27FC236}">
                      <a16:creationId xmlns:a16="http://schemas.microsoft.com/office/drawing/2014/main" id="{33D3D315-6288-4A6F-B8FF-3399A64040B7}"/>
                    </a:ext>
                  </a:extLst>
                </p:cNvPr>
                <p:cNvSpPr>
                  <a:spLocks/>
                </p:cNvSpPr>
                <p:nvPr/>
              </p:nvSpPr>
              <p:spPr bwMode="auto">
                <a:xfrm>
                  <a:off x="5753460" y="2024089"/>
                  <a:ext cx="193910" cy="106112"/>
                </a:xfrm>
                <a:custGeom>
                  <a:avLst/>
                  <a:gdLst/>
                  <a:ahLst/>
                  <a:cxnLst>
                    <a:cxn ang="0">
                      <a:pos x="118" y="38"/>
                    </a:cxn>
                    <a:cxn ang="0">
                      <a:pos x="112" y="28"/>
                    </a:cxn>
                    <a:cxn ang="0">
                      <a:pos x="79" y="34"/>
                    </a:cxn>
                    <a:cxn ang="0">
                      <a:pos x="41" y="28"/>
                    </a:cxn>
                    <a:cxn ang="0">
                      <a:pos x="29" y="16"/>
                    </a:cxn>
                    <a:cxn ang="0">
                      <a:pos x="45" y="12"/>
                    </a:cxn>
                    <a:cxn ang="0">
                      <a:pos x="41" y="0"/>
                    </a:cxn>
                    <a:cxn ang="0">
                      <a:pos x="23" y="0"/>
                    </a:cxn>
                    <a:cxn ang="0">
                      <a:pos x="19" y="16"/>
                    </a:cxn>
                    <a:cxn ang="0">
                      <a:pos x="12" y="22"/>
                    </a:cxn>
                    <a:cxn ang="0">
                      <a:pos x="0" y="28"/>
                    </a:cxn>
                    <a:cxn ang="0">
                      <a:pos x="12" y="38"/>
                    </a:cxn>
                    <a:cxn ang="0">
                      <a:pos x="19" y="54"/>
                    </a:cxn>
                    <a:cxn ang="0">
                      <a:pos x="12" y="60"/>
                    </a:cxn>
                    <a:cxn ang="0">
                      <a:pos x="23" y="72"/>
                    </a:cxn>
                    <a:cxn ang="0">
                      <a:pos x="57" y="60"/>
                    </a:cxn>
                    <a:cxn ang="0">
                      <a:pos x="67" y="44"/>
                    </a:cxn>
                    <a:cxn ang="0">
                      <a:pos x="83" y="54"/>
                    </a:cxn>
                    <a:cxn ang="0">
                      <a:pos x="83" y="72"/>
                    </a:cxn>
                    <a:cxn ang="0">
                      <a:pos x="102" y="66"/>
                    </a:cxn>
                    <a:cxn ang="0">
                      <a:pos x="106" y="54"/>
                    </a:cxn>
                    <a:cxn ang="0">
                      <a:pos x="140" y="60"/>
                    </a:cxn>
                    <a:cxn ang="0">
                      <a:pos x="134" y="44"/>
                    </a:cxn>
                    <a:cxn ang="0">
                      <a:pos x="118" y="38"/>
                    </a:cxn>
                    <a:cxn ang="0">
                      <a:pos x="118" y="38"/>
                    </a:cxn>
                  </a:cxnLst>
                  <a:rect l="0" t="0" r="r" b="b"/>
                  <a:pathLst>
                    <a:path w="140" h="72">
                      <a:moveTo>
                        <a:pt x="118" y="38"/>
                      </a:moveTo>
                      <a:lnTo>
                        <a:pt x="112" y="28"/>
                      </a:lnTo>
                      <a:lnTo>
                        <a:pt x="79" y="34"/>
                      </a:lnTo>
                      <a:lnTo>
                        <a:pt x="41" y="28"/>
                      </a:lnTo>
                      <a:lnTo>
                        <a:pt x="29" y="16"/>
                      </a:lnTo>
                      <a:lnTo>
                        <a:pt x="45" y="12"/>
                      </a:lnTo>
                      <a:lnTo>
                        <a:pt x="41" y="0"/>
                      </a:lnTo>
                      <a:lnTo>
                        <a:pt x="23" y="0"/>
                      </a:lnTo>
                      <a:lnTo>
                        <a:pt x="19" y="16"/>
                      </a:lnTo>
                      <a:lnTo>
                        <a:pt x="12" y="22"/>
                      </a:lnTo>
                      <a:lnTo>
                        <a:pt x="0" y="28"/>
                      </a:lnTo>
                      <a:lnTo>
                        <a:pt x="12" y="38"/>
                      </a:lnTo>
                      <a:lnTo>
                        <a:pt x="19" y="54"/>
                      </a:lnTo>
                      <a:lnTo>
                        <a:pt x="12" y="60"/>
                      </a:lnTo>
                      <a:lnTo>
                        <a:pt x="23" y="72"/>
                      </a:lnTo>
                      <a:lnTo>
                        <a:pt x="57" y="60"/>
                      </a:lnTo>
                      <a:lnTo>
                        <a:pt x="67" y="44"/>
                      </a:lnTo>
                      <a:lnTo>
                        <a:pt x="83" y="54"/>
                      </a:lnTo>
                      <a:lnTo>
                        <a:pt x="83" y="72"/>
                      </a:lnTo>
                      <a:lnTo>
                        <a:pt x="102" y="66"/>
                      </a:lnTo>
                      <a:lnTo>
                        <a:pt x="106" y="54"/>
                      </a:lnTo>
                      <a:lnTo>
                        <a:pt x="140" y="60"/>
                      </a:lnTo>
                      <a:lnTo>
                        <a:pt x="134" y="44"/>
                      </a:lnTo>
                      <a:lnTo>
                        <a:pt x="118" y="38"/>
                      </a:lnTo>
                      <a:lnTo>
                        <a:pt x="118" y="3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3" name="Freeform 145">
                  <a:extLst>
                    <a:ext uri="{FF2B5EF4-FFF2-40B4-BE49-F238E27FC236}">
                      <a16:creationId xmlns:a16="http://schemas.microsoft.com/office/drawing/2014/main" id="{3F52F743-6A34-4BAE-8C52-6BF6B7026674}"/>
                    </a:ext>
                  </a:extLst>
                </p:cNvPr>
                <p:cNvSpPr>
                  <a:spLocks/>
                </p:cNvSpPr>
                <p:nvPr/>
              </p:nvSpPr>
              <p:spPr bwMode="auto">
                <a:xfrm>
                  <a:off x="3092752" y="973285"/>
                  <a:ext cx="950153" cy="539403"/>
                </a:xfrm>
                <a:custGeom>
                  <a:avLst/>
                  <a:gdLst/>
                  <a:ahLst/>
                  <a:cxnLst>
                    <a:cxn ang="0">
                      <a:pos x="664" y="16"/>
                    </a:cxn>
                    <a:cxn ang="0">
                      <a:pos x="581" y="12"/>
                    </a:cxn>
                    <a:cxn ang="0">
                      <a:pos x="537" y="34"/>
                    </a:cxn>
                    <a:cxn ang="0">
                      <a:pos x="476" y="22"/>
                    </a:cxn>
                    <a:cxn ang="0">
                      <a:pos x="447" y="12"/>
                    </a:cxn>
                    <a:cxn ang="0">
                      <a:pos x="415" y="0"/>
                    </a:cxn>
                    <a:cxn ang="0">
                      <a:pos x="377" y="12"/>
                    </a:cxn>
                    <a:cxn ang="0">
                      <a:pos x="332" y="6"/>
                    </a:cxn>
                    <a:cxn ang="0">
                      <a:pos x="332" y="28"/>
                    </a:cxn>
                    <a:cxn ang="0">
                      <a:pos x="288" y="16"/>
                    </a:cxn>
                    <a:cxn ang="0">
                      <a:pos x="259" y="22"/>
                    </a:cxn>
                    <a:cxn ang="0">
                      <a:pos x="237" y="16"/>
                    </a:cxn>
                    <a:cxn ang="0">
                      <a:pos x="192" y="22"/>
                    </a:cxn>
                    <a:cxn ang="0">
                      <a:pos x="105" y="38"/>
                    </a:cxn>
                    <a:cxn ang="0">
                      <a:pos x="83" y="57"/>
                    </a:cxn>
                    <a:cxn ang="0">
                      <a:pos x="4" y="73"/>
                    </a:cxn>
                    <a:cxn ang="0">
                      <a:pos x="4" y="95"/>
                    </a:cxn>
                    <a:cxn ang="0">
                      <a:pos x="55" y="101"/>
                    </a:cxn>
                    <a:cxn ang="0">
                      <a:pos x="144" y="117"/>
                    </a:cxn>
                    <a:cxn ang="0">
                      <a:pos x="132" y="156"/>
                    </a:cxn>
                    <a:cxn ang="0">
                      <a:pos x="144" y="168"/>
                    </a:cxn>
                    <a:cxn ang="0">
                      <a:pos x="160" y="172"/>
                    </a:cxn>
                    <a:cxn ang="0">
                      <a:pos x="170" y="190"/>
                    </a:cxn>
                    <a:cxn ang="0">
                      <a:pos x="144" y="190"/>
                    </a:cxn>
                    <a:cxn ang="0">
                      <a:pos x="166" y="213"/>
                    </a:cxn>
                    <a:cxn ang="0">
                      <a:pos x="126" y="235"/>
                    </a:cxn>
                    <a:cxn ang="0">
                      <a:pos x="115" y="261"/>
                    </a:cxn>
                    <a:cxn ang="0">
                      <a:pos x="121" y="279"/>
                    </a:cxn>
                    <a:cxn ang="0">
                      <a:pos x="121" y="289"/>
                    </a:cxn>
                    <a:cxn ang="0">
                      <a:pos x="126" y="302"/>
                    </a:cxn>
                    <a:cxn ang="0">
                      <a:pos x="144" y="340"/>
                    </a:cxn>
                    <a:cxn ang="0">
                      <a:pos x="176" y="346"/>
                    </a:cxn>
                    <a:cxn ang="0">
                      <a:pos x="204" y="362"/>
                    </a:cxn>
                    <a:cxn ang="0">
                      <a:pos x="227" y="318"/>
                    </a:cxn>
                    <a:cxn ang="0">
                      <a:pos x="275" y="283"/>
                    </a:cxn>
                    <a:cxn ang="0">
                      <a:pos x="310" y="267"/>
                    </a:cxn>
                    <a:cxn ang="0">
                      <a:pos x="381" y="229"/>
                    </a:cxn>
                    <a:cxn ang="0">
                      <a:pos x="537" y="194"/>
                    </a:cxn>
                    <a:cxn ang="0">
                      <a:pos x="464" y="190"/>
                    </a:cxn>
                    <a:cxn ang="0">
                      <a:pos x="492" y="178"/>
                    </a:cxn>
                    <a:cxn ang="0">
                      <a:pos x="510" y="168"/>
                    </a:cxn>
                    <a:cxn ang="0">
                      <a:pos x="530" y="178"/>
                    </a:cxn>
                    <a:cxn ang="0">
                      <a:pos x="549" y="178"/>
                    </a:cxn>
                    <a:cxn ang="0">
                      <a:pos x="520" y="156"/>
                    </a:cxn>
                    <a:cxn ang="0">
                      <a:pos x="530" y="150"/>
                    </a:cxn>
                    <a:cxn ang="0">
                      <a:pos x="543" y="134"/>
                    </a:cxn>
                    <a:cxn ang="0">
                      <a:pos x="571" y="127"/>
                    </a:cxn>
                    <a:cxn ang="0">
                      <a:pos x="581" y="123"/>
                    </a:cxn>
                    <a:cxn ang="0">
                      <a:pos x="587" y="111"/>
                    </a:cxn>
                    <a:cxn ang="0">
                      <a:pos x="587" y="95"/>
                    </a:cxn>
                    <a:cxn ang="0">
                      <a:pos x="597" y="117"/>
                    </a:cxn>
                    <a:cxn ang="0">
                      <a:pos x="609" y="101"/>
                    </a:cxn>
                    <a:cxn ang="0">
                      <a:pos x="565" y="73"/>
                    </a:cxn>
                    <a:cxn ang="0">
                      <a:pos x="609" y="44"/>
                    </a:cxn>
                    <a:cxn ang="0">
                      <a:pos x="686" y="28"/>
                    </a:cxn>
                  </a:cxnLst>
                  <a:rect l="0" t="0" r="r" b="b"/>
                  <a:pathLst>
                    <a:path w="686" h="366">
                      <a:moveTo>
                        <a:pt x="686" y="28"/>
                      </a:moveTo>
                      <a:lnTo>
                        <a:pt x="664" y="16"/>
                      </a:lnTo>
                      <a:lnTo>
                        <a:pt x="565" y="38"/>
                      </a:lnTo>
                      <a:lnTo>
                        <a:pt x="581" y="12"/>
                      </a:lnTo>
                      <a:lnTo>
                        <a:pt x="553" y="16"/>
                      </a:lnTo>
                      <a:lnTo>
                        <a:pt x="537" y="34"/>
                      </a:lnTo>
                      <a:lnTo>
                        <a:pt x="537" y="16"/>
                      </a:lnTo>
                      <a:lnTo>
                        <a:pt x="476" y="22"/>
                      </a:lnTo>
                      <a:lnTo>
                        <a:pt x="526" y="6"/>
                      </a:lnTo>
                      <a:lnTo>
                        <a:pt x="447" y="12"/>
                      </a:lnTo>
                      <a:lnTo>
                        <a:pt x="447" y="0"/>
                      </a:lnTo>
                      <a:lnTo>
                        <a:pt x="415" y="0"/>
                      </a:lnTo>
                      <a:lnTo>
                        <a:pt x="403" y="12"/>
                      </a:lnTo>
                      <a:lnTo>
                        <a:pt x="377" y="12"/>
                      </a:lnTo>
                      <a:lnTo>
                        <a:pt x="377" y="0"/>
                      </a:lnTo>
                      <a:lnTo>
                        <a:pt x="332" y="6"/>
                      </a:lnTo>
                      <a:lnTo>
                        <a:pt x="354" y="16"/>
                      </a:lnTo>
                      <a:lnTo>
                        <a:pt x="332" y="28"/>
                      </a:lnTo>
                      <a:lnTo>
                        <a:pt x="326" y="16"/>
                      </a:lnTo>
                      <a:lnTo>
                        <a:pt x="288" y="16"/>
                      </a:lnTo>
                      <a:lnTo>
                        <a:pt x="275" y="28"/>
                      </a:lnTo>
                      <a:lnTo>
                        <a:pt x="259" y="22"/>
                      </a:lnTo>
                      <a:lnTo>
                        <a:pt x="243" y="28"/>
                      </a:lnTo>
                      <a:lnTo>
                        <a:pt x="237" y="16"/>
                      </a:lnTo>
                      <a:lnTo>
                        <a:pt x="188" y="12"/>
                      </a:lnTo>
                      <a:lnTo>
                        <a:pt x="192" y="22"/>
                      </a:lnTo>
                      <a:lnTo>
                        <a:pt x="150" y="28"/>
                      </a:lnTo>
                      <a:lnTo>
                        <a:pt x="105" y="38"/>
                      </a:lnTo>
                      <a:lnTo>
                        <a:pt x="115" y="51"/>
                      </a:lnTo>
                      <a:lnTo>
                        <a:pt x="83" y="57"/>
                      </a:lnTo>
                      <a:lnTo>
                        <a:pt x="0" y="61"/>
                      </a:lnTo>
                      <a:lnTo>
                        <a:pt x="4" y="73"/>
                      </a:lnTo>
                      <a:lnTo>
                        <a:pt x="61" y="83"/>
                      </a:lnTo>
                      <a:lnTo>
                        <a:pt x="4" y="95"/>
                      </a:lnTo>
                      <a:lnTo>
                        <a:pt x="20" y="111"/>
                      </a:lnTo>
                      <a:lnTo>
                        <a:pt x="55" y="101"/>
                      </a:lnTo>
                      <a:lnTo>
                        <a:pt x="93" y="101"/>
                      </a:lnTo>
                      <a:lnTo>
                        <a:pt x="144" y="117"/>
                      </a:lnTo>
                      <a:lnTo>
                        <a:pt x="144" y="146"/>
                      </a:lnTo>
                      <a:lnTo>
                        <a:pt x="132" y="156"/>
                      </a:lnTo>
                      <a:lnTo>
                        <a:pt x="132" y="178"/>
                      </a:lnTo>
                      <a:lnTo>
                        <a:pt x="144" y="168"/>
                      </a:lnTo>
                      <a:lnTo>
                        <a:pt x="150" y="156"/>
                      </a:lnTo>
                      <a:lnTo>
                        <a:pt x="160" y="172"/>
                      </a:lnTo>
                      <a:lnTo>
                        <a:pt x="176" y="178"/>
                      </a:lnTo>
                      <a:lnTo>
                        <a:pt x="170" y="190"/>
                      </a:lnTo>
                      <a:lnTo>
                        <a:pt x="150" y="178"/>
                      </a:lnTo>
                      <a:lnTo>
                        <a:pt x="144" y="190"/>
                      </a:lnTo>
                      <a:lnTo>
                        <a:pt x="166" y="200"/>
                      </a:lnTo>
                      <a:lnTo>
                        <a:pt x="166" y="213"/>
                      </a:lnTo>
                      <a:lnTo>
                        <a:pt x="138" y="213"/>
                      </a:lnTo>
                      <a:lnTo>
                        <a:pt x="126" y="235"/>
                      </a:lnTo>
                      <a:lnTo>
                        <a:pt x="109" y="245"/>
                      </a:lnTo>
                      <a:lnTo>
                        <a:pt x="115" y="261"/>
                      </a:lnTo>
                      <a:lnTo>
                        <a:pt x="105" y="261"/>
                      </a:lnTo>
                      <a:lnTo>
                        <a:pt x="121" y="279"/>
                      </a:lnTo>
                      <a:lnTo>
                        <a:pt x="105" y="283"/>
                      </a:lnTo>
                      <a:lnTo>
                        <a:pt x="121" y="289"/>
                      </a:lnTo>
                      <a:lnTo>
                        <a:pt x="115" y="302"/>
                      </a:lnTo>
                      <a:lnTo>
                        <a:pt x="126" y="302"/>
                      </a:lnTo>
                      <a:lnTo>
                        <a:pt x="126" y="318"/>
                      </a:lnTo>
                      <a:lnTo>
                        <a:pt x="144" y="340"/>
                      </a:lnTo>
                      <a:lnTo>
                        <a:pt x="154" y="350"/>
                      </a:lnTo>
                      <a:lnTo>
                        <a:pt x="176" y="346"/>
                      </a:lnTo>
                      <a:lnTo>
                        <a:pt x="192" y="366"/>
                      </a:lnTo>
                      <a:lnTo>
                        <a:pt x="204" y="362"/>
                      </a:lnTo>
                      <a:lnTo>
                        <a:pt x="227" y="334"/>
                      </a:lnTo>
                      <a:lnTo>
                        <a:pt x="227" y="318"/>
                      </a:lnTo>
                      <a:lnTo>
                        <a:pt x="259" y="302"/>
                      </a:lnTo>
                      <a:lnTo>
                        <a:pt x="275" y="283"/>
                      </a:lnTo>
                      <a:lnTo>
                        <a:pt x="271" y="267"/>
                      </a:lnTo>
                      <a:lnTo>
                        <a:pt x="310" y="267"/>
                      </a:lnTo>
                      <a:lnTo>
                        <a:pt x="371" y="251"/>
                      </a:lnTo>
                      <a:lnTo>
                        <a:pt x="381" y="229"/>
                      </a:lnTo>
                      <a:lnTo>
                        <a:pt x="425" y="229"/>
                      </a:lnTo>
                      <a:lnTo>
                        <a:pt x="537" y="194"/>
                      </a:lnTo>
                      <a:lnTo>
                        <a:pt x="510" y="190"/>
                      </a:lnTo>
                      <a:lnTo>
                        <a:pt x="464" y="190"/>
                      </a:lnTo>
                      <a:lnTo>
                        <a:pt x="460" y="178"/>
                      </a:lnTo>
                      <a:lnTo>
                        <a:pt x="492" y="178"/>
                      </a:lnTo>
                      <a:lnTo>
                        <a:pt x="470" y="168"/>
                      </a:lnTo>
                      <a:lnTo>
                        <a:pt x="510" y="168"/>
                      </a:lnTo>
                      <a:lnTo>
                        <a:pt x="514" y="184"/>
                      </a:lnTo>
                      <a:lnTo>
                        <a:pt x="530" y="178"/>
                      </a:lnTo>
                      <a:lnTo>
                        <a:pt x="537" y="190"/>
                      </a:lnTo>
                      <a:lnTo>
                        <a:pt x="549" y="178"/>
                      </a:lnTo>
                      <a:lnTo>
                        <a:pt x="543" y="162"/>
                      </a:lnTo>
                      <a:lnTo>
                        <a:pt x="520" y="156"/>
                      </a:lnTo>
                      <a:lnTo>
                        <a:pt x="504" y="146"/>
                      </a:lnTo>
                      <a:lnTo>
                        <a:pt x="530" y="150"/>
                      </a:lnTo>
                      <a:lnTo>
                        <a:pt x="549" y="156"/>
                      </a:lnTo>
                      <a:lnTo>
                        <a:pt x="543" y="134"/>
                      </a:lnTo>
                      <a:lnTo>
                        <a:pt x="559" y="140"/>
                      </a:lnTo>
                      <a:lnTo>
                        <a:pt x="571" y="127"/>
                      </a:lnTo>
                      <a:lnTo>
                        <a:pt x="559" y="123"/>
                      </a:lnTo>
                      <a:lnTo>
                        <a:pt x="581" y="123"/>
                      </a:lnTo>
                      <a:lnTo>
                        <a:pt x="571" y="111"/>
                      </a:lnTo>
                      <a:lnTo>
                        <a:pt x="587" y="111"/>
                      </a:lnTo>
                      <a:lnTo>
                        <a:pt x="571" y="95"/>
                      </a:lnTo>
                      <a:lnTo>
                        <a:pt x="587" y="95"/>
                      </a:lnTo>
                      <a:lnTo>
                        <a:pt x="597" y="105"/>
                      </a:lnTo>
                      <a:lnTo>
                        <a:pt x="597" y="117"/>
                      </a:lnTo>
                      <a:lnTo>
                        <a:pt x="615" y="117"/>
                      </a:lnTo>
                      <a:lnTo>
                        <a:pt x="609" y="101"/>
                      </a:lnTo>
                      <a:lnTo>
                        <a:pt x="615" y="73"/>
                      </a:lnTo>
                      <a:lnTo>
                        <a:pt x="565" y="73"/>
                      </a:lnTo>
                      <a:lnTo>
                        <a:pt x="597" y="57"/>
                      </a:lnTo>
                      <a:lnTo>
                        <a:pt x="609" y="44"/>
                      </a:lnTo>
                      <a:lnTo>
                        <a:pt x="686" y="28"/>
                      </a:lnTo>
                      <a:lnTo>
                        <a:pt x="686" y="2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4" name="Freeform 147">
                  <a:extLst>
                    <a:ext uri="{FF2B5EF4-FFF2-40B4-BE49-F238E27FC236}">
                      <a16:creationId xmlns:a16="http://schemas.microsoft.com/office/drawing/2014/main" id="{4D6A997D-2794-4271-9C20-C5412D627708}"/>
                    </a:ext>
                  </a:extLst>
                </p:cNvPr>
                <p:cNvSpPr>
                  <a:spLocks/>
                </p:cNvSpPr>
                <p:nvPr/>
              </p:nvSpPr>
              <p:spPr bwMode="auto">
                <a:xfrm>
                  <a:off x="3774204" y="1334361"/>
                  <a:ext cx="199449" cy="89901"/>
                </a:xfrm>
                <a:custGeom>
                  <a:avLst/>
                  <a:gdLst/>
                  <a:ahLst/>
                  <a:cxnLst>
                    <a:cxn ang="0">
                      <a:pos x="144" y="28"/>
                    </a:cxn>
                    <a:cxn ang="0">
                      <a:pos x="128" y="16"/>
                    </a:cxn>
                    <a:cxn ang="0">
                      <a:pos x="117" y="0"/>
                    </a:cxn>
                    <a:cxn ang="0">
                      <a:pos x="89" y="12"/>
                    </a:cxn>
                    <a:cxn ang="0">
                      <a:pos x="67" y="12"/>
                    </a:cxn>
                    <a:cxn ang="0">
                      <a:pos x="45" y="22"/>
                    </a:cxn>
                    <a:cxn ang="0">
                      <a:pos x="22" y="6"/>
                    </a:cxn>
                    <a:cxn ang="0">
                      <a:pos x="6" y="16"/>
                    </a:cxn>
                    <a:cxn ang="0">
                      <a:pos x="18" y="28"/>
                    </a:cxn>
                    <a:cxn ang="0">
                      <a:pos x="0" y="34"/>
                    </a:cxn>
                    <a:cxn ang="0">
                      <a:pos x="22" y="38"/>
                    </a:cxn>
                    <a:cxn ang="0">
                      <a:pos x="28" y="57"/>
                    </a:cxn>
                    <a:cxn ang="0">
                      <a:pos x="57" y="61"/>
                    </a:cxn>
                    <a:cxn ang="0">
                      <a:pos x="105" y="44"/>
                    </a:cxn>
                    <a:cxn ang="0">
                      <a:pos x="128" y="44"/>
                    </a:cxn>
                    <a:cxn ang="0">
                      <a:pos x="144" y="28"/>
                    </a:cxn>
                    <a:cxn ang="0">
                      <a:pos x="144" y="28"/>
                    </a:cxn>
                  </a:cxnLst>
                  <a:rect l="0" t="0" r="r" b="b"/>
                  <a:pathLst>
                    <a:path w="144" h="61">
                      <a:moveTo>
                        <a:pt x="144" y="28"/>
                      </a:moveTo>
                      <a:lnTo>
                        <a:pt x="128" y="16"/>
                      </a:lnTo>
                      <a:lnTo>
                        <a:pt x="117" y="0"/>
                      </a:lnTo>
                      <a:lnTo>
                        <a:pt x="89" y="12"/>
                      </a:lnTo>
                      <a:lnTo>
                        <a:pt x="67" y="12"/>
                      </a:lnTo>
                      <a:lnTo>
                        <a:pt x="45" y="22"/>
                      </a:lnTo>
                      <a:lnTo>
                        <a:pt x="22" y="6"/>
                      </a:lnTo>
                      <a:lnTo>
                        <a:pt x="6" y="16"/>
                      </a:lnTo>
                      <a:lnTo>
                        <a:pt x="18" y="28"/>
                      </a:lnTo>
                      <a:lnTo>
                        <a:pt x="0" y="34"/>
                      </a:lnTo>
                      <a:lnTo>
                        <a:pt x="22" y="38"/>
                      </a:lnTo>
                      <a:lnTo>
                        <a:pt x="28" y="57"/>
                      </a:lnTo>
                      <a:lnTo>
                        <a:pt x="57" y="61"/>
                      </a:lnTo>
                      <a:lnTo>
                        <a:pt x="105" y="44"/>
                      </a:lnTo>
                      <a:lnTo>
                        <a:pt x="128" y="44"/>
                      </a:lnTo>
                      <a:lnTo>
                        <a:pt x="144" y="28"/>
                      </a:lnTo>
                      <a:lnTo>
                        <a:pt x="144" y="2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5" name="Freeform 148">
                  <a:extLst>
                    <a:ext uri="{FF2B5EF4-FFF2-40B4-BE49-F238E27FC236}">
                      <a16:creationId xmlns:a16="http://schemas.microsoft.com/office/drawing/2014/main" id="{DEC5E35B-7805-4A32-B58B-F83CC1CDFAFE}"/>
                    </a:ext>
                  </a:extLst>
                </p:cNvPr>
                <p:cNvSpPr>
                  <a:spLocks/>
                </p:cNvSpPr>
                <p:nvPr/>
              </p:nvSpPr>
              <p:spPr bwMode="auto">
                <a:xfrm>
                  <a:off x="4382247" y="1023393"/>
                  <a:ext cx="235461" cy="81058"/>
                </a:xfrm>
                <a:custGeom>
                  <a:avLst/>
                  <a:gdLst/>
                  <a:ahLst/>
                  <a:cxnLst>
                    <a:cxn ang="0">
                      <a:pos x="170" y="4"/>
                    </a:cxn>
                    <a:cxn ang="0">
                      <a:pos x="144" y="0"/>
                    </a:cxn>
                    <a:cxn ang="0">
                      <a:pos x="122" y="4"/>
                    </a:cxn>
                    <a:cxn ang="0">
                      <a:pos x="106" y="4"/>
                    </a:cxn>
                    <a:cxn ang="0">
                      <a:pos x="87" y="10"/>
                    </a:cxn>
                    <a:cxn ang="0">
                      <a:pos x="61" y="10"/>
                    </a:cxn>
                    <a:cxn ang="0">
                      <a:pos x="61" y="17"/>
                    </a:cxn>
                    <a:cxn ang="0">
                      <a:pos x="43" y="10"/>
                    </a:cxn>
                    <a:cxn ang="0">
                      <a:pos x="27" y="17"/>
                    </a:cxn>
                    <a:cxn ang="0">
                      <a:pos x="23" y="10"/>
                    </a:cxn>
                    <a:cxn ang="0">
                      <a:pos x="0" y="17"/>
                    </a:cxn>
                    <a:cxn ang="0">
                      <a:pos x="27" y="27"/>
                    </a:cxn>
                    <a:cxn ang="0">
                      <a:pos x="49" y="49"/>
                    </a:cxn>
                    <a:cxn ang="0">
                      <a:pos x="71" y="55"/>
                    </a:cxn>
                    <a:cxn ang="0">
                      <a:pos x="106" y="33"/>
                    </a:cxn>
                    <a:cxn ang="0">
                      <a:pos x="122" y="33"/>
                    </a:cxn>
                    <a:cxn ang="0">
                      <a:pos x="132" y="45"/>
                    </a:cxn>
                    <a:cxn ang="0">
                      <a:pos x="148" y="49"/>
                    </a:cxn>
                    <a:cxn ang="0">
                      <a:pos x="160" y="45"/>
                    </a:cxn>
                    <a:cxn ang="0">
                      <a:pos x="144" y="33"/>
                    </a:cxn>
                    <a:cxn ang="0">
                      <a:pos x="138" y="17"/>
                    </a:cxn>
                    <a:cxn ang="0">
                      <a:pos x="154" y="17"/>
                    </a:cxn>
                    <a:cxn ang="0">
                      <a:pos x="170" y="27"/>
                    </a:cxn>
                    <a:cxn ang="0">
                      <a:pos x="170" y="4"/>
                    </a:cxn>
                    <a:cxn ang="0">
                      <a:pos x="170" y="4"/>
                    </a:cxn>
                  </a:cxnLst>
                  <a:rect l="0" t="0" r="r" b="b"/>
                  <a:pathLst>
                    <a:path w="170" h="55">
                      <a:moveTo>
                        <a:pt x="170" y="4"/>
                      </a:moveTo>
                      <a:lnTo>
                        <a:pt x="144" y="0"/>
                      </a:lnTo>
                      <a:lnTo>
                        <a:pt x="122" y="4"/>
                      </a:lnTo>
                      <a:lnTo>
                        <a:pt x="106" y="4"/>
                      </a:lnTo>
                      <a:lnTo>
                        <a:pt x="87" y="10"/>
                      </a:lnTo>
                      <a:lnTo>
                        <a:pt x="61" y="10"/>
                      </a:lnTo>
                      <a:lnTo>
                        <a:pt x="61" y="17"/>
                      </a:lnTo>
                      <a:lnTo>
                        <a:pt x="43" y="10"/>
                      </a:lnTo>
                      <a:lnTo>
                        <a:pt x="27" y="17"/>
                      </a:lnTo>
                      <a:lnTo>
                        <a:pt x="23" y="10"/>
                      </a:lnTo>
                      <a:lnTo>
                        <a:pt x="0" y="17"/>
                      </a:lnTo>
                      <a:lnTo>
                        <a:pt x="27" y="27"/>
                      </a:lnTo>
                      <a:lnTo>
                        <a:pt x="49" y="49"/>
                      </a:lnTo>
                      <a:lnTo>
                        <a:pt x="71" y="55"/>
                      </a:lnTo>
                      <a:lnTo>
                        <a:pt x="106" y="33"/>
                      </a:lnTo>
                      <a:lnTo>
                        <a:pt x="122" y="33"/>
                      </a:lnTo>
                      <a:lnTo>
                        <a:pt x="132" y="45"/>
                      </a:lnTo>
                      <a:lnTo>
                        <a:pt x="148" y="49"/>
                      </a:lnTo>
                      <a:lnTo>
                        <a:pt x="160" y="45"/>
                      </a:lnTo>
                      <a:lnTo>
                        <a:pt x="144" y="33"/>
                      </a:lnTo>
                      <a:lnTo>
                        <a:pt x="138" y="17"/>
                      </a:lnTo>
                      <a:lnTo>
                        <a:pt x="154" y="17"/>
                      </a:lnTo>
                      <a:lnTo>
                        <a:pt x="170" y="27"/>
                      </a:lnTo>
                      <a:lnTo>
                        <a:pt x="170" y="4"/>
                      </a:lnTo>
                      <a:lnTo>
                        <a:pt x="170"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6" name="Freeform 149">
                  <a:extLst>
                    <a:ext uri="{FF2B5EF4-FFF2-40B4-BE49-F238E27FC236}">
                      <a16:creationId xmlns:a16="http://schemas.microsoft.com/office/drawing/2014/main" id="{221C02C1-7B1A-44D8-9E5B-51C7E34CF711}"/>
                    </a:ext>
                  </a:extLst>
                </p:cNvPr>
                <p:cNvSpPr>
                  <a:spLocks/>
                </p:cNvSpPr>
                <p:nvPr/>
              </p:nvSpPr>
              <p:spPr bwMode="auto">
                <a:xfrm>
                  <a:off x="4304684" y="1226775"/>
                  <a:ext cx="459841" cy="322758"/>
                </a:xfrm>
                <a:custGeom>
                  <a:avLst/>
                  <a:gdLst/>
                  <a:ahLst/>
                  <a:cxnLst>
                    <a:cxn ang="0">
                      <a:pos x="243" y="0"/>
                    </a:cxn>
                    <a:cxn ang="0">
                      <a:pos x="232" y="18"/>
                    </a:cxn>
                    <a:cxn ang="0">
                      <a:pos x="204" y="12"/>
                    </a:cxn>
                    <a:cxn ang="0">
                      <a:pos x="194" y="22"/>
                    </a:cxn>
                    <a:cxn ang="0">
                      <a:pos x="149" y="34"/>
                    </a:cxn>
                    <a:cxn ang="0">
                      <a:pos x="143" y="45"/>
                    </a:cxn>
                    <a:cxn ang="0">
                      <a:pos x="111" y="51"/>
                    </a:cxn>
                    <a:cxn ang="0">
                      <a:pos x="133" y="67"/>
                    </a:cxn>
                    <a:cxn ang="0">
                      <a:pos x="117" y="79"/>
                    </a:cxn>
                    <a:cxn ang="0">
                      <a:pos x="99" y="101"/>
                    </a:cxn>
                    <a:cxn ang="0">
                      <a:pos x="83" y="111"/>
                    </a:cxn>
                    <a:cxn ang="0">
                      <a:pos x="56" y="124"/>
                    </a:cxn>
                    <a:cxn ang="0">
                      <a:pos x="38" y="134"/>
                    </a:cxn>
                    <a:cxn ang="0">
                      <a:pos x="12" y="152"/>
                    </a:cxn>
                    <a:cxn ang="0">
                      <a:pos x="22" y="168"/>
                    </a:cxn>
                    <a:cxn ang="0">
                      <a:pos x="22" y="184"/>
                    </a:cxn>
                    <a:cxn ang="0">
                      <a:pos x="32" y="200"/>
                    </a:cxn>
                    <a:cxn ang="0">
                      <a:pos x="56" y="219"/>
                    </a:cxn>
                    <a:cxn ang="0">
                      <a:pos x="105" y="207"/>
                    </a:cxn>
                    <a:cxn ang="0">
                      <a:pos x="121" y="168"/>
                    </a:cxn>
                    <a:cxn ang="0">
                      <a:pos x="121" y="124"/>
                    </a:cxn>
                    <a:cxn ang="0">
                      <a:pos x="143" y="95"/>
                    </a:cxn>
                    <a:cxn ang="0">
                      <a:pos x="222" y="34"/>
                    </a:cxn>
                    <a:cxn ang="0">
                      <a:pos x="277" y="41"/>
                    </a:cxn>
                    <a:cxn ang="0">
                      <a:pos x="299" y="18"/>
                    </a:cxn>
                    <a:cxn ang="0">
                      <a:pos x="332" y="18"/>
                    </a:cxn>
                    <a:cxn ang="0">
                      <a:pos x="277" y="6"/>
                    </a:cxn>
                    <a:cxn ang="0">
                      <a:pos x="269" y="8"/>
                    </a:cxn>
                    <a:cxn ang="0">
                      <a:pos x="265" y="8"/>
                    </a:cxn>
                    <a:cxn ang="0">
                      <a:pos x="261" y="8"/>
                    </a:cxn>
                    <a:cxn ang="0">
                      <a:pos x="261" y="6"/>
                    </a:cxn>
                    <a:cxn ang="0">
                      <a:pos x="261" y="0"/>
                    </a:cxn>
                  </a:cxnLst>
                  <a:rect l="0" t="0" r="r" b="b"/>
                  <a:pathLst>
                    <a:path w="332" h="219">
                      <a:moveTo>
                        <a:pt x="261" y="0"/>
                      </a:moveTo>
                      <a:lnTo>
                        <a:pt x="243" y="0"/>
                      </a:lnTo>
                      <a:lnTo>
                        <a:pt x="249" y="12"/>
                      </a:lnTo>
                      <a:lnTo>
                        <a:pt x="232" y="18"/>
                      </a:lnTo>
                      <a:lnTo>
                        <a:pt x="226" y="6"/>
                      </a:lnTo>
                      <a:lnTo>
                        <a:pt x="204" y="12"/>
                      </a:lnTo>
                      <a:lnTo>
                        <a:pt x="210" y="22"/>
                      </a:lnTo>
                      <a:lnTo>
                        <a:pt x="194" y="22"/>
                      </a:lnTo>
                      <a:lnTo>
                        <a:pt x="188" y="18"/>
                      </a:lnTo>
                      <a:lnTo>
                        <a:pt x="149" y="34"/>
                      </a:lnTo>
                      <a:lnTo>
                        <a:pt x="156" y="41"/>
                      </a:lnTo>
                      <a:lnTo>
                        <a:pt x="143" y="45"/>
                      </a:lnTo>
                      <a:lnTo>
                        <a:pt x="133" y="28"/>
                      </a:lnTo>
                      <a:lnTo>
                        <a:pt x="111" y="51"/>
                      </a:lnTo>
                      <a:lnTo>
                        <a:pt x="127" y="51"/>
                      </a:lnTo>
                      <a:lnTo>
                        <a:pt x="133" y="67"/>
                      </a:lnTo>
                      <a:lnTo>
                        <a:pt x="117" y="67"/>
                      </a:lnTo>
                      <a:lnTo>
                        <a:pt x="117" y="79"/>
                      </a:lnTo>
                      <a:lnTo>
                        <a:pt x="111" y="85"/>
                      </a:lnTo>
                      <a:lnTo>
                        <a:pt x="99" y="101"/>
                      </a:lnTo>
                      <a:lnTo>
                        <a:pt x="99" y="107"/>
                      </a:lnTo>
                      <a:lnTo>
                        <a:pt x="83" y="111"/>
                      </a:lnTo>
                      <a:lnTo>
                        <a:pt x="73" y="124"/>
                      </a:lnTo>
                      <a:lnTo>
                        <a:pt x="56" y="124"/>
                      </a:lnTo>
                      <a:lnTo>
                        <a:pt x="56" y="134"/>
                      </a:lnTo>
                      <a:lnTo>
                        <a:pt x="38" y="134"/>
                      </a:lnTo>
                      <a:lnTo>
                        <a:pt x="32" y="146"/>
                      </a:lnTo>
                      <a:lnTo>
                        <a:pt x="12" y="152"/>
                      </a:lnTo>
                      <a:lnTo>
                        <a:pt x="0" y="162"/>
                      </a:lnTo>
                      <a:lnTo>
                        <a:pt x="22" y="168"/>
                      </a:lnTo>
                      <a:lnTo>
                        <a:pt x="6" y="174"/>
                      </a:lnTo>
                      <a:lnTo>
                        <a:pt x="22" y="184"/>
                      </a:lnTo>
                      <a:lnTo>
                        <a:pt x="12" y="194"/>
                      </a:lnTo>
                      <a:lnTo>
                        <a:pt x="32" y="200"/>
                      </a:lnTo>
                      <a:lnTo>
                        <a:pt x="22" y="213"/>
                      </a:lnTo>
                      <a:lnTo>
                        <a:pt x="56" y="219"/>
                      </a:lnTo>
                      <a:lnTo>
                        <a:pt x="89" y="194"/>
                      </a:lnTo>
                      <a:lnTo>
                        <a:pt x="105" y="207"/>
                      </a:lnTo>
                      <a:lnTo>
                        <a:pt x="117" y="190"/>
                      </a:lnTo>
                      <a:lnTo>
                        <a:pt x="121" y="168"/>
                      </a:lnTo>
                      <a:lnTo>
                        <a:pt x="111" y="152"/>
                      </a:lnTo>
                      <a:lnTo>
                        <a:pt x="121" y="124"/>
                      </a:lnTo>
                      <a:lnTo>
                        <a:pt x="139" y="117"/>
                      </a:lnTo>
                      <a:lnTo>
                        <a:pt x="143" y="95"/>
                      </a:lnTo>
                      <a:lnTo>
                        <a:pt x="178" y="45"/>
                      </a:lnTo>
                      <a:lnTo>
                        <a:pt x="222" y="34"/>
                      </a:lnTo>
                      <a:lnTo>
                        <a:pt x="243" y="45"/>
                      </a:lnTo>
                      <a:lnTo>
                        <a:pt x="277" y="41"/>
                      </a:lnTo>
                      <a:lnTo>
                        <a:pt x="277" y="22"/>
                      </a:lnTo>
                      <a:lnTo>
                        <a:pt x="299" y="18"/>
                      </a:lnTo>
                      <a:lnTo>
                        <a:pt x="322" y="34"/>
                      </a:lnTo>
                      <a:lnTo>
                        <a:pt x="332" y="18"/>
                      </a:lnTo>
                      <a:lnTo>
                        <a:pt x="305" y="6"/>
                      </a:lnTo>
                      <a:lnTo>
                        <a:pt x="277" y="6"/>
                      </a:lnTo>
                      <a:lnTo>
                        <a:pt x="273" y="6"/>
                      </a:lnTo>
                      <a:lnTo>
                        <a:pt x="269" y="8"/>
                      </a:lnTo>
                      <a:lnTo>
                        <a:pt x="267" y="8"/>
                      </a:lnTo>
                      <a:lnTo>
                        <a:pt x="265" y="8"/>
                      </a:lnTo>
                      <a:lnTo>
                        <a:pt x="263" y="8"/>
                      </a:lnTo>
                      <a:lnTo>
                        <a:pt x="261" y="8"/>
                      </a:lnTo>
                      <a:lnTo>
                        <a:pt x="261" y="6"/>
                      </a:lnTo>
                      <a:lnTo>
                        <a:pt x="261" y="6"/>
                      </a:lnTo>
                      <a:lnTo>
                        <a:pt x="261" y="0"/>
                      </a:lnTo>
                      <a:lnTo>
                        <a:pt x="26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7" name="Freeform 150">
                  <a:extLst>
                    <a:ext uri="{FF2B5EF4-FFF2-40B4-BE49-F238E27FC236}">
                      <a16:creationId xmlns:a16="http://schemas.microsoft.com/office/drawing/2014/main" id="{04E6EE72-0FCF-43B3-9640-F9F014D511D2}"/>
                    </a:ext>
                  </a:extLst>
                </p:cNvPr>
                <p:cNvSpPr>
                  <a:spLocks/>
                </p:cNvSpPr>
                <p:nvPr/>
              </p:nvSpPr>
              <p:spPr bwMode="auto">
                <a:xfrm>
                  <a:off x="7321352" y="1194352"/>
                  <a:ext cx="62328" cy="32424"/>
                </a:xfrm>
                <a:custGeom>
                  <a:avLst/>
                  <a:gdLst/>
                  <a:ahLst/>
                  <a:cxnLst>
                    <a:cxn ang="0">
                      <a:pos x="22" y="0"/>
                    </a:cxn>
                    <a:cxn ang="0">
                      <a:pos x="6" y="6"/>
                    </a:cxn>
                    <a:cxn ang="0">
                      <a:pos x="0" y="12"/>
                    </a:cxn>
                    <a:cxn ang="0">
                      <a:pos x="16" y="22"/>
                    </a:cxn>
                    <a:cxn ang="0">
                      <a:pos x="45" y="18"/>
                    </a:cxn>
                    <a:cxn ang="0">
                      <a:pos x="22" y="0"/>
                    </a:cxn>
                    <a:cxn ang="0">
                      <a:pos x="22" y="0"/>
                    </a:cxn>
                  </a:cxnLst>
                  <a:rect l="0" t="0" r="r" b="b"/>
                  <a:pathLst>
                    <a:path w="45" h="22">
                      <a:moveTo>
                        <a:pt x="22" y="0"/>
                      </a:moveTo>
                      <a:lnTo>
                        <a:pt x="6" y="6"/>
                      </a:lnTo>
                      <a:lnTo>
                        <a:pt x="0" y="12"/>
                      </a:lnTo>
                      <a:lnTo>
                        <a:pt x="16" y="22"/>
                      </a:lnTo>
                      <a:lnTo>
                        <a:pt x="45" y="18"/>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8" name="Freeform 151">
                  <a:extLst>
                    <a:ext uri="{FF2B5EF4-FFF2-40B4-BE49-F238E27FC236}">
                      <a16:creationId xmlns:a16="http://schemas.microsoft.com/office/drawing/2014/main" id="{9901E3C7-52C1-462E-82BD-A2968EC75913}"/>
                    </a:ext>
                  </a:extLst>
                </p:cNvPr>
                <p:cNvSpPr>
                  <a:spLocks/>
                </p:cNvSpPr>
                <p:nvPr/>
              </p:nvSpPr>
              <p:spPr bwMode="auto">
                <a:xfrm>
                  <a:off x="4740979" y="1063186"/>
                  <a:ext cx="3004202" cy="952061"/>
                </a:xfrm>
                <a:custGeom>
                  <a:avLst/>
                  <a:gdLst/>
                  <a:ahLst/>
                  <a:cxnLst>
                    <a:cxn ang="0">
                      <a:pos x="1885" y="133"/>
                    </a:cxn>
                    <a:cxn ang="0">
                      <a:pos x="1780" y="133"/>
                    </a:cxn>
                    <a:cxn ang="0">
                      <a:pos x="1570" y="107"/>
                    </a:cxn>
                    <a:cxn ang="0">
                      <a:pos x="1458" y="85"/>
                    </a:cxn>
                    <a:cxn ang="0">
                      <a:pos x="1276" y="111"/>
                    </a:cxn>
                    <a:cxn ang="0">
                      <a:pos x="1193" y="85"/>
                    </a:cxn>
                    <a:cxn ang="0">
                      <a:pos x="1132" y="73"/>
                    </a:cxn>
                    <a:cxn ang="0">
                      <a:pos x="1027" y="85"/>
                    </a:cxn>
                    <a:cxn ang="0">
                      <a:pos x="932" y="66"/>
                    </a:cxn>
                    <a:cxn ang="0">
                      <a:pos x="843" y="6"/>
                    </a:cxn>
                    <a:cxn ang="0">
                      <a:pos x="776" y="34"/>
                    </a:cxn>
                    <a:cxn ang="0">
                      <a:pos x="660" y="66"/>
                    </a:cxn>
                    <a:cxn ang="0">
                      <a:pos x="683" y="129"/>
                    </a:cxn>
                    <a:cxn ang="0">
                      <a:pos x="577" y="101"/>
                    </a:cxn>
                    <a:cxn ang="0">
                      <a:pos x="539" y="79"/>
                    </a:cxn>
                    <a:cxn ang="0">
                      <a:pos x="632" y="145"/>
                    </a:cxn>
                    <a:cxn ang="0">
                      <a:pos x="588" y="152"/>
                    </a:cxn>
                    <a:cxn ang="0">
                      <a:pos x="555" y="145"/>
                    </a:cxn>
                    <a:cxn ang="0">
                      <a:pos x="476" y="73"/>
                    </a:cxn>
                    <a:cxn ang="0">
                      <a:pos x="511" y="156"/>
                    </a:cxn>
                    <a:cxn ang="0">
                      <a:pos x="322" y="162"/>
                    </a:cxn>
                    <a:cxn ang="0">
                      <a:pos x="233" y="184"/>
                    </a:cxn>
                    <a:cxn ang="0">
                      <a:pos x="205" y="178"/>
                    </a:cxn>
                    <a:cxn ang="0">
                      <a:pos x="138" y="206"/>
                    </a:cxn>
                    <a:cxn ang="0">
                      <a:pos x="90" y="200"/>
                    </a:cxn>
                    <a:cxn ang="0">
                      <a:pos x="112" y="145"/>
                    </a:cxn>
                    <a:cxn ang="0">
                      <a:pos x="0" y="162"/>
                    </a:cxn>
                    <a:cxn ang="0">
                      <a:pos x="33" y="311"/>
                    </a:cxn>
                    <a:cxn ang="0">
                      <a:pos x="100" y="378"/>
                    </a:cxn>
                    <a:cxn ang="0">
                      <a:pos x="156" y="445"/>
                    </a:cxn>
                    <a:cxn ang="0">
                      <a:pos x="205" y="473"/>
                    </a:cxn>
                    <a:cxn ang="0">
                      <a:pos x="233" y="546"/>
                    </a:cxn>
                    <a:cxn ang="0">
                      <a:pos x="310" y="601"/>
                    </a:cxn>
                    <a:cxn ang="0">
                      <a:pos x="405" y="623"/>
                    </a:cxn>
                    <a:cxn ang="0">
                      <a:pos x="399" y="546"/>
                    </a:cxn>
                    <a:cxn ang="0">
                      <a:pos x="367" y="473"/>
                    </a:cxn>
                    <a:cxn ang="0">
                      <a:pos x="466" y="457"/>
                    </a:cxn>
                    <a:cxn ang="0">
                      <a:pos x="584" y="451"/>
                    </a:cxn>
                    <a:cxn ang="0">
                      <a:pos x="622" y="396"/>
                    </a:cxn>
                    <a:cxn ang="0">
                      <a:pos x="750" y="423"/>
                    </a:cxn>
                    <a:cxn ang="0">
                      <a:pos x="993" y="490"/>
                    </a:cxn>
                    <a:cxn ang="0">
                      <a:pos x="1193" y="451"/>
                    </a:cxn>
                    <a:cxn ang="0">
                      <a:pos x="1436" y="479"/>
                    </a:cxn>
                    <a:cxn ang="0">
                      <a:pos x="1487" y="407"/>
                    </a:cxn>
                    <a:cxn ang="0">
                      <a:pos x="1748" y="562"/>
                    </a:cxn>
                    <a:cxn ang="0">
                      <a:pos x="1802" y="502"/>
                    </a:cxn>
                    <a:cxn ang="0">
                      <a:pos x="1653" y="384"/>
                    </a:cxn>
                    <a:cxn ang="0">
                      <a:pos x="1742" y="295"/>
                    </a:cxn>
                    <a:cxn ang="0">
                      <a:pos x="1812" y="263"/>
                    </a:cxn>
                    <a:cxn ang="0">
                      <a:pos x="1908" y="245"/>
                    </a:cxn>
                    <a:cxn ang="0">
                      <a:pos x="1908" y="368"/>
                    </a:cxn>
                    <a:cxn ang="0">
                      <a:pos x="2023" y="429"/>
                    </a:cxn>
                    <a:cxn ang="0">
                      <a:pos x="2013" y="356"/>
                    </a:cxn>
                    <a:cxn ang="0">
                      <a:pos x="1946" y="301"/>
                    </a:cxn>
                    <a:cxn ang="0">
                      <a:pos x="2041" y="263"/>
                    </a:cxn>
                    <a:cxn ang="0">
                      <a:pos x="2041" y="200"/>
                    </a:cxn>
                    <a:cxn ang="0">
                      <a:pos x="2134" y="206"/>
                    </a:cxn>
                    <a:cxn ang="0">
                      <a:pos x="2086" y="162"/>
                    </a:cxn>
                  </a:cxnLst>
                  <a:rect l="0" t="0" r="r" b="b"/>
                  <a:pathLst>
                    <a:path w="2169" h="646">
                      <a:moveTo>
                        <a:pt x="2086" y="162"/>
                      </a:moveTo>
                      <a:lnTo>
                        <a:pt x="2074" y="168"/>
                      </a:lnTo>
                      <a:lnTo>
                        <a:pt x="2086" y="178"/>
                      </a:lnTo>
                      <a:lnTo>
                        <a:pt x="2035" y="156"/>
                      </a:lnTo>
                      <a:lnTo>
                        <a:pt x="1908" y="133"/>
                      </a:lnTo>
                      <a:lnTo>
                        <a:pt x="1885" y="133"/>
                      </a:lnTo>
                      <a:lnTo>
                        <a:pt x="1879" y="123"/>
                      </a:lnTo>
                      <a:lnTo>
                        <a:pt x="1841" y="129"/>
                      </a:lnTo>
                      <a:lnTo>
                        <a:pt x="1802" y="123"/>
                      </a:lnTo>
                      <a:lnTo>
                        <a:pt x="1786" y="123"/>
                      </a:lnTo>
                      <a:lnTo>
                        <a:pt x="1812" y="145"/>
                      </a:lnTo>
                      <a:lnTo>
                        <a:pt x="1780" y="133"/>
                      </a:lnTo>
                      <a:lnTo>
                        <a:pt x="1768" y="123"/>
                      </a:lnTo>
                      <a:lnTo>
                        <a:pt x="1697" y="129"/>
                      </a:lnTo>
                      <a:lnTo>
                        <a:pt x="1713" y="145"/>
                      </a:lnTo>
                      <a:lnTo>
                        <a:pt x="1653" y="129"/>
                      </a:lnTo>
                      <a:lnTo>
                        <a:pt x="1640" y="107"/>
                      </a:lnTo>
                      <a:lnTo>
                        <a:pt x="1570" y="107"/>
                      </a:lnTo>
                      <a:lnTo>
                        <a:pt x="1557" y="111"/>
                      </a:lnTo>
                      <a:lnTo>
                        <a:pt x="1531" y="111"/>
                      </a:lnTo>
                      <a:lnTo>
                        <a:pt x="1525" y="101"/>
                      </a:lnTo>
                      <a:lnTo>
                        <a:pt x="1480" y="101"/>
                      </a:lnTo>
                      <a:lnTo>
                        <a:pt x="1480" y="89"/>
                      </a:lnTo>
                      <a:lnTo>
                        <a:pt x="1458" y="85"/>
                      </a:lnTo>
                      <a:lnTo>
                        <a:pt x="1436" y="101"/>
                      </a:lnTo>
                      <a:lnTo>
                        <a:pt x="1430" y="89"/>
                      </a:lnTo>
                      <a:lnTo>
                        <a:pt x="1347" y="85"/>
                      </a:lnTo>
                      <a:lnTo>
                        <a:pt x="1365" y="101"/>
                      </a:lnTo>
                      <a:lnTo>
                        <a:pt x="1280" y="95"/>
                      </a:lnTo>
                      <a:lnTo>
                        <a:pt x="1276" y="111"/>
                      </a:lnTo>
                      <a:lnTo>
                        <a:pt x="1225" y="95"/>
                      </a:lnTo>
                      <a:lnTo>
                        <a:pt x="1215" y="101"/>
                      </a:lnTo>
                      <a:lnTo>
                        <a:pt x="1203" y="95"/>
                      </a:lnTo>
                      <a:lnTo>
                        <a:pt x="1215" y="85"/>
                      </a:lnTo>
                      <a:lnTo>
                        <a:pt x="1197" y="73"/>
                      </a:lnTo>
                      <a:lnTo>
                        <a:pt x="1193" y="85"/>
                      </a:lnTo>
                      <a:lnTo>
                        <a:pt x="1193" y="73"/>
                      </a:lnTo>
                      <a:lnTo>
                        <a:pt x="1171" y="66"/>
                      </a:lnTo>
                      <a:lnTo>
                        <a:pt x="1171" y="79"/>
                      </a:lnTo>
                      <a:lnTo>
                        <a:pt x="1159" y="66"/>
                      </a:lnTo>
                      <a:lnTo>
                        <a:pt x="1120" y="62"/>
                      </a:lnTo>
                      <a:lnTo>
                        <a:pt x="1132" y="73"/>
                      </a:lnTo>
                      <a:lnTo>
                        <a:pt x="1154" y="85"/>
                      </a:lnTo>
                      <a:lnTo>
                        <a:pt x="1126" y="79"/>
                      </a:lnTo>
                      <a:lnTo>
                        <a:pt x="1088" y="79"/>
                      </a:lnTo>
                      <a:lnTo>
                        <a:pt x="1059" y="66"/>
                      </a:lnTo>
                      <a:lnTo>
                        <a:pt x="1015" y="66"/>
                      </a:lnTo>
                      <a:lnTo>
                        <a:pt x="1027" y="85"/>
                      </a:lnTo>
                      <a:lnTo>
                        <a:pt x="986" y="62"/>
                      </a:lnTo>
                      <a:lnTo>
                        <a:pt x="986" y="50"/>
                      </a:lnTo>
                      <a:lnTo>
                        <a:pt x="970" y="50"/>
                      </a:lnTo>
                      <a:lnTo>
                        <a:pt x="970" y="62"/>
                      </a:lnTo>
                      <a:lnTo>
                        <a:pt x="920" y="79"/>
                      </a:lnTo>
                      <a:lnTo>
                        <a:pt x="932" y="66"/>
                      </a:lnTo>
                      <a:lnTo>
                        <a:pt x="960" y="50"/>
                      </a:lnTo>
                      <a:lnTo>
                        <a:pt x="964" y="40"/>
                      </a:lnTo>
                      <a:lnTo>
                        <a:pt x="887" y="18"/>
                      </a:lnTo>
                      <a:lnTo>
                        <a:pt x="871" y="28"/>
                      </a:lnTo>
                      <a:lnTo>
                        <a:pt x="837" y="22"/>
                      </a:lnTo>
                      <a:lnTo>
                        <a:pt x="843" y="6"/>
                      </a:lnTo>
                      <a:lnTo>
                        <a:pt x="826" y="0"/>
                      </a:lnTo>
                      <a:lnTo>
                        <a:pt x="798" y="18"/>
                      </a:lnTo>
                      <a:lnTo>
                        <a:pt x="798" y="28"/>
                      </a:lnTo>
                      <a:lnTo>
                        <a:pt x="788" y="28"/>
                      </a:lnTo>
                      <a:lnTo>
                        <a:pt x="798" y="44"/>
                      </a:lnTo>
                      <a:lnTo>
                        <a:pt x="776" y="34"/>
                      </a:lnTo>
                      <a:lnTo>
                        <a:pt x="754" y="34"/>
                      </a:lnTo>
                      <a:lnTo>
                        <a:pt x="750" y="28"/>
                      </a:lnTo>
                      <a:lnTo>
                        <a:pt x="648" y="50"/>
                      </a:lnTo>
                      <a:lnTo>
                        <a:pt x="671" y="62"/>
                      </a:lnTo>
                      <a:lnTo>
                        <a:pt x="683" y="85"/>
                      </a:lnTo>
                      <a:lnTo>
                        <a:pt x="660" y="66"/>
                      </a:lnTo>
                      <a:lnTo>
                        <a:pt x="638" y="66"/>
                      </a:lnTo>
                      <a:lnTo>
                        <a:pt x="632" y="62"/>
                      </a:lnTo>
                      <a:lnTo>
                        <a:pt x="606" y="66"/>
                      </a:lnTo>
                      <a:lnTo>
                        <a:pt x="616" y="85"/>
                      </a:lnTo>
                      <a:lnTo>
                        <a:pt x="677" y="107"/>
                      </a:lnTo>
                      <a:lnTo>
                        <a:pt x="683" y="129"/>
                      </a:lnTo>
                      <a:lnTo>
                        <a:pt x="671" y="129"/>
                      </a:lnTo>
                      <a:lnTo>
                        <a:pt x="660" y="111"/>
                      </a:lnTo>
                      <a:lnTo>
                        <a:pt x="610" y="95"/>
                      </a:lnTo>
                      <a:lnTo>
                        <a:pt x="600" y="79"/>
                      </a:lnTo>
                      <a:lnTo>
                        <a:pt x="577" y="85"/>
                      </a:lnTo>
                      <a:lnTo>
                        <a:pt x="577" y="101"/>
                      </a:lnTo>
                      <a:lnTo>
                        <a:pt x="610" y="111"/>
                      </a:lnTo>
                      <a:lnTo>
                        <a:pt x="594" y="117"/>
                      </a:lnTo>
                      <a:lnTo>
                        <a:pt x="571" y="107"/>
                      </a:lnTo>
                      <a:lnTo>
                        <a:pt x="555" y="89"/>
                      </a:lnTo>
                      <a:lnTo>
                        <a:pt x="565" y="73"/>
                      </a:lnTo>
                      <a:lnTo>
                        <a:pt x="539" y="79"/>
                      </a:lnTo>
                      <a:lnTo>
                        <a:pt x="543" y="101"/>
                      </a:lnTo>
                      <a:lnTo>
                        <a:pt x="559" y="111"/>
                      </a:lnTo>
                      <a:lnTo>
                        <a:pt x="571" y="133"/>
                      </a:lnTo>
                      <a:lnTo>
                        <a:pt x="577" y="139"/>
                      </a:lnTo>
                      <a:lnTo>
                        <a:pt x="600" y="133"/>
                      </a:lnTo>
                      <a:lnTo>
                        <a:pt x="632" y="145"/>
                      </a:lnTo>
                      <a:lnTo>
                        <a:pt x="644" y="162"/>
                      </a:lnTo>
                      <a:lnTo>
                        <a:pt x="654" y="168"/>
                      </a:lnTo>
                      <a:lnTo>
                        <a:pt x="638" y="174"/>
                      </a:lnTo>
                      <a:lnTo>
                        <a:pt x="626" y="152"/>
                      </a:lnTo>
                      <a:lnTo>
                        <a:pt x="600" y="145"/>
                      </a:lnTo>
                      <a:lnTo>
                        <a:pt x="588" y="152"/>
                      </a:lnTo>
                      <a:lnTo>
                        <a:pt x="600" y="168"/>
                      </a:lnTo>
                      <a:lnTo>
                        <a:pt x="584" y="184"/>
                      </a:lnTo>
                      <a:lnTo>
                        <a:pt x="543" y="190"/>
                      </a:lnTo>
                      <a:lnTo>
                        <a:pt x="571" y="178"/>
                      </a:lnTo>
                      <a:lnTo>
                        <a:pt x="577" y="152"/>
                      </a:lnTo>
                      <a:lnTo>
                        <a:pt x="555" y="145"/>
                      </a:lnTo>
                      <a:lnTo>
                        <a:pt x="543" y="117"/>
                      </a:lnTo>
                      <a:lnTo>
                        <a:pt x="521" y="111"/>
                      </a:lnTo>
                      <a:lnTo>
                        <a:pt x="521" y="89"/>
                      </a:lnTo>
                      <a:lnTo>
                        <a:pt x="505" y="85"/>
                      </a:lnTo>
                      <a:lnTo>
                        <a:pt x="499" y="73"/>
                      </a:lnTo>
                      <a:lnTo>
                        <a:pt x="476" y="73"/>
                      </a:lnTo>
                      <a:lnTo>
                        <a:pt x="476" y="89"/>
                      </a:lnTo>
                      <a:lnTo>
                        <a:pt x="482" y="101"/>
                      </a:lnTo>
                      <a:lnTo>
                        <a:pt x="466" y="107"/>
                      </a:lnTo>
                      <a:lnTo>
                        <a:pt x="476" y="129"/>
                      </a:lnTo>
                      <a:lnTo>
                        <a:pt x="517" y="152"/>
                      </a:lnTo>
                      <a:lnTo>
                        <a:pt x="511" y="156"/>
                      </a:lnTo>
                      <a:lnTo>
                        <a:pt x="450" y="139"/>
                      </a:lnTo>
                      <a:lnTo>
                        <a:pt x="371" y="123"/>
                      </a:lnTo>
                      <a:lnTo>
                        <a:pt x="371" y="133"/>
                      </a:lnTo>
                      <a:lnTo>
                        <a:pt x="405" y="152"/>
                      </a:lnTo>
                      <a:lnTo>
                        <a:pt x="377" y="145"/>
                      </a:lnTo>
                      <a:lnTo>
                        <a:pt x="322" y="162"/>
                      </a:lnTo>
                      <a:lnTo>
                        <a:pt x="322" y="152"/>
                      </a:lnTo>
                      <a:lnTo>
                        <a:pt x="310" y="145"/>
                      </a:lnTo>
                      <a:lnTo>
                        <a:pt x="284" y="152"/>
                      </a:lnTo>
                      <a:lnTo>
                        <a:pt x="256" y="168"/>
                      </a:lnTo>
                      <a:lnTo>
                        <a:pt x="249" y="184"/>
                      </a:lnTo>
                      <a:lnTo>
                        <a:pt x="233" y="184"/>
                      </a:lnTo>
                      <a:lnTo>
                        <a:pt x="217" y="168"/>
                      </a:lnTo>
                      <a:lnTo>
                        <a:pt x="227" y="162"/>
                      </a:lnTo>
                      <a:lnTo>
                        <a:pt x="217" y="152"/>
                      </a:lnTo>
                      <a:lnTo>
                        <a:pt x="189" y="152"/>
                      </a:lnTo>
                      <a:lnTo>
                        <a:pt x="195" y="168"/>
                      </a:lnTo>
                      <a:lnTo>
                        <a:pt x="205" y="178"/>
                      </a:lnTo>
                      <a:lnTo>
                        <a:pt x="211" y="196"/>
                      </a:lnTo>
                      <a:lnTo>
                        <a:pt x="183" y="184"/>
                      </a:lnTo>
                      <a:lnTo>
                        <a:pt x="156" y="200"/>
                      </a:lnTo>
                      <a:lnTo>
                        <a:pt x="173" y="218"/>
                      </a:lnTo>
                      <a:lnTo>
                        <a:pt x="144" y="218"/>
                      </a:lnTo>
                      <a:lnTo>
                        <a:pt x="138" y="206"/>
                      </a:lnTo>
                      <a:lnTo>
                        <a:pt x="122" y="206"/>
                      </a:lnTo>
                      <a:lnTo>
                        <a:pt x="112" y="212"/>
                      </a:lnTo>
                      <a:lnTo>
                        <a:pt x="134" y="218"/>
                      </a:lnTo>
                      <a:lnTo>
                        <a:pt x="138" y="228"/>
                      </a:lnTo>
                      <a:lnTo>
                        <a:pt x="100" y="222"/>
                      </a:lnTo>
                      <a:lnTo>
                        <a:pt x="90" y="200"/>
                      </a:lnTo>
                      <a:lnTo>
                        <a:pt x="51" y="184"/>
                      </a:lnTo>
                      <a:lnTo>
                        <a:pt x="51" y="178"/>
                      </a:lnTo>
                      <a:lnTo>
                        <a:pt x="138" y="190"/>
                      </a:lnTo>
                      <a:lnTo>
                        <a:pt x="173" y="174"/>
                      </a:lnTo>
                      <a:lnTo>
                        <a:pt x="150" y="156"/>
                      </a:lnTo>
                      <a:lnTo>
                        <a:pt x="112" y="145"/>
                      </a:lnTo>
                      <a:lnTo>
                        <a:pt x="61" y="139"/>
                      </a:lnTo>
                      <a:lnTo>
                        <a:pt x="45" y="139"/>
                      </a:lnTo>
                      <a:lnTo>
                        <a:pt x="45" y="129"/>
                      </a:lnTo>
                      <a:lnTo>
                        <a:pt x="17" y="129"/>
                      </a:lnTo>
                      <a:lnTo>
                        <a:pt x="7" y="145"/>
                      </a:lnTo>
                      <a:lnTo>
                        <a:pt x="0" y="162"/>
                      </a:lnTo>
                      <a:lnTo>
                        <a:pt x="23" y="168"/>
                      </a:lnTo>
                      <a:lnTo>
                        <a:pt x="17" y="184"/>
                      </a:lnTo>
                      <a:lnTo>
                        <a:pt x="61" y="245"/>
                      </a:lnTo>
                      <a:lnTo>
                        <a:pt x="23" y="289"/>
                      </a:lnTo>
                      <a:lnTo>
                        <a:pt x="39" y="301"/>
                      </a:lnTo>
                      <a:lnTo>
                        <a:pt x="33" y="311"/>
                      </a:lnTo>
                      <a:lnTo>
                        <a:pt x="33" y="340"/>
                      </a:lnTo>
                      <a:lnTo>
                        <a:pt x="45" y="362"/>
                      </a:lnTo>
                      <a:lnTo>
                        <a:pt x="67" y="372"/>
                      </a:lnTo>
                      <a:lnTo>
                        <a:pt x="73" y="384"/>
                      </a:lnTo>
                      <a:lnTo>
                        <a:pt x="83" y="372"/>
                      </a:lnTo>
                      <a:lnTo>
                        <a:pt x="100" y="378"/>
                      </a:lnTo>
                      <a:lnTo>
                        <a:pt x="100" y="401"/>
                      </a:lnTo>
                      <a:lnTo>
                        <a:pt x="122" y="419"/>
                      </a:lnTo>
                      <a:lnTo>
                        <a:pt x="116" y="423"/>
                      </a:lnTo>
                      <a:lnTo>
                        <a:pt x="112" y="439"/>
                      </a:lnTo>
                      <a:lnTo>
                        <a:pt x="144" y="435"/>
                      </a:lnTo>
                      <a:lnTo>
                        <a:pt x="156" y="445"/>
                      </a:lnTo>
                      <a:lnTo>
                        <a:pt x="156" y="457"/>
                      </a:lnTo>
                      <a:lnTo>
                        <a:pt x="166" y="457"/>
                      </a:lnTo>
                      <a:lnTo>
                        <a:pt x="173" y="473"/>
                      </a:lnTo>
                      <a:lnTo>
                        <a:pt x="183" y="473"/>
                      </a:lnTo>
                      <a:lnTo>
                        <a:pt x="195" y="479"/>
                      </a:lnTo>
                      <a:lnTo>
                        <a:pt x="205" y="473"/>
                      </a:lnTo>
                      <a:lnTo>
                        <a:pt x="249" y="490"/>
                      </a:lnTo>
                      <a:lnTo>
                        <a:pt x="249" y="518"/>
                      </a:lnTo>
                      <a:lnTo>
                        <a:pt x="227" y="524"/>
                      </a:lnTo>
                      <a:lnTo>
                        <a:pt x="217" y="534"/>
                      </a:lnTo>
                      <a:lnTo>
                        <a:pt x="221" y="546"/>
                      </a:lnTo>
                      <a:lnTo>
                        <a:pt x="233" y="546"/>
                      </a:lnTo>
                      <a:lnTo>
                        <a:pt x="211" y="562"/>
                      </a:lnTo>
                      <a:lnTo>
                        <a:pt x="227" y="579"/>
                      </a:lnTo>
                      <a:lnTo>
                        <a:pt x="266" y="597"/>
                      </a:lnTo>
                      <a:lnTo>
                        <a:pt x="284" y="607"/>
                      </a:lnTo>
                      <a:lnTo>
                        <a:pt x="306" y="607"/>
                      </a:lnTo>
                      <a:lnTo>
                        <a:pt x="310" y="601"/>
                      </a:lnTo>
                      <a:lnTo>
                        <a:pt x="339" y="619"/>
                      </a:lnTo>
                      <a:lnTo>
                        <a:pt x="351" y="613"/>
                      </a:lnTo>
                      <a:lnTo>
                        <a:pt x="371" y="629"/>
                      </a:lnTo>
                      <a:lnTo>
                        <a:pt x="405" y="646"/>
                      </a:lnTo>
                      <a:lnTo>
                        <a:pt x="411" y="629"/>
                      </a:lnTo>
                      <a:lnTo>
                        <a:pt x="405" y="623"/>
                      </a:lnTo>
                      <a:lnTo>
                        <a:pt x="383" y="607"/>
                      </a:lnTo>
                      <a:lnTo>
                        <a:pt x="383" y="591"/>
                      </a:lnTo>
                      <a:lnTo>
                        <a:pt x="371" y="585"/>
                      </a:lnTo>
                      <a:lnTo>
                        <a:pt x="371" y="573"/>
                      </a:lnTo>
                      <a:lnTo>
                        <a:pt x="377" y="562"/>
                      </a:lnTo>
                      <a:lnTo>
                        <a:pt x="399" y="546"/>
                      </a:lnTo>
                      <a:lnTo>
                        <a:pt x="383" y="524"/>
                      </a:lnTo>
                      <a:lnTo>
                        <a:pt x="371" y="524"/>
                      </a:lnTo>
                      <a:lnTo>
                        <a:pt x="371" y="512"/>
                      </a:lnTo>
                      <a:lnTo>
                        <a:pt x="361" y="512"/>
                      </a:lnTo>
                      <a:lnTo>
                        <a:pt x="355" y="490"/>
                      </a:lnTo>
                      <a:lnTo>
                        <a:pt x="367" y="473"/>
                      </a:lnTo>
                      <a:lnTo>
                        <a:pt x="383" y="486"/>
                      </a:lnTo>
                      <a:lnTo>
                        <a:pt x="393" y="479"/>
                      </a:lnTo>
                      <a:lnTo>
                        <a:pt x="389" y="473"/>
                      </a:lnTo>
                      <a:lnTo>
                        <a:pt x="405" y="457"/>
                      </a:lnTo>
                      <a:lnTo>
                        <a:pt x="434" y="451"/>
                      </a:lnTo>
                      <a:lnTo>
                        <a:pt x="466" y="457"/>
                      </a:lnTo>
                      <a:lnTo>
                        <a:pt x="476" y="473"/>
                      </a:lnTo>
                      <a:lnTo>
                        <a:pt x="505" y="463"/>
                      </a:lnTo>
                      <a:lnTo>
                        <a:pt x="527" y="463"/>
                      </a:lnTo>
                      <a:lnTo>
                        <a:pt x="549" y="467"/>
                      </a:lnTo>
                      <a:lnTo>
                        <a:pt x="584" y="463"/>
                      </a:lnTo>
                      <a:lnTo>
                        <a:pt x="584" y="451"/>
                      </a:lnTo>
                      <a:lnTo>
                        <a:pt x="555" y="445"/>
                      </a:lnTo>
                      <a:lnTo>
                        <a:pt x="559" y="429"/>
                      </a:lnTo>
                      <a:lnTo>
                        <a:pt x="577" y="429"/>
                      </a:lnTo>
                      <a:lnTo>
                        <a:pt x="559" y="413"/>
                      </a:lnTo>
                      <a:lnTo>
                        <a:pt x="610" y="407"/>
                      </a:lnTo>
                      <a:lnTo>
                        <a:pt x="622" y="396"/>
                      </a:lnTo>
                      <a:lnTo>
                        <a:pt x="654" y="390"/>
                      </a:lnTo>
                      <a:lnTo>
                        <a:pt x="660" y="378"/>
                      </a:lnTo>
                      <a:lnTo>
                        <a:pt x="693" y="384"/>
                      </a:lnTo>
                      <a:lnTo>
                        <a:pt x="705" y="401"/>
                      </a:lnTo>
                      <a:lnTo>
                        <a:pt x="743" y="413"/>
                      </a:lnTo>
                      <a:lnTo>
                        <a:pt x="750" y="423"/>
                      </a:lnTo>
                      <a:lnTo>
                        <a:pt x="794" y="401"/>
                      </a:lnTo>
                      <a:lnTo>
                        <a:pt x="814" y="419"/>
                      </a:lnTo>
                      <a:lnTo>
                        <a:pt x="865" y="467"/>
                      </a:lnTo>
                      <a:lnTo>
                        <a:pt x="920" y="467"/>
                      </a:lnTo>
                      <a:lnTo>
                        <a:pt x="970" y="490"/>
                      </a:lnTo>
                      <a:lnTo>
                        <a:pt x="993" y="490"/>
                      </a:lnTo>
                      <a:lnTo>
                        <a:pt x="1037" y="467"/>
                      </a:lnTo>
                      <a:lnTo>
                        <a:pt x="1076" y="467"/>
                      </a:lnTo>
                      <a:lnTo>
                        <a:pt x="1088" y="479"/>
                      </a:lnTo>
                      <a:lnTo>
                        <a:pt x="1142" y="479"/>
                      </a:lnTo>
                      <a:lnTo>
                        <a:pt x="1132" y="439"/>
                      </a:lnTo>
                      <a:lnTo>
                        <a:pt x="1193" y="451"/>
                      </a:lnTo>
                      <a:lnTo>
                        <a:pt x="1215" y="473"/>
                      </a:lnTo>
                      <a:lnTo>
                        <a:pt x="1264" y="473"/>
                      </a:lnTo>
                      <a:lnTo>
                        <a:pt x="1304" y="490"/>
                      </a:lnTo>
                      <a:lnTo>
                        <a:pt x="1375" y="490"/>
                      </a:lnTo>
                      <a:lnTo>
                        <a:pt x="1387" y="479"/>
                      </a:lnTo>
                      <a:lnTo>
                        <a:pt x="1436" y="479"/>
                      </a:lnTo>
                      <a:lnTo>
                        <a:pt x="1470" y="473"/>
                      </a:lnTo>
                      <a:lnTo>
                        <a:pt x="1452" y="457"/>
                      </a:lnTo>
                      <a:lnTo>
                        <a:pt x="1464" y="439"/>
                      </a:lnTo>
                      <a:lnTo>
                        <a:pt x="1448" y="423"/>
                      </a:lnTo>
                      <a:lnTo>
                        <a:pt x="1448" y="413"/>
                      </a:lnTo>
                      <a:lnTo>
                        <a:pt x="1487" y="407"/>
                      </a:lnTo>
                      <a:lnTo>
                        <a:pt x="1576" y="445"/>
                      </a:lnTo>
                      <a:lnTo>
                        <a:pt x="1586" y="467"/>
                      </a:lnTo>
                      <a:lnTo>
                        <a:pt x="1630" y="486"/>
                      </a:lnTo>
                      <a:lnTo>
                        <a:pt x="1681" y="518"/>
                      </a:lnTo>
                      <a:lnTo>
                        <a:pt x="1725" y="496"/>
                      </a:lnTo>
                      <a:lnTo>
                        <a:pt x="1748" y="562"/>
                      </a:lnTo>
                      <a:lnTo>
                        <a:pt x="1725" y="573"/>
                      </a:lnTo>
                      <a:lnTo>
                        <a:pt x="1742" y="607"/>
                      </a:lnTo>
                      <a:lnTo>
                        <a:pt x="1774" y="601"/>
                      </a:lnTo>
                      <a:lnTo>
                        <a:pt x="1802" y="556"/>
                      </a:lnTo>
                      <a:lnTo>
                        <a:pt x="1796" y="506"/>
                      </a:lnTo>
                      <a:lnTo>
                        <a:pt x="1802" y="502"/>
                      </a:lnTo>
                      <a:lnTo>
                        <a:pt x="1752" y="419"/>
                      </a:lnTo>
                      <a:lnTo>
                        <a:pt x="1736" y="401"/>
                      </a:lnTo>
                      <a:lnTo>
                        <a:pt x="1691" y="396"/>
                      </a:lnTo>
                      <a:lnTo>
                        <a:pt x="1685" y="407"/>
                      </a:lnTo>
                      <a:lnTo>
                        <a:pt x="1665" y="396"/>
                      </a:lnTo>
                      <a:lnTo>
                        <a:pt x="1653" y="384"/>
                      </a:lnTo>
                      <a:lnTo>
                        <a:pt x="1624" y="378"/>
                      </a:lnTo>
                      <a:lnTo>
                        <a:pt x="1636" y="362"/>
                      </a:lnTo>
                      <a:lnTo>
                        <a:pt x="1653" y="330"/>
                      </a:lnTo>
                      <a:lnTo>
                        <a:pt x="1653" y="301"/>
                      </a:lnTo>
                      <a:lnTo>
                        <a:pt x="1742" y="311"/>
                      </a:lnTo>
                      <a:lnTo>
                        <a:pt x="1742" y="295"/>
                      </a:lnTo>
                      <a:lnTo>
                        <a:pt x="1786" y="301"/>
                      </a:lnTo>
                      <a:lnTo>
                        <a:pt x="1802" y="311"/>
                      </a:lnTo>
                      <a:lnTo>
                        <a:pt x="1819" y="301"/>
                      </a:lnTo>
                      <a:lnTo>
                        <a:pt x="1835" y="301"/>
                      </a:lnTo>
                      <a:lnTo>
                        <a:pt x="1812" y="289"/>
                      </a:lnTo>
                      <a:lnTo>
                        <a:pt x="1812" y="263"/>
                      </a:lnTo>
                      <a:lnTo>
                        <a:pt x="1857" y="257"/>
                      </a:lnTo>
                      <a:lnTo>
                        <a:pt x="1869" y="273"/>
                      </a:lnTo>
                      <a:lnTo>
                        <a:pt x="1885" y="263"/>
                      </a:lnTo>
                      <a:lnTo>
                        <a:pt x="1879" y="245"/>
                      </a:lnTo>
                      <a:lnTo>
                        <a:pt x="1885" y="241"/>
                      </a:lnTo>
                      <a:lnTo>
                        <a:pt x="1908" y="245"/>
                      </a:lnTo>
                      <a:lnTo>
                        <a:pt x="1895" y="245"/>
                      </a:lnTo>
                      <a:lnTo>
                        <a:pt x="1914" y="267"/>
                      </a:lnTo>
                      <a:lnTo>
                        <a:pt x="1902" y="301"/>
                      </a:lnTo>
                      <a:lnTo>
                        <a:pt x="1908" y="318"/>
                      </a:lnTo>
                      <a:lnTo>
                        <a:pt x="1895" y="330"/>
                      </a:lnTo>
                      <a:lnTo>
                        <a:pt x="1908" y="368"/>
                      </a:lnTo>
                      <a:lnTo>
                        <a:pt x="1956" y="396"/>
                      </a:lnTo>
                      <a:lnTo>
                        <a:pt x="1974" y="423"/>
                      </a:lnTo>
                      <a:lnTo>
                        <a:pt x="1991" y="423"/>
                      </a:lnTo>
                      <a:lnTo>
                        <a:pt x="2007" y="451"/>
                      </a:lnTo>
                      <a:lnTo>
                        <a:pt x="2019" y="451"/>
                      </a:lnTo>
                      <a:lnTo>
                        <a:pt x="2023" y="429"/>
                      </a:lnTo>
                      <a:lnTo>
                        <a:pt x="2007" y="419"/>
                      </a:lnTo>
                      <a:lnTo>
                        <a:pt x="2019" y="407"/>
                      </a:lnTo>
                      <a:lnTo>
                        <a:pt x="2007" y="390"/>
                      </a:lnTo>
                      <a:lnTo>
                        <a:pt x="2019" y="390"/>
                      </a:lnTo>
                      <a:lnTo>
                        <a:pt x="2007" y="362"/>
                      </a:lnTo>
                      <a:lnTo>
                        <a:pt x="2013" y="356"/>
                      </a:lnTo>
                      <a:lnTo>
                        <a:pt x="1974" y="330"/>
                      </a:lnTo>
                      <a:lnTo>
                        <a:pt x="1952" y="324"/>
                      </a:lnTo>
                      <a:lnTo>
                        <a:pt x="1952" y="311"/>
                      </a:lnTo>
                      <a:lnTo>
                        <a:pt x="1968" y="318"/>
                      </a:lnTo>
                      <a:lnTo>
                        <a:pt x="1974" y="301"/>
                      </a:lnTo>
                      <a:lnTo>
                        <a:pt x="1946" y="301"/>
                      </a:lnTo>
                      <a:lnTo>
                        <a:pt x="1940" y="295"/>
                      </a:lnTo>
                      <a:lnTo>
                        <a:pt x="1962" y="279"/>
                      </a:lnTo>
                      <a:lnTo>
                        <a:pt x="1974" y="289"/>
                      </a:lnTo>
                      <a:lnTo>
                        <a:pt x="2007" y="279"/>
                      </a:lnTo>
                      <a:lnTo>
                        <a:pt x="2023" y="289"/>
                      </a:lnTo>
                      <a:lnTo>
                        <a:pt x="2041" y="263"/>
                      </a:lnTo>
                      <a:lnTo>
                        <a:pt x="2057" y="251"/>
                      </a:lnTo>
                      <a:lnTo>
                        <a:pt x="2057" y="241"/>
                      </a:lnTo>
                      <a:lnTo>
                        <a:pt x="2090" y="245"/>
                      </a:lnTo>
                      <a:lnTo>
                        <a:pt x="2102" y="235"/>
                      </a:lnTo>
                      <a:lnTo>
                        <a:pt x="2003" y="206"/>
                      </a:lnTo>
                      <a:lnTo>
                        <a:pt x="2041" y="200"/>
                      </a:lnTo>
                      <a:lnTo>
                        <a:pt x="2013" y="184"/>
                      </a:lnTo>
                      <a:lnTo>
                        <a:pt x="2023" y="178"/>
                      </a:lnTo>
                      <a:lnTo>
                        <a:pt x="2045" y="190"/>
                      </a:lnTo>
                      <a:lnTo>
                        <a:pt x="2074" y="190"/>
                      </a:lnTo>
                      <a:lnTo>
                        <a:pt x="2102" y="206"/>
                      </a:lnTo>
                      <a:lnTo>
                        <a:pt x="2134" y="206"/>
                      </a:lnTo>
                      <a:lnTo>
                        <a:pt x="2140" y="218"/>
                      </a:lnTo>
                      <a:lnTo>
                        <a:pt x="2169" y="212"/>
                      </a:lnTo>
                      <a:lnTo>
                        <a:pt x="2147" y="200"/>
                      </a:lnTo>
                      <a:lnTo>
                        <a:pt x="2147" y="184"/>
                      </a:lnTo>
                      <a:lnTo>
                        <a:pt x="2086" y="162"/>
                      </a:lnTo>
                      <a:lnTo>
                        <a:pt x="2086" y="16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19" name="Freeform 152">
                  <a:extLst>
                    <a:ext uri="{FF2B5EF4-FFF2-40B4-BE49-F238E27FC236}">
                      <a16:creationId xmlns:a16="http://schemas.microsoft.com/office/drawing/2014/main" id="{6DC9BF40-6A16-4322-8388-3E02937B7CF6}"/>
                    </a:ext>
                  </a:extLst>
                </p:cNvPr>
                <p:cNvSpPr>
                  <a:spLocks/>
                </p:cNvSpPr>
                <p:nvPr/>
              </p:nvSpPr>
              <p:spPr bwMode="auto">
                <a:xfrm>
                  <a:off x="7153758" y="1629117"/>
                  <a:ext cx="198064" cy="238753"/>
                </a:xfrm>
                <a:custGeom>
                  <a:avLst/>
                  <a:gdLst/>
                  <a:ahLst/>
                  <a:cxnLst>
                    <a:cxn ang="0">
                      <a:pos x="26" y="45"/>
                    </a:cxn>
                    <a:cxn ang="0">
                      <a:pos x="48" y="61"/>
                    </a:cxn>
                    <a:cxn ang="0">
                      <a:pos x="66" y="83"/>
                    </a:cxn>
                    <a:cxn ang="0">
                      <a:pos x="77" y="95"/>
                    </a:cxn>
                    <a:cxn ang="0">
                      <a:pos x="83" y="118"/>
                    </a:cxn>
                    <a:cxn ang="0">
                      <a:pos x="99" y="128"/>
                    </a:cxn>
                    <a:cxn ang="0">
                      <a:pos x="111" y="150"/>
                    </a:cxn>
                    <a:cxn ang="0">
                      <a:pos x="121" y="162"/>
                    </a:cxn>
                    <a:cxn ang="0">
                      <a:pos x="121" y="146"/>
                    </a:cxn>
                    <a:cxn ang="0">
                      <a:pos x="143" y="156"/>
                    </a:cxn>
                    <a:cxn ang="0">
                      <a:pos x="131" y="140"/>
                    </a:cxn>
                    <a:cxn ang="0">
                      <a:pos x="99" y="118"/>
                    </a:cxn>
                    <a:cxn ang="0">
                      <a:pos x="99" y="102"/>
                    </a:cxn>
                    <a:cxn ang="0">
                      <a:pos x="121" y="106"/>
                    </a:cxn>
                    <a:cxn ang="0">
                      <a:pos x="111" y="95"/>
                    </a:cxn>
                    <a:cxn ang="0">
                      <a:pos x="77" y="73"/>
                    </a:cxn>
                    <a:cxn ang="0">
                      <a:pos x="10" y="0"/>
                    </a:cxn>
                    <a:cxn ang="0">
                      <a:pos x="0" y="0"/>
                    </a:cxn>
                    <a:cxn ang="0">
                      <a:pos x="26" y="45"/>
                    </a:cxn>
                    <a:cxn ang="0">
                      <a:pos x="26" y="45"/>
                    </a:cxn>
                  </a:cxnLst>
                  <a:rect l="0" t="0" r="r" b="b"/>
                  <a:pathLst>
                    <a:path w="143" h="162">
                      <a:moveTo>
                        <a:pt x="26" y="45"/>
                      </a:moveTo>
                      <a:lnTo>
                        <a:pt x="48" y="61"/>
                      </a:lnTo>
                      <a:lnTo>
                        <a:pt x="66" y="83"/>
                      </a:lnTo>
                      <a:lnTo>
                        <a:pt x="77" y="95"/>
                      </a:lnTo>
                      <a:lnTo>
                        <a:pt x="83" y="118"/>
                      </a:lnTo>
                      <a:lnTo>
                        <a:pt x="99" y="128"/>
                      </a:lnTo>
                      <a:lnTo>
                        <a:pt x="111" y="150"/>
                      </a:lnTo>
                      <a:lnTo>
                        <a:pt x="121" y="162"/>
                      </a:lnTo>
                      <a:lnTo>
                        <a:pt x="121" y="146"/>
                      </a:lnTo>
                      <a:lnTo>
                        <a:pt x="143" y="156"/>
                      </a:lnTo>
                      <a:lnTo>
                        <a:pt x="131" y="140"/>
                      </a:lnTo>
                      <a:lnTo>
                        <a:pt x="99" y="118"/>
                      </a:lnTo>
                      <a:lnTo>
                        <a:pt x="99" y="102"/>
                      </a:lnTo>
                      <a:lnTo>
                        <a:pt x="121" y="106"/>
                      </a:lnTo>
                      <a:lnTo>
                        <a:pt x="111" y="95"/>
                      </a:lnTo>
                      <a:lnTo>
                        <a:pt x="77" y="73"/>
                      </a:lnTo>
                      <a:lnTo>
                        <a:pt x="10" y="0"/>
                      </a:lnTo>
                      <a:lnTo>
                        <a:pt x="0" y="0"/>
                      </a:lnTo>
                      <a:lnTo>
                        <a:pt x="26" y="45"/>
                      </a:lnTo>
                      <a:lnTo>
                        <a:pt x="26" y="4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0" name="Freeform 153">
                  <a:extLst>
                    <a:ext uri="{FF2B5EF4-FFF2-40B4-BE49-F238E27FC236}">
                      <a16:creationId xmlns:a16="http://schemas.microsoft.com/office/drawing/2014/main" id="{37CEA4B2-B956-4894-A2FF-64EC0CCCDA4F}"/>
                    </a:ext>
                  </a:extLst>
                </p:cNvPr>
                <p:cNvSpPr>
                  <a:spLocks/>
                </p:cNvSpPr>
                <p:nvPr/>
              </p:nvSpPr>
              <p:spPr bwMode="auto">
                <a:xfrm>
                  <a:off x="7605289" y="1605536"/>
                  <a:ext cx="38782" cy="23580"/>
                </a:xfrm>
                <a:custGeom>
                  <a:avLst/>
                  <a:gdLst/>
                  <a:ahLst/>
                  <a:cxnLst>
                    <a:cxn ang="0">
                      <a:pos x="12" y="0"/>
                    </a:cxn>
                    <a:cxn ang="0">
                      <a:pos x="0" y="0"/>
                    </a:cxn>
                    <a:cxn ang="0">
                      <a:pos x="6" y="10"/>
                    </a:cxn>
                    <a:cxn ang="0">
                      <a:pos x="22" y="16"/>
                    </a:cxn>
                    <a:cxn ang="0">
                      <a:pos x="28" y="10"/>
                    </a:cxn>
                    <a:cxn ang="0">
                      <a:pos x="12" y="0"/>
                    </a:cxn>
                    <a:cxn ang="0">
                      <a:pos x="12" y="0"/>
                    </a:cxn>
                  </a:cxnLst>
                  <a:rect l="0" t="0" r="r" b="b"/>
                  <a:pathLst>
                    <a:path w="28" h="16">
                      <a:moveTo>
                        <a:pt x="12" y="0"/>
                      </a:moveTo>
                      <a:lnTo>
                        <a:pt x="0" y="0"/>
                      </a:lnTo>
                      <a:lnTo>
                        <a:pt x="6" y="10"/>
                      </a:lnTo>
                      <a:lnTo>
                        <a:pt x="22" y="16"/>
                      </a:lnTo>
                      <a:lnTo>
                        <a:pt x="28" y="10"/>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1" name="Freeform 154">
                  <a:extLst>
                    <a:ext uri="{FF2B5EF4-FFF2-40B4-BE49-F238E27FC236}">
                      <a16:creationId xmlns:a16="http://schemas.microsoft.com/office/drawing/2014/main" id="{AF9ECC4A-E53C-48A1-BCCA-A146A7AEC20F}"/>
                    </a:ext>
                  </a:extLst>
                </p:cNvPr>
                <p:cNvSpPr>
                  <a:spLocks/>
                </p:cNvSpPr>
                <p:nvPr/>
              </p:nvSpPr>
              <p:spPr bwMode="auto">
                <a:xfrm>
                  <a:off x="7515260" y="1736702"/>
                  <a:ext cx="13850" cy="32424"/>
                </a:xfrm>
                <a:custGeom>
                  <a:avLst/>
                  <a:gdLst/>
                  <a:ahLst/>
                  <a:cxnLst>
                    <a:cxn ang="0">
                      <a:pos x="10" y="22"/>
                    </a:cxn>
                    <a:cxn ang="0">
                      <a:pos x="10" y="0"/>
                    </a:cxn>
                    <a:cxn ang="0">
                      <a:pos x="0" y="16"/>
                    </a:cxn>
                    <a:cxn ang="0">
                      <a:pos x="10" y="22"/>
                    </a:cxn>
                    <a:cxn ang="0">
                      <a:pos x="10" y="22"/>
                    </a:cxn>
                  </a:cxnLst>
                  <a:rect l="0" t="0" r="r" b="b"/>
                  <a:pathLst>
                    <a:path w="10" h="22">
                      <a:moveTo>
                        <a:pt x="10" y="22"/>
                      </a:moveTo>
                      <a:lnTo>
                        <a:pt x="10" y="0"/>
                      </a:lnTo>
                      <a:lnTo>
                        <a:pt x="0" y="16"/>
                      </a:lnTo>
                      <a:lnTo>
                        <a:pt x="10" y="22"/>
                      </a:lnTo>
                      <a:lnTo>
                        <a:pt x="1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2" name="Freeform 155">
                  <a:extLst>
                    <a:ext uri="{FF2B5EF4-FFF2-40B4-BE49-F238E27FC236}">
                      <a16:creationId xmlns:a16="http://schemas.microsoft.com/office/drawing/2014/main" id="{4872670B-8929-46F8-9464-DF54B05296A5}"/>
                    </a:ext>
                  </a:extLst>
                </p:cNvPr>
                <p:cNvSpPr>
                  <a:spLocks/>
                </p:cNvSpPr>
                <p:nvPr/>
              </p:nvSpPr>
              <p:spPr bwMode="auto">
                <a:xfrm>
                  <a:off x="7652382" y="1620275"/>
                  <a:ext cx="30471" cy="17686"/>
                </a:xfrm>
                <a:custGeom>
                  <a:avLst/>
                  <a:gdLst/>
                  <a:ahLst/>
                  <a:cxnLst>
                    <a:cxn ang="0">
                      <a:pos x="0" y="0"/>
                    </a:cxn>
                    <a:cxn ang="0">
                      <a:pos x="0" y="6"/>
                    </a:cxn>
                    <a:cxn ang="0">
                      <a:pos x="10" y="12"/>
                    </a:cxn>
                    <a:cxn ang="0">
                      <a:pos x="22" y="6"/>
                    </a:cxn>
                    <a:cxn ang="0">
                      <a:pos x="0" y="0"/>
                    </a:cxn>
                    <a:cxn ang="0">
                      <a:pos x="0" y="0"/>
                    </a:cxn>
                  </a:cxnLst>
                  <a:rect l="0" t="0" r="r" b="b"/>
                  <a:pathLst>
                    <a:path w="22" h="12">
                      <a:moveTo>
                        <a:pt x="0" y="0"/>
                      </a:moveTo>
                      <a:lnTo>
                        <a:pt x="0" y="6"/>
                      </a:lnTo>
                      <a:lnTo>
                        <a:pt x="10" y="12"/>
                      </a:lnTo>
                      <a:lnTo>
                        <a:pt x="2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3" name="Freeform 156">
                  <a:extLst>
                    <a:ext uri="{FF2B5EF4-FFF2-40B4-BE49-F238E27FC236}">
                      <a16:creationId xmlns:a16="http://schemas.microsoft.com/office/drawing/2014/main" id="{6A7C33D9-F67D-4803-AAEA-D921E68FF71F}"/>
                    </a:ext>
                  </a:extLst>
                </p:cNvPr>
                <p:cNvSpPr>
                  <a:spLocks/>
                </p:cNvSpPr>
                <p:nvPr/>
              </p:nvSpPr>
              <p:spPr bwMode="auto">
                <a:xfrm>
                  <a:off x="6454301" y="1095608"/>
                  <a:ext cx="59558" cy="64847"/>
                </a:xfrm>
                <a:custGeom>
                  <a:avLst/>
                  <a:gdLst/>
                  <a:ahLst/>
                  <a:cxnLst>
                    <a:cxn ang="0">
                      <a:pos x="11" y="0"/>
                    </a:cxn>
                    <a:cxn ang="0">
                      <a:pos x="5" y="6"/>
                    </a:cxn>
                    <a:cxn ang="0">
                      <a:pos x="0" y="18"/>
                    </a:cxn>
                    <a:cxn ang="0">
                      <a:pos x="21" y="28"/>
                    </a:cxn>
                    <a:cxn ang="0">
                      <a:pos x="17" y="34"/>
                    </a:cxn>
                    <a:cxn ang="0">
                      <a:pos x="27" y="44"/>
                    </a:cxn>
                    <a:cxn ang="0">
                      <a:pos x="33" y="34"/>
                    </a:cxn>
                    <a:cxn ang="0">
                      <a:pos x="43" y="28"/>
                    </a:cxn>
                    <a:cxn ang="0">
                      <a:pos x="39" y="12"/>
                    </a:cxn>
                    <a:cxn ang="0">
                      <a:pos x="21" y="0"/>
                    </a:cxn>
                    <a:cxn ang="0">
                      <a:pos x="11" y="0"/>
                    </a:cxn>
                    <a:cxn ang="0">
                      <a:pos x="11" y="0"/>
                    </a:cxn>
                  </a:cxnLst>
                  <a:rect l="0" t="0" r="r" b="b"/>
                  <a:pathLst>
                    <a:path w="43" h="44">
                      <a:moveTo>
                        <a:pt x="11" y="0"/>
                      </a:moveTo>
                      <a:lnTo>
                        <a:pt x="5" y="6"/>
                      </a:lnTo>
                      <a:lnTo>
                        <a:pt x="0" y="18"/>
                      </a:lnTo>
                      <a:lnTo>
                        <a:pt x="21" y="28"/>
                      </a:lnTo>
                      <a:lnTo>
                        <a:pt x="17" y="34"/>
                      </a:lnTo>
                      <a:lnTo>
                        <a:pt x="27" y="44"/>
                      </a:lnTo>
                      <a:lnTo>
                        <a:pt x="33" y="34"/>
                      </a:lnTo>
                      <a:lnTo>
                        <a:pt x="43" y="28"/>
                      </a:lnTo>
                      <a:lnTo>
                        <a:pt x="39" y="12"/>
                      </a:lnTo>
                      <a:lnTo>
                        <a:pt x="21" y="0"/>
                      </a:lnTo>
                      <a:lnTo>
                        <a:pt x="11" y="0"/>
                      </a:lnTo>
                      <a:lnTo>
                        <a:pt x="11"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4" name="Freeform 157">
                  <a:extLst>
                    <a:ext uri="{FF2B5EF4-FFF2-40B4-BE49-F238E27FC236}">
                      <a16:creationId xmlns:a16="http://schemas.microsoft.com/office/drawing/2014/main" id="{D2E09059-7C05-4C1F-8EB6-130D70617CF6}"/>
                    </a:ext>
                  </a:extLst>
                </p:cNvPr>
                <p:cNvSpPr>
                  <a:spLocks/>
                </p:cNvSpPr>
                <p:nvPr/>
              </p:nvSpPr>
              <p:spPr bwMode="auto">
                <a:xfrm>
                  <a:off x="6429371" y="1113294"/>
                  <a:ext cx="16621" cy="14738"/>
                </a:xfrm>
                <a:custGeom>
                  <a:avLst/>
                  <a:gdLst/>
                  <a:ahLst/>
                  <a:cxnLst>
                    <a:cxn ang="0">
                      <a:pos x="12" y="10"/>
                    </a:cxn>
                    <a:cxn ang="0">
                      <a:pos x="6" y="0"/>
                    </a:cxn>
                    <a:cxn ang="0">
                      <a:pos x="0" y="0"/>
                    </a:cxn>
                    <a:cxn ang="0">
                      <a:pos x="0" y="10"/>
                    </a:cxn>
                    <a:cxn ang="0">
                      <a:pos x="12" y="10"/>
                    </a:cxn>
                    <a:cxn ang="0">
                      <a:pos x="12" y="10"/>
                    </a:cxn>
                  </a:cxnLst>
                  <a:rect l="0" t="0" r="r" b="b"/>
                  <a:pathLst>
                    <a:path w="12" h="10">
                      <a:moveTo>
                        <a:pt x="12" y="10"/>
                      </a:moveTo>
                      <a:lnTo>
                        <a:pt x="6" y="0"/>
                      </a:lnTo>
                      <a:lnTo>
                        <a:pt x="0" y="0"/>
                      </a:lnTo>
                      <a:lnTo>
                        <a:pt x="0" y="10"/>
                      </a:lnTo>
                      <a:lnTo>
                        <a:pt x="12" y="10"/>
                      </a:lnTo>
                      <a:lnTo>
                        <a:pt x="12" y="1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5" name="Freeform 158">
                  <a:extLst>
                    <a:ext uri="{FF2B5EF4-FFF2-40B4-BE49-F238E27FC236}">
                      <a16:creationId xmlns:a16="http://schemas.microsoft.com/office/drawing/2014/main" id="{B6C8A536-D8CD-4C2E-8A9F-B14A4A8D83F2}"/>
                    </a:ext>
                  </a:extLst>
                </p:cNvPr>
                <p:cNvSpPr>
                  <a:spLocks/>
                </p:cNvSpPr>
                <p:nvPr/>
              </p:nvSpPr>
              <p:spPr bwMode="auto">
                <a:xfrm>
                  <a:off x="6513859" y="1104451"/>
                  <a:ext cx="87259" cy="32424"/>
                </a:xfrm>
                <a:custGeom>
                  <a:avLst/>
                  <a:gdLst/>
                  <a:ahLst/>
                  <a:cxnLst>
                    <a:cxn ang="0">
                      <a:pos x="63" y="16"/>
                    </a:cxn>
                    <a:cxn ang="0">
                      <a:pos x="51" y="6"/>
                    </a:cxn>
                    <a:cxn ang="0">
                      <a:pos x="0" y="0"/>
                    </a:cxn>
                    <a:cxn ang="0">
                      <a:pos x="6" y="16"/>
                    </a:cxn>
                    <a:cxn ang="0">
                      <a:pos x="34" y="22"/>
                    </a:cxn>
                    <a:cxn ang="0">
                      <a:pos x="63" y="16"/>
                    </a:cxn>
                    <a:cxn ang="0">
                      <a:pos x="63" y="16"/>
                    </a:cxn>
                  </a:cxnLst>
                  <a:rect l="0" t="0" r="r" b="b"/>
                  <a:pathLst>
                    <a:path w="63" h="22">
                      <a:moveTo>
                        <a:pt x="63" y="16"/>
                      </a:moveTo>
                      <a:lnTo>
                        <a:pt x="51" y="6"/>
                      </a:lnTo>
                      <a:lnTo>
                        <a:pt x="0" y="0"/>
                      </a:lnTo>
                      <a:lnTo>
                        <a:pt x="6" y="16"/>
                      </a:lnTo>
                      <a:lnTo>
                        <a:pt x="34" y="22"/>
                      </a:lnTo>
                      <a:lnTo>
                        <a:pt x="63" y="16"/>
                      </a:lnTo>
                      <a:lnTo>
                        <a:pt x="63"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6" name="Freeform 159">
                  <a:extLst>
                    <a:ext uri="{FF2B5EF4-FFF2-40B4-BE49-F238E27FC236}">
                      <a16:creationId xmlns:a16="http://schemas.microsoft.com/office/drawing/2014/main" id="{E6D0FB33-331A-4C2C-922E-369B55301AAC}"/>
                    </a:ext>
                  </a:extLst>
                </p:cNvPr>
                <p:cNvSpPr>
                  <a:spLocks/>
                </p:cNvSpPr>
                <p:nvPr/>
              </p:nvSpPr>
              <p:spPr bwMode="auto">
                <a:xfrm>
                  <a:off x="6576187" y="1145718"/>
                  <a:ext cx="60943" cy="25054"/>
                </a:xfrm>
                <a:custGeom>
                  <a:avLst/>
                  <a:gdLst/>
                  <a:ahLst/>
                  <a:cxnLst>
                    <a:cxn ang="0">
                      <a:pos x="6" y="0"/>
                    </a:cxn>
                    <a:cxn ang="0">
                      <a:pos x="0" y="10"/>
                    </a:cxn>
                    <a:cxn ang="0">
                      <a:pos x="28" y="17"/>
                    </a:cxn>
                    <a:cxn ang="0">
                      <a:pos x="44" y="17"/>
                    </a:cxn>
                    <a:cxn ang="0">
                      <a:pos x="44" y="10"/>
                    </a:cxn>
                    <a:cxn ang="0">
                      <a:pos x="40" y="0"/>
                    </a:cxn>
                    <a:cxn ang="0">
                      <a:pos x="28" y="6"/>
                    </a:cxn>
                    <a:cxn ang="0">
                      <a:pos x="6" y="0"/>
                    </a:cxn>
                    <a:cxn ang="0">
                      <a:pos x="6" y="0"/>
                    </a:cxn>
                  </a:cxnLst>
                  <a:rect l="0" t="0" r="r" b="b"/>
                  <a:pathLst>
                    <a:path w="44" h="17">
                      <a:moveTo>
                        <a:pt x="6" y="0"/>
                      </a:moveTo>
                      <a:lnTo>
                        <a:pt x="0" y="10"/>
                      </a:lnTo>
                      <a:lnTo>
                        <a:pt x="28" y="17"/>
                      </a:lnTo>
                      <a:lnTo>
                        <a:pt x="44" y="17"/>
                      </a:lnTo>
                      <a:lnTo>
                        <a:pt x="44" y="10"/>
                      </a:lnTo>
                      <a:lnTo>
                        <a:pt x="40" y="0"/>
                      </a:lnTo>
                      <a:lnTo>
                        <a:pt x="28" y="6"/>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7" name="Freeform 160">
                  <a:extLst>
                    <a:ext uri="{FF2B5EF4-FFF2-40B4-BE49-F238E27FC236}">
                      <a16:creationId xmlns:a16="http://schemas.microsoft.com/office/drawing/2014/main" id="{0B71A6E4-D449-48C1-A372-D5380DE93ACB}"/>
                    </a:ext>
                  </a:extLst>
                </p:cNvPr>
                <p:cNvSpPr>
                  <a:spLocks/>
                </p:cNvSpPr>
                <p:nvPr/>
              </p:nvSpPr>
              <p:spPr bwMode="auto">
                <a:xfrm>
                  <a:off x="6552641" y="1145718"/>
                  <a:ext cx="16621" cy="14738"/>
                </a:xfrm>
                <a:custGeom>
                  <a:avLst/>
                  <a:gdLst/>
                  <a:ahLst/>
                  <a:cxnLst>
                    <a:cxn ang="0">
                      <a:pos x="0" y="0"/>
                    </a:cxn>
                    <a:cxn ang="0">
                      <a:pos x="6" y="10"/>
                    </a:cxn>
                    <a:cxn ang="0">
                      <a:pos x="12" y="6"/>
                    </a:cxn>
                    <a:cxn ang="0">
                      <a:pos x="0" y="0"/>
                    </a:cxn>
                    <a:cxn ang="0">
                      <a:pos x="0" y="0"/>
                    </a:cxn>
                  </a:cxnLst>
                  <a:rect l="0" t="0" r="r" b="b"/>
                  <a:pathLst>
                    <a:path w="12" h="10">
                      <a:moveTo>
                        <a:pt x="0" y="0"/>
                      </a:moveTo>
                      <a:lnTo>
                        <a:pt x="6" y="10"/>
                      </a:lnTo>
                      <a:lnTo>
                        <a:pt x="12" y="6"/>
                      </a:lnTo>
                      <a:lnTo>
                        <a:pt x="0" y="0"/>
                      </a:lnTo>
                      <a:lnTo>
                        <a:pt x="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8" name="Freeform 161">
                  <a:extLst>
                    <a:ext uri="{FF2B5EF4-FFF2-40B4-BE49-F238E27FC236}">
                      <a16:creationId xmlns:a16="http://schemas.microsoft.com/office/drawing/2014/main" id="{4590530B-8284-419E-9FEC-D0271F241B61}"/>
                    </a:ext>
                  </a:extLst>
                </p:cNvPr>
                <p:cNvSpPr>
                  <a:spLocks/>
                </p:cNvSpPr>
                <p:nvPr/>
              </p:nvSpPr>
              <p:spPr bwMode="auto">
                <a:xfrm>
                  <a:off x="6623280" y="1104451"/>
                  <a:ext cx="84489" cy="41266"/>
                </a:xfrm>
                <a:custGeom>
                  <a:avLst/>
                  <a:gdLst/>
                  <a:ahLst/>
                  <a:cxnLst>
                    <a:cxn ang="0">
                      <a:pos x="61" y="12"/>
                    </a:cxn>
                    <a:cxn ang="0">
                      <a:pos x="38" y="6"/>
                    </a:cxn>
                    <a:cxn ang="0">
                      <a:pos x="32" y="0"/>
                    </a:cxn>
                    <a:cxn ang="0">
                      <a:pos x="28" y="12"/>
                    </a:cxn>
                    <a:cxn ang="0">
                      <a:pos x="0" y="6"/>
                    </a:cxn>
                    <a:cxn ang="0">
                      <a:pos x="10" y="22"/>
                    </a:cxn>
                    <a:cxn ang="0">
                      <a:pos x="28" y="28"/>
                    </a:cxn>
                    <a:cxn ang="0">
                      <a:pos x="61" y="22"/>
                    </a:cxn>
                    <a:cxn ang="0">
                      <a:pos x="61" y="12"/>
                    </a:cxn>
                    <a:cxn ang="0">
                      <a:pos x="61" y="12"/>
                    </a:cxn>
                  </a:cxnLst>
                  <a:rect l="0" t="0" r="r" b="b"/>
                  <a:pathLst>
                    <a:path w="61" h="28">
                      <a:moveTo>
                        <a:pt x="61" y="12"/>
                      </a:moveTo>
                      <a:lnTo>
                        <a:pt x="38" y="6"/>
                      </a:lnTo>
                      <a:lnTo>
                        <a:pt x="32" y="0"/>
                      </a:lnTo>
                      <a:lnTo>
                        <a:pt x="28" y="12"/>
                      </a:lnTo>
                      <a:lnTo>
                        <a:pt x="0" y="6"/>
                      </a:lnTo>
                      <a:lnTo>
                        <a:pt x="10" y="22"/>
                      </a:lnTo>
                      <a:lnTo>
                        <a:pt x="28" y="28"/>
                      </a:lnTo>
                      <a:lnTo>
                        <a:pt x="61" y="22"/>
                      </a:lnTo>
                      <a:lnTo>
                        <a:pt x="61" y="12"/>
                      </a:lnTo>
                      <a:lnTo>
                        <a:pt x="61" y="1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29" name="Freeform 162">
                  <a:extLst>
                    <a:ext uri="{FF2B5EF4-FFF2-40B4-BE49-F238E27FC236}">
                      <a16:creationId xmlns:a16="http://schemas.microsoft.com/office/drawing/2014/main" id="{4B041C4E-F3F7-4B8A-AE43-1C5D936A968D}"/>
                    </a:ext>
                  </a:extLst>
                </p:cNvPr>
                <p:cNvSpPr>
                  <a:spLocks/>
                </p:cNvSpPr>
                <p:nvPr/>
              </p:nvSpPr>
              <p:spPr bwMode="auto">
                <a:xfrm>
                  <a:off x="7030488" y="1611432"/>
                  <a:ext cx="22161" cy="17686"/>
                </a:xfrm>
                <a:custGeom>
                  <a:avLst/>
                  <a:gdLst/>
                  <a:ahLst/>
                  <a:cxnLst>
                    <a:cxn ang="0">
                      <a:pos x="16" y="0"/>
                    </a:cxn>
                    <a:cxn ang="0">
                      <a:pos x="0" y="0"/>
                    </a:cxn>
                    <a:cxn ang="0">
                      <a:pos x="16" y="12"/>
                    </a:cxn>
                    <a:cxn ang="0">
                      <a:pos x="16" y="0"/>
                    </a:cxn>
                    <a:cxn ang="0">
                      <a:pos x="16" y="0"/>
                    </a:cxn>
                  </a:cxnLst>
                  <a:rect l="0" t="0" r="r" b="b"/>
                  <a:pathLst>
                    <a:path w="16" h="12">
                      <a:moveTo>
                        <a:pt x="16" y="0"/>
                      </a:moveTo>
                      <a:lnTo>
                        <a:pt x="0" y="0"/>
                      </a:lnTo>
                      <a:lnTo>
                        <a:pt x="16" y="12"/>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0" name="Freeform 163">
                  <a:extLst>
                    <a:ext uri="{FF2B5EF4-FFF2-40B4-BE49-F238E27FC236}">
                      <a16:creationId xmlns:a16="http://schemas.microsoft.com/office/drawing/2014/main" id="{630C1F25-916C-48BD-A8DB-DC3F85E4B1D8}"/>
                    </a:ext>
                  </a:extLst>
                </p:cNvPr>
                <p:cNvSpPr>
                  <a:spLocks/>
                </p:cNvSpPr>
                <p:nvPr/>
              </p:nvSpPr>
              <p:spPr bwMode="auto">
                <a:xfrm>
                  <a:off x="7515260" y="1826603"/>
                  <a:ext cx="13850" cy="23580"/>
                </a:xfrm>
                <a:custGeom>
                  <a:avLst/>
                  <a:gdLst/>
                  <a:ahLst/>
                  <a:cxnLst>
                    <a:cxn ang="0">
                      <a:pos x="0" y="16"/>
                    </a:cxn>
                    <a:cxn ang="0">
                      <a:pos x="10" y="12"/>
                    </a:cxn>
                    <a:cxn ang="0">
                      <a:pos x="4" y="0"/>
                    </a:cxn>
                    <a:cxn ang="0">
                      <a:pos x="0" y="16"/>
                    </a:cxn>
                    <a:cxn ang="0">
                      <a:pos x="0" y="16"/>
                    </a:cxn>
                  </a:cxnLst>
                  <a:rect l="0" t="0" r="r" b="b"/>
                  <a:pathLst>
                    <a:path w="10" h="16">
                      <a:moveTo>
                        <a:pt x="0" y="16"/>
                      </a:moveTo>
                      <a:lnTo>
                        <a:pt x="10" y="12"/>
                      </a:lnTo>
                      <a:lnTo>
                        <a:pt x="4" y="0"/>
                      </a:lnTo>
                      <a:lnTo>
                        <a:pt x="0" y="16"/>
                      </a:lnTo>
                      <a:lnTo>
                        <a:pt x="0"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1" name="Freeform 164">
                  <a:extLst>
                    <a:ext uri="{FF2B5EF4-FFF2-40B4-BE49-F238E27FC236}">
                      <a16:creationId xmlns:a16="http://schemas.microsoft.com/office/drawing/2014/main" id="{E8B6E0F9-53E0-4C8F-ACBA-1D71418C1224}"/>
                    </a:ext>
                  </a:extLst>
                </p:cNvPr>
                <p:cNvSpPr>
                  <a:spLocks/>
                </p:cNvSpPr>
                <p:nvPr/>
              </p:nvSpPr>
              <p:spPr bwMode="auto">
                <a:xfrm>
                  <a:off x="5785316" y="1038132"/>
                  <a:ext cx="77564" cy="42740"/>
                </a:xfrm>
                <a:custGeom>
                  <a:avLst/>
                  <a:gdLst/>
                  <a:ahLst/>
                  <a:cxnLst>
                    <a:cxn ang="0">
                      <a:pos x="50" y="23"/>
                    </a:cxn>
                    <a:cxn ang="0">
                      <a:pos x="56" y="13"/>
                    </a:cxn>
                    <a:cxn ang="0">
                      <a:pos x="6" y="0"/>
                    </a:cxn>
                    <a:cxn ang="0">
                      <a:pos x="0" y="13"/>
                    </a:cxn>
                    <a:cxn ang="0">
                      <a:pos x="0" y="29"/>
                    </a:cxn>
                    <a:cxn ang="0">
                      <a:pos x="18" y="23"/>
                    </a:cxn>
                    <a:cxn ang="0">
                      <a:pos x="50" y="23"/>
                    </a:cxn>
                    <a:cxn ang="0">
                      <a:pos x="50" y="23"/>
                    </a:cxn>
                  </a:cxnLst>
                  <a:rect l="0" t="0" r="r" b="b"/>
                  <a:pathLst>
                    <a:path w="56" h="29">
                      <a:moveTo>
                        <a:pt x="50" y="23"/>
                      </a:moveTo>
                      <a:lnTo>
                        <a:pt x="56" y="13"/>
                      </a:lnTo>
                      <a:lnTo>
                        <a:pt x="6" y="0"/>
                      </a:lnTo>
                      <a:lnTo>
                        <a:pt x="0" y="13"/>
                      </a:lnTo>
                      <a:lnTo>
                        <a:pt x="0" y="29"/>
                      </a:lnTo>
                      <a:lnTo>
                        <a:pt x="18" y="23"/>
                      </a:lnTo>
                      <a:lnTo>
                        <a:pt x="50" y="23"/>
                      </a:lnTo>
                      <a:lnTo>
                        <a:pt x="50" y="2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2" name="Freeform 165">
                  <a:extLst>
                    <a:ext uri="{FF2B5EF4-FFF2-40B4-BE49-F238E27FC236}">
                      <a16:creationId xmlns:a16="http://schemas.microsoft.com/office/drawing/2014/main" id="{4F6EF44A-4CD5-4768-86BC-076D7F7E6257}"/>
                    </a:ext>
                  </a:extLst>
                </p:cNvPr>
                <p:cNvSpPr>
                  <a:spLocks/>
                </p:cNvSpPr>
                <p:nvPr/>
              </p:nvSpPr>
              <p:spPr bwMode="auto">
                <a:xfrm>
                  <a:off x="5386418" y="1038132"/>
                  <a:ext cx="22161" cy="19159"/>
                </a:xfrm>
                <a:custGeom>
                  <a:avLst/>
                  <a:gdLst/>
                  <a:ahLst/>
                  <a:cxnLst>
                    <a:cxn ang="0">
                      <a:pos x="16" y="13"/>
                    </a:cxn>
                    <a:cxn ang="0">
                      <a:pos x="16" y="0"/>
                    </a:cxn>
                    <a:cxn ang="0">
                      <a:pos x="0" y="0"/>
                    </a:cxn>
                    <a:cxn ang="0">
                      <a:pos x="0" y="13"/>
                    </a:cxn>
                    <a:cxn ang="0">
                      <a:pos x="16" y="13"/>
                    </a:cxn>
                    <a:cxn ang="0">
                      <a:pos x="16" y="13"/>
                    </a:cxn>
                  </a:cxnLst>
                  <a:rect l="0" t="0" r="r" b="b"/>
                  <a:pathLst>
                    <a:path w="16" h="13">
                      <a:moveTo>
                        <a:pt x="16" y="13"/>
                      </a:moveTo>
                      <a:lnTo>
                        <a:pt x="16" y="0"/>
                      </a:lnTo>
                      <a:lnTo>
                        <a:pt x="0" y="0"/>
                      </a:lnTo>
                      <a:lnTo>
                        <a:pt x="0" y="13"/>
                      </a:lnTo>
                      <a:lnTo>
                        <a:pt x="16" y="13"/>
                      </a:lnTo>
                      <a:lnTo>
                        <a:pt x="16" y="1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3" name="Freeform 166">
                  <a:extLst>
                    <a:ext uri="{FF2B5EF4-FFF2-40B4-BE49-F238E27FC236}">
                      <a16:creationId xmlns:a16="http://schemas.microsoft.com/office/drawing/2014/main" id="{40A858BD-2636-4A2E-B330-F4F4C282035A}"/>
                    </a:ext>
                  </a:extLst>
                </p:cNvPr>
                <p:cNvSpPr>
                  <a:spLocks/>
                </p:cNvSpPr>
                <p:nvPr/>
              </p:nvSpPr>
              <p:spPr bwMode="auto">
                <a:xfrm>
                  <a:off x="5408580" y="1005709"/>
                  <a:ext cx="23546" cy="17686"/>
                </a:xfrm>
                <a:custGeom>
                  <a:avLst/>
                  <a:gdLst/>
                  <a:ahLst/>
                  <a:cxnLst>
                    <a:cxn ang="0">
                      <a:pos x="12" y="0"/>
                    </a:cxn>
                    <a:cxn ang="0">
                      <a:pos x="0" y="0"/>
                    </a:cxn>
                    <a:cxn ang="0">
                      <a:pos x="0" y="12"/>
                    </a:cxn>
                    <a:cxn ang="0">
                      <a:pos x="17" y="12"/>
                    </a:cxn>
                    <a:cxn ang="0">
                      <a:pos x="12" y="0"/>
                    </a:cxn>
                    <a:cxn ang="0">
                      <a:pos x="12" y="0"/>
                    </a:cxn>
                  </a:cxnLst>
                  <a:rect l="0" t="0" r="r" b="b"/>
                  <a:pathLst>
                    <a:path w="17" h="12">
                      <a:moveTo>
                        <a:pt x="12" y="0"/>
                      </a:moveTo>
                      <a:lnTo>
                        <a:pt x="0" y="0"/>
                      </a:lnTo>
                      <a:lnTo>
                        <a:pt x="0" y="12"/>
                      </a:lnTo>
                      <a:lnTo>
                        <a:pt x="17" y="12"/>
                      </a:lnTo>
                      <a:lnTo>
                        <a:pt x="12" y="0"/>
                      </a:lnTo>
                      <a:lnTo>
                        <a:pt x="1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4" name="Freeform 167">
                  <a:extLst>
                    <a:ext uri="{FF2B5EF4-FFF2-40B4-BE49-F238E27FC236}">
                      <a16:creationId xmlns:a16="http://schemas.microsoft.com/office/drawing/2014/main" id="{886311E5-0573-419F-B40B-1C4BCF56165F}"/>
                    </a:ext>
                  </a:extLst>
                </p:cNvPr>
                <p:cNvSpPr>
                  <a:spLocks/>
                </p:cNvSpPr>
                <p:nvPr/>
              </p:nvSpPr>
              <p:spPr bwMode="auto">
                <a:xfrm>
                  <a:off x="5549855" y="1104451"/>
                  <a:ext cx="30471" cy="32424"/>
                </a:xfrm>
                <a:custGeom>
                  <a:avLst/>
                  <a:gdLst/>
                  <a:ahLst/>
                  <a:cxnLst>
                    <a:cxn ang="0">
                      <a:pos x="10" y="22"/>
                    </a:cxn>
                    <a:cxn ang="0">
                      <a:pos x="22" y="16"/>
                    </a:cxn>
                    <a:cxn ang="0">
                      <a:pos x="22" y="0"/>
                    </a:cxn>
                    <a:cxn ang="0">
                      <a:pos x="0" y="6"/>
                    </a:cxn>
                    <a:cxn ang="0">
                      <a:pos x="10" y="22"/>
                    </a:cxn>
                    <a:cxn ang="0">
                      <a:pos x="10" y="22"/>
                    </a:cxn>
                  </a:cxnLst>
                  <a:rect l="0" t="0" r="r" b="b"/>
                  <a:pathLst>
                    <a:path w="22" h="22">
                      <a:moveTo>
                        <a:pt x="10" y="22"/>
                      </a:moveTo>
                      <a:lnTo>
                        <a:pt x="22" y="16"/>
                      </a:lnTo>
                      <a:lnTo>
                        <a:pt x="22" y="0"/>
                      </a:lnTo>
                      <a:lnTo>
                        <a:pt x="0" y="6"/>
                      </a:lnTo>
                      <a:lnTo>
                        <a:pt x="10" y="22"/>
                      </a:lnTo>
                      <a:lnTo>
                        <a:pt x="1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5" name="Freeform 168">
                  <a:extLst>
                    <a:ext uri="{FF2B5EF4-FFF2-40B4-BE49-F238E27FC236}">
                      <a16:creationId xmlns:a16="http://schemas.microsoft.com/office/drawing/2014/main" id="{FD08DAA2-4586-45D5-AE7C-734EF7377955}"/>
                    </a:ext>
                  </a:extLst>
                </p:cNvPr>
                <p:cNvSpPr>
                  <a:spLocks/>
                </p:cNvSpPr>
                <p:nvPr/>
              </p:nvSpPr>
              <p:spPr bwMode="auto">
                <a:xfrm>
                  <a:off x="5678666" y="1029289"/>
                  <a:ext cx="91414" cy="33897"/>
                </a:xfrm>
                <a:custGeom>
                  <a:avLst/>
                  <a:gdLst/>
                  <a:ahLst/>
                  <a:cxnLst>
                    <a:cxn ang="0">
                      <a:pos x="32" y="13"/>
                    </a:cxn>
                    <a:cxn ang="0">
                      <a:pos x="44" y="23"/>
                    </a:cxn>
                    <a:cxn ang="0">
                      <a:pos x="66" y="13"/>
                    </a:cxn>
                    <a:cxn ang="0">
                      <a:pos x="32" y="0"/>
                    </a:cxn>
                    <a:cxn ang="0">
                      <a:pos x="12" y="0"/>
                    </a:cxn>
                    <a:cxn ang="0">
                      <a:pos x="0" y="19"/>
                    </a:cxn>
                    <a:cxn ang="0">
                      <a:pos x="32" y="13"/>
                    </a:cxn>
                    <a:cxn ang="0">
                      <a:pos x="32" y="13"/>
                    </a:cxn>
                  </a:cxnLst>
                  <a:rect l="0" t="0" r="r" b="b"/>
                  <a:pathLst>
                    <a:path w="66" h="23">
                      <a:moveTo>
                        <a:pt x="32" y="13"/>
                      </a:moveTo>
                      <a:lnTo>
                        <a:pt x="44" y="23"/>
                      </a:lnTo>
                      <a:lnTo>
                        <a:pt x="66" y="13"/>
                      </a:lnTo>
                      <a:lnTo>
                        <a:pt x="32" y="0"/>
                      </a:lnTo>
                      <a:lnTo>
                        <a:pt x="12" y="0"/>
                      </a:lnTo>
                      <a:lnTo>
                        <a:pt x="0" y="19"/>
                      </a:lnTo>
                      <a:lnTo>
                        <a:pt x="32" y="13"/>
                      </a:lnTo>
                      <a:lnTo>
                        <a:pt x="32" y="1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6" name="Freeform 169">
                  <a:extLst>
                    <a:ext uri="{FF2B5EF4-FFF2-40B4-BE49-F238E27FC236}">
                      <a16:creationId xmlns:a16="http://schemas.microsoft.com/office/drawing/2014/main" id="{38EF6D3F-C2A3-47D9-9D52-B06E7CF1E1CC}"/>
                    </a:ext>
                  </a:extLst>
                </p:cNvPr>
                <p:cNvSpPr>
                  <a:spLocks/>
                </p:cNvSpPr>
                <p:nvPr/>
              </p:nvSpPr>
              <p:spPr bwMode="auto">
                <a:xfrm>
                  <a:off x="5739609" y="1080870"/>
                  <a:ext cx="30471" cy="14738"/>
                </a:xfrm>
                <a:custGeom>
                  <a:avLst/>
                  <a:gdLst/>
                  <a:ahLst/>
                  <a:cxnLst>
                    <a:cxn ang="0">
                      <a:pos x="10" y="0"/>
                    </a:cxn>
                    <a:cxn ang="0">
                      <a:pos x="0" y="6"/>
                    </a:cxn>
                    <a:cxn ang="0">
                      <a:pos x="16" y="10"/>
                    </a:cxn>
                    <a:cxn ang="0">
                      <a:pos x="22" y="0"/>
                    </a:cxn>
                    <a:cxn ang="0">
                      <a:pos x="10" y="0"/>
                    </a:cxn>
                    <a:cxn ang="0">
                      <a:pos x="10" y="0"/>
                    </a:cxn>
                  </a:cxnLst>
                  <a:rect l="0" t="0" r="r" b="b"/>
                  <a:pathLst>
                    <a:path w="22" h="10">
                      <a:moveTo>
                        <a:pt x="10" y="0"/>
                      </a:moveTo>
                      <a:lnTo>
                        <a:pt x="0" y="6"/>
                      </a:lnTo>
                      <a:lnTo>
                        <a:pt x="16" y="10"/>
                      </a:lnTo>
                      <a:lnTo>
                        <a:pt x="22" y="0"/>
                      </a:lnTo>
                      <a:lnTo>
                        <a:pt x="10" y="0"/>
                      </a:lnTo>
                      <a:lnTo>
                        <a:pt x="10"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7" name="Freeform 170">
                  <a:extLst>
                    <a:ext uri="{FF2B5EF4-FFF2-40B4-BE49-F238E27FC236}">
                      <a16:creationId xmlns:a16="http://schemas.microsoft.com/office/drawing/2014/main" id="{6B32AE07-5FA4-4B73-A8A1-A800D779C4C5}"/>
                    </a:ext>
                  </a:extLst>
                </p:cNvPr>
                <p:cNvSpPr>
                  <a:spLocks/>
                </p:cNvSpPr>
                <p:nvPr/>
              </p:nvSpPr>
              <p:spPr bwMode="auto">
                <a:xfrm>
                  <a:off x="5664816" y="1038132"/>
                  <a:ext cx="13850" cy="19159"/>
                </a:xfrm>
                <a:custGeom>
                  <a:avLst/>
                  <a:gdLst/>
                  <a:ahLst/>
                  <a:cxnLst>
                    <a:cxn ang="0">
                      <a:pos x="10" y="7"/>
                    </a:cxn>
                    <a:cxn ang="0">
                      <a:pos x="0" y="0"/>
                    </a:cxn>
                    <a:cxn ang="0">
                      <a:pos x="0" y="13"/>
                    </a:cxn>
                    <a:cxn ang="0">
                      <a:pos x="10" y="7"/>
                    </a:cxn>
                    <a:cxn ang="0">
                      <a:pos x="10" y="7"/>
                    </a:cxn>
                  </a:cxnLst>
                  <a:rect l="0" t="0" r="r" b="b"/>
                  <a:pathLst>
                    <a:path w="10" h="13">
                      <a:moveTo>
                        <a:pt x="10" y="7"/>
                      </a:moveTo>
                      <a:lnTo>
                        <a:pt x="0" y="0"/>
                      </a:lnTo>
                      <a:lnTo>
                        <a:pt x="0" y="13"/>
                      </a:lnTo>
                      <a:lnTo>
                        <a:pt x="10" y="7"/>
                      </a:lnTo>
                      <a:lnTo>
                        <a:pt x="10" y="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8" name="Freeform 171">
                  <a:extLst>
                    <a:ext uri="{FF2B5EF4-FFF2-40B4-BE49-F238E27FC236}">
                      <a16:creationId xmlns:a16="http://schemas.microsoft.com/office/drawing/2014/main" id="{2F683830-A882-4BE1-B842-1857AF52112A}"/>
                    </a:ext>
                  </a:extLst>
                </p:cNvPr>
                <p:cNvSpPr>
                  <a:spLocks/>
                </p:cNvSpPr>
                <p:nvPr/>
              </p:nvSpPr>
              <p:spPr bwMode="auto">
                <a:xfrm>
                  <a:off x="5608028" y="1005709"/>
                  <a:ext cx="87259" cy="32424"/>
                </a:xfrm>
                <a:custGeom>
                  <a:avLst/>
                  <a:gdLst/>
                  <a:ahLst/>
                  <a:cxnLst>
                    <a:cxn ang="0">
                      <a:pos x="34" y="22"/>
                    </a:cxn>
                    <a:cxn ang="0">
                      <a:pos x="63" y="12"/>
                    </a:cxn>
                    <a:cxn ang="0">
                      <a:pos x="45" y="6"/>
                    </a:cxn>
                    <a:cxn ang="0">
                      <a:pos x="18" y="0"/>
                    </a:cxn>
                    <a:cxn ang="0">
                      <a:pos x="0" y="16"/>
                    </a:cxn>
                    <a:cxn ang="0">
                      <a:pos x="34" y="22"/>
                    </a:cxn>
                    <a:cxn ang="0">
                      <a:pos x="34" y="22"/>
                    </a:cxn>
                  </a:cxnLst>
                  <a:rect l="0" t="0" r="r" b="b"/>
                  <a:pathLst>
                    <a:path w="63" h="22">
                      <a:moveTo>
                        <a:pt x="34" y="22"/>
                      </a:moveTo>
                      <a:lnTo>
                        <a:pt x="63" y="12"/>
                      </a:lnTo>
                      <a:lnTo>
                        <a:pt x="45" y="6"/>
                      </a:lnTo>
                      <a:lnTo>
                        <a:pt x="18" y="0"/>
                      </a:lnTo>
                      <a:lnTo>
                        <a:pt x="0" y="16"/>
                      </a:lnTo>
                      <a:lnTo>
                        <a:pt x="34" y="22"/>
                      </a:lnTo>
                      <a:lnTo>
                        <a:pt x="34"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39" name="Freeform 172">
                  <a:extLst>
                    <a:ext uri="{FF2B5EF4-FFF2-40B4-BE49-F238E27FC236}">
                      <a16:creationId xmlns:a16="http://schemas.microsoft.com/office/drawing/2014/main" id="{D393960E-2C26-47D0-99F7-2A149F0E99F5}"/>
                    </a:ext>
                  </a:extLst>
                </p:cNvPr>
                <p:cNvSpPr>
                  <a:spLocks/>
                </p:cNvSpPr>
                <p:nvPr/>
              </p:nvSpPr>
              <p:spPr bwMode="auto">
                <a:xfrm>
                  <a:off x="5041537" y="996865"/>
                  <a:ext cx="44322" cy="32424"/>
                </a:xfrm>
                <a:custGeom>
                  <a:avLst/>
                  <a:gdLst/>
                  <a:ahLst/>
                  <a:cxnLst>
                    <a:cxn ang="0">
                      <a:pos x="22" y="0"/>
                    </a:cxn>
                    <a:cxn ang="0">
                      <a:pos x="16" y="6"/>
                    </a:cxn>
                    <a:cxn ang="0">
                      <a:pos x="0" y="12"/>
                    </a:cxn>
                    <a:cxn ang="0">
                      <a:pos x="10" y="22"/>
                    </a:cxn>
                    <a:cxn ang="0">
                      <a:pos x="32" y="18"/>
                    </a:cxn>
                    <a:cxn ang="0">
                      <a:pos x="28" y="6"/>
                    </a:cxn>
                    <a:cxn ang="0">
                      <a:pos x="32" y="0"/>
                    </a:cxn>
                    <a:cxn ang="0">
                      <a:pos x="22" y="0"/>
                    </a:cxn>
                    <a:cxn ang="0">
                      <a:pos x="22" y="0"/>
                    </a:cxn>
                  </a:cxnLst>
                  <a:rect l="0" t="0" r="r" b="b"/>
                  <a:pathLst>
                    <a:path w="32" h="22">
                      <a:moveTo>
                        <a:pt x="22" y="0"/>
                      </a:moveTo>
                      <a:lnTo>
                        <a:pt x="16" y="6"/>
                      </a:lnTo>
                      <a:lnTo>
                        <a:pt x="0" y="12"/>
                      </a:lnTo>
                      <a:lnTo>
                        <a:pt x="10" y="22"/>
                      </a:lnTo>
                      <a:lnTo>
                        <a:pt x="32" y="18"/>
                      </a:lnTo>
                      <a:lnTo>
                        <a:pt x="28" y="6"/>
                      </a:lnTo>
                      <a:lnTo>
                        <a:pt x="32" y="0"/>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0" name="Freeform 173">
                  <a:extLst>
                    <a:ext uri="{FF2B5EF4-FFF2-40B4-BE49-F238E27FC236}">
                      <a16:creationId xmlns:a16="http://schemas.microsoft.com/office/drawing/2014/main" id="{C231AF3F-B5AD-48BC-8B26-493764612C50}"/>
                    </a:ext>
                  </a:extLst>
                </p:cNvPr>
                <p:cNvSpPr>
                  <a:spLocks/>
                </p:cNvSpPr>
                <p:nvPr/>
              </p:nvSpPr>
              <p:spPr bwMode="auto">
                <a:xfrm>
                  <a:off x="5085859" y="1005709"/>
                  <a:ext cx="62328" cy="32424"/>
                </a:xfrm>
                <a:custGeom>
                  <a:avLst/>
                  <a:gdLst/>
                  <a:ahLst/>
                  <a:cxnLst>
                    <a:cxn ang="0">
                      <a:pos x="0" y="22"/>
                    </a:cxn>
                    <a:cxn ang="0">
                      <a:pos x="23" y="22"/>
                    </a:cxn>
                    <a:cxn ang="0">
                      <a:pos x="39" y="12"/>
                    </a:cxn>
                    <a:cxn ang="0">
                      <a:pos x="45" y="0"/>
                    </a:cxn>
                    <a:cxn ang="0">
                      <a:pos x="29" y="0"/>
                    </a:cxn>
                    <a:cxn ang="0">
                      <a:pos x="17" y="12"/>
                    </a:cxn>
                    <a:cxn ang="0">
                      <a:pos x="0" y="22"/>
                    </a:cxn>
                    <a:cxn ang="0">
                      <a:pos x="0" y="22"/>
                    </a:cxn>
                  </a:cxnLst>
                  <a:rect l="0" t="0" r="r" b="b"/>
                  <a:pathLst>
                    <a:path w="45" h="22">
                      <a:moveTo>
                        <a:pt x="0" y="22"/>
                      </a:moveTo>
                      <a:lnTo>
                        <a:pt x="23" y="22"/>
                      </a:lnTo>
                      <a:lnTo>
                        <a:pt x="39" y="12"/>
                      </a:lnTo>
                      <a:lnTo>
                        <a:pt x="45" y="0"/>
                      </a:lnTo>
                      <a:lnTo>
                        <a:pt x="29" y="0"/>
                      </a:lnTo>
                      <a:lnTo>
                        <a:pt x="17" y="12"/>
                      </a:lnTo>
                      <a:lnTo>
                        <a:pt x="0" y="22"/>
                      </a:lnTo>
                      <a:lnTo>
                        <a:pt x="0"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1" name="Freeform 174">
                  <a:extLst>
                    <a:ext uri="{FF2B5EF4-FFF2-40B4-BE49-F238E27FC236}">
                      <a16:creationId xmlns:a16="http://schemas.microsoft.com/office/drawing/2014/main" id="{57A4B4C7-C241-4FA9-9697-B9850E40C1F1}"/>
                    </a:ext>
                  </a:extLst>
                </p:cNvPr>
                <p:cNvSpPr>
                  <a:spLocks/>
                </p:cNvSpPr>
                <p:nvPr/>
              </p:nvSpPr>
              <p:spPr bwMode="auto">
                <a:xfrm>
                  <a:off x="4896106" y="1005709"/>
                  <a:ext cx="98340" cy="32424"/>
                </a:xfrm>
                <a:custGeom>
                  <a:avLst/>
                  <a:gdLst/>
                  <a:ahLst/>
                  <a:cxnLst>
                    <a:cxn ang="0">
                      <a:pos x="22" y="16"/>
                    </a:cxn>
                    <a:cxn ang="0">
                      <a:pos x="22" y="22"/>
                    </a:cxn>
                    <a:cxn ang="0">
                      <a:pos x="71" y="12"/>
                    </a:cxn>
                    <a:cxn ang="0">
                      <a:pos x="32" y="0"/>
                    </a:cxn>
                    <a:cxn ang="0">
                      <a:pos x="0" y="12"/>
                    </a:cxn>
                    <a:cxn ang="0">
                      <a:pos x="0" y="16"/>
                    </a:cxn>
                    <a:cxn ang="0">
                      <a:pos x="22" y="16"/>
                    </a:cxn>
                    <a:cxn ang="0">
                      <a:pos x="22" y="16"/>
                    </a:cxn>
                  </a:cxnLst>
                  <a:rect l="0" t="0" r="r" b="b"/>
                  <a:pathLst>
                    <a:path w="71" h="22">
                      <a:moveTo>
                        <a:pt x="22" y="16"/>
                      </a:moveTo>
                      <a:lnTo>
                        <a:pt x="22" y="22"/>
                      </a:lnTo>
                      <a:lnTo>
                        <a:pt x="71" y="12"/>
                      </a:lnTo>
                      <a:lnTo>
                        <a:pt x="32" y="0"/>
                      </a:lnTo>
                      <a:lnTo>
                        <a:pt x="0" y="12"/>
                      </a:lnTo>
                      <a:lnTo>
                        <a:pt x="0" y="16"/>
                      </a:lnTo>
                      <a:lnTo>
                        <a:pt x="22" y="16"/>
                      </a:lnTo>
                      <a:lnTo>
                        <a:pt x="2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2" name="Freeform 175">
                  <a:extLst>
                    <a:ext uri="{FF2B5EF4-FFF2-40B4-BE49-F238E27FC236}">
                      <a16:creationId xmlns:a16="http://schemas.microsoft.com/office/drawing/2014/main" id="{C7A15A72-A1F2-4DA5-A96A-51B4A18B6CF5}"/>
                    </a:ext>
                  </a:extLst>
                </p:cNvPr>
                <p:cNvSpPr>
                  <a:spLocks/>
                </p:cNvSpPr>
                <p:nvPr/>
              </p:nvSpPr>
              <p:spPr bwMode="auto">
                <a:xfrm>
                  <a:off x="5109405" y="1179615"/>
                  <a:ext cx="109420" cy="64847"/>
                </a:xfrm>
                <a:custGeom>
                  <a:avLst/>
                  <a:gdLst/>
                  <a:ahLst/>
                  <a:cxnLst>
                    <a:cxn ang="0">
                      <a:pos x="6" y="0"/>
                    </a:cxn>
                    <a:cxn ang="0">
                      <a:pos x="0" y="22"/>
                    </a:cxn>
                    <a:cxn ang="0">
                      <a:pos x="22" y="32"/>
                    </a:cxn>
                    <a:cxn ang="0">
                      <a:pos x="79" y="44"/>
                    </a:cxn>
                    <a:cxn ang="0">
                      <a:pos x="40" y="6"/>
                    </a:cxn>
                    <a:cxn ang="0">
                      <a:pos x="6" y="0"/>
                    </a:cxn>
                    <a:cxn ang="0">
                      <a:pos x="6" y="0"/>
                    </a:cxn>
                  </a:cxnLst>
                  <a:rect l="0" t="0" r="r" b="b"/>
                  <a:pathLst>
                    <a:path w="79" h="44">
                      <a:moveTo>
                        <a:pt x="6" y="0"/>
                      </a:moveTo>
                      <a:lnTo>
                        <a:pt x="0" y="22"/>
                      </a:lnTo>
                      <a:lnTo>
                        <a:pt x="22" y="32"/>
                      </a:lnTo>
                      <a:lnTo>
                        <a:pt x="79" y="44"/>
                      </a:lnTo>
                      <a:lnTo>
                        <a:pt x="40" y="6"/>
                      </a:lnTo>
                      <a:lnTo>
                        <a:pt x="6" y="0"/>
                      </a:lnTo>
                      <a:lnTo>
                        <a:pt x="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3" name="Freeform 176">
                  <a:extLst>
                    <a:ext uri="{FF2B5EF4-FFF2-40B4-BE49-F238E27FC236}">
                      <a16:creationId xmlns:a16="http://schemas.microsoft.com/office/drawing/2014/main" id="{69B27426-063C-44BB-816E-45A80F4FE985}"/>
                    </a:ext>
                  </a:extLst>
                </p:cNvPr>
                <p:cNvSpPr>
                  <a:spLocks/>
                </p:cNvSpPr>
                <p:nvPr/>
              </p:nvSpPr>
              <p:spPr bwMode="auto">
                <a:xfrm>
                  <a:off x="5148187" y="1005709"/>
                  <a:ext cx="47093" cy="23580"/>
                </a:xfrm>
                <a:custGeom>
                  <a:avLst/>
                  <a:gdLst/>
                  <a:ahLst/>
                  <a:cxnLst>
                    <a:cxn ang="0">
                      <a:pos x="34" y="6"/>
                    </a:cxn>
                    <a:cxn ang="0">
                      <a:pos x="12" y="0"/>
                    </a:cxn>
                    <a:cxn ang="0">
                      <a:pos x="0" y="12"/>
                    </a:cxn>
                    <a:cxn ang="0">
                      <a:pos x="12" y="16"/>
                    </a:cxn>
                    <a:cxn ang="0">
                      <a:pos x="28" y="16"/>
                    </a:cxn>
                    <a:cxn ang="0">
                      <a:pos x="34" y="6"/>
                    </a:cxn>
                    <a:cxn ang="0">
                      <a:pos x="34" y="6"/>
                    </a:cxn>
                  </a:cxnLst>
                  <a:rect l="0" t="0" r="r" b="b"/>
                  <a:pathLst>
                    <a:path w="34" h="16">
                      <a:moveTo>
                        <a:pt x="34" y="6"/>
                      </a:moveTo>
                      <a:lnTo>
                        <a:pt x="12" y="0"/>
                      </a:lnTo>
                      <a:lnTo>
                        <a:pt x="0" y="12"/>
                      </a:lnTo>
                      <a:lnTo>
                        <a:pt x="12" y="16"/>
                      </a:lnTo>
                      <a:lnTo>
                        <a:pt x="28" y="16"/>
                      </a:lnTo>
                      <a:lnTo>
                        <a:pt x="34" y="6"/>
                      </a:lnTo>
                      <a:lnTo>
                        <a:pt x="34"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4" name="Freeform 177">
                  <a:extLst>
                    <a:ext uri="{FF2B5EF4-FFF2-40B4-BE49-F238E27FC236}">
                      <a16:creationId xmlns:a16="http://schemas.microsoft.com/office/drawing/2014/main" id="{FBD4459B-5DEB-49FE-8765-42FA6D77CEFF}"/>
                    </a:ext>
                  </a:extLst>
                </p:cNvPr>
                <p:cNvSpPr>
                  <a:spLocks/>
                </p:cNvSpPr>
                <p:nvPr/>
              </p:nvSpPr>
              <p:spPr bwMode="auto">
                <a:xfrm>
                  <a:off x="5126026" y="1095608"/>
                  <a:ext cx="199449" cy="84005"/>
                </a:xfrm>
                <a:custGeom>
                  <a:avLst/>
                  <a:gdLst/>
                  <a:ahLst/>
                  <a:cxnLst>
                    <a:cxn ang="0">
                      <a:pos x="32" y="57"/>
                    </a:cxn>
                    <a:cxn ang="0">
                      <a:pos x="44" y="44"/>
                    </a:cxn>
                    <a:cxn ang="0">
                      <a:pos x="83" y="22"/>
                    </a:cxn>
                    <a:cxn ang="0">
                      <a:pos x="111" y="22"/>
                    </a:cxn>
                    <a:cxn ang="0">
                      <a:pos x="144" y="12"/>
                    </a:cxn>
                    <a:cxn ang="0">
                      <a:pos x="144" y="0"/>
                    </a:cxn>
                    <a:cxn ang="0">
                      <a:pos x="121" y="0"/>
                    </a:cxn>
                    <a:cxn ang="0">
                      <a:pos x="111" y="6"/>
                    </a:cxn>
                    <a:cxn ang="0">
                      <a:pos x="89" y="0"/>
                    </a:cxn>
                    <a:cxn ang="0">
                      <a:pos x="10" y="22"/>
                    </a:cxn>
                    <a:cxn ang="0">
                      <a:pos x="22" y="34"/>
                    </a:cxn>
                    <a:cxn ang="0">
                      <a:pos x="0" y="44"/>
                    </a:cxn>
                    <a:cxn ang="0">
                      <a:pos x="32" y="57"/>
                    </a:cxn>
                    <a:cxn ang="0">
                      <a:pos x="32" y="57"/>
                    </a:cxn>
                  </a:cxnLst>
                  <a:rect l="0" t="0" r="r" b="b"/>
                  <a:pathLst>
                    <a:path w="144" h="57">
                      <a:moveTo>
                        <a:pt x="32" y="57"/>
                      </a:moveTo>
                      <a:lnTo>
                        <a:pt x="44" y="44"/>
                      </a:lnTo>
                      <a:lnTo>
                        <a:pt x="83" y="22"/>
                      </a:lnTo>
                      <a:lnTo>
                        <a:pt x="111" y="22"/>
                      </a:lnTo>
                      <a:lnTo>
                        <a:pt x="144" y="12"/>
                      </a:lnTo>
                      <a:lnTo>
                        <a:pt x="144" y="0"/>
                      </a:lnTo>
                      <a:lnTo>
                        <a:pt x="121" y="0"/>
                      </a:lnTo>
                      <a:lnTo>
                        <a:pt x="111" y="6"/>
                      </a:lnTo>
                      <a:lnTo>
                        <a:pt x="89" y="0"/>
                      </a:lnTo>
                      <a:lnTo>
                        <a:pt x="10" y="22"/>
                      </a:lnTo>
                      <a:lnTo>
                        <a:pt x="22" y="34"/>
                      </a:lnTo>
                      <a:lnTo>
                        <a:pt x="0" y="44"/>
                      </a:lnTo>
                      <a:lnTo>
                        <a:pt x="32" y="57"/>
                      </a:lnTo>
                      <a:lnTo>
                        <a:pt x="32" y="57"/>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5" name="Freeform 178">
                  <a:extLst>
                    <a:ext uri="{FF2B5EF4-FFF2-40B4-BE49-F238E27FC236}">
                      <a16:creationId xmlns:a16="http://schemas.microsoft.com/office/drawing/2014/main" id="{8212EB2A-482B-4F0F-B5A9-FF6459AF147E}"/>
                    </a:ext>
                  </a:extLst>
                </p:cNvPr>
                <p:cNvSpPr>
                  <a:spLocks/>
                </p:cNvSpPr>
                <p:nvPr/>
              </p:nvSpPr>
              <p:spPr bwMode="auto">
                <a:xfrm>
                  <a:off x="5063698" y="1253303"/>
                  <a:ext cx="54018" cy="39791"/>
                </a:xfrm>
                <a:custGeom>
                  <a:avLst/>
                  <a:gdLst/>
                  <a:ahLst/>
                  <a:cxnLst>
                    <a:cxn ang="0">
                      <a:pos x="39" y="16"/>
                    </a:cxn>
                    <a:cxn ang="0">
                      <a:pos x="23" y="0"/>
                    </a:cxn>
                    <a:cxn ang="0">
                      <a:pos x="0" y="16"/>
                    </a:cxn>
                    <a:cxn ang="0">
                      <a:pos x="29" y="27"/>
                    </a:cxn>
                    <a:cxn ang="0">
                      <a:pos x="39" y="16"/>
                    </a:cxn>
                    <a:cxn ang="0">
                      <a:pos x="39" y="16"/>
                    </a:cxn>
                  </a:cxnLst>
                  <a:rect l="0" t="0" r="r" b="b"/>
                  <a:pathLst>
                    <a:path w="39" h="27">
                      <a:moveTo>
                        <a:pt x="39" y="16"/>
                      </a:moveTo>
                      <a:lnTo>
                        <a:pt x="23" y="0"/>
                      </a:lnTo>
                      <a:lnTo>
                        <a:pt x="0" y="16"/>
                      </a:lnTo>
                      <a:lnTo>
                        <a:pt x="29" y="27"/>
                      </a:lnTo>
                      <a:lnTo>
                        <a:pt x="39" y="16"/>
                      </a:lnTo>
                      <a:lnTo>
                        <a:pt x="39"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6" name="Freeform 179">
                  <a:extLst>
                    <a:ext uri="{FF2B5EF4-FFF2-40B4-BE49-F238E27FC236}">
                      <a16:creationId xmlns:a16="http://schemas.microsoft.com/office/drawing/2014/main" id="{C3C1FF95-E310-4A37-A1F4-D367312EC281}"/>
                    </a:ext>
                  </a:extLst>
                </p:cNvPr>
                <p:cNvSpPr>
                  <a:spLocks/>
                </p:cNvSpPr>
                <p:nvPr/>
              </p:nvSpPr>
              <p:spPr bwMode="auto">
                <a:xfrm>
                  <a:off x="5793627" y="1966612"/>
                  <a:ext cx="221610" cy="107585"/>
                </a:xfrm>
                <a:custGeom>
                  <a:avLst/>
                  <a:gdLst/>
                  <a:ahLst/>
                  <a:cxnLst>
                    <a:cxn ang="0">
                      <a:pos x="22" y="33"/>
                    </a:cxn>
                    <a:cxn ang="0">
                      <a:pos x="34" y="26"/>
                    </a:cxn>
                    <a:cxn ang="0">
                      <a:pos x="54" y="45"/>
                    </a:cxn>
                    <a:cxn ang="0">
                      <a:pos x="38" y="55"/>
                    </a:cxn>
                    <a:cxn ang="0">
                      <a:pos x="16" y="51"/>
                    </a:cxn>
                    <a:cxn ang="0">
                      <a:pos x="0" y="55"/>
                    </a:cxn>
                    <a:cxn ang="0">
                      <a:pos x="12" y="67"/>
                    </a:cxn>
                    <a:cxn ang="0">
                      <a:pos x="50" y="73"/>
                    </a:cxn>
                    <a:cxn ang="0">
                      <a:pos x="83" y="67"/>
                    </a:cxn>
                    <a:cxn ang="0">
                      <a:pos x="83" y="51"/>
                    </a:cxn>
                    <a:cxn ang="0">
                      <a:pos x="111" y="51"/>
                    </a:cxn>
                    <a:cxn ang="0">
                      <a:pos x="121" y="33"/>
                    </a:cxn>
                    <a:cxn ang="0">
                      <a:pos x="156" y="26"/>
                    </a:cxn>
                    <a:cxn ang="0">
                      <a:pos x="160" y="10"/>
                    </a:cxn>
                    <a:cxn ang="0">
                      <a:pos x="139" y="6"/>
                    </a:cxn>
                    <a:cxn ang="0">
                      <a:pos x="54" y="0"/>
                    </a:cxn>
                    <a:cxn ang="0">
                      <a:pos x="50" y="10"/>
                    </a:cxn>
                    <a:cxn ang="0">
                      <a:pos x="22" y="0"/>
                    </a:cxn>
                    <a:cxn ang="0">
                      <a:pos x="12" y="10"/>
                    </a:cxn>
                    <a:cxn ang="0">
                      <a:pos x="22" y="16"/>
                    </a:cxn>
                    <a:cxn ang="0">
                      <a:pos x="12" y="26"/>
                    </a:cxn>
                    <a:cxn ang="0">
                      <a:pos x="22" y="33"/>
                    </a:cxn>
                    <a:cxn ang="0">
                      <a:pos x="22" y="33"/>
                    </a:cxn>
                  </a:cxnLst>
                  <a:rect l="0" t="0" r="r" b="b"/>
                  <a:pathLst>
                    <a:path w="160" h="73">
                      <a:moveTo>
                        <a:pt x="22" y="33"/>
                      </a:moveTo>
                      <a:lnTo>
                        <a:pt x="34" y="26"/>
                      </a:lnTo>
                      <a:lnTo>
                        <a:pt x="54" y="45"/>
                      </a:lnTo>
                      <a:lnTo>
                        <a:pt x="38" y="55"/>
                      </a:lnTo>
                      <a:lnTo>
                        <a:pt x="16" y="51"/>
                      </a:lnTo>
                      <a:lnTo>
                        <a:pt x="0" y="55"/>
                      </a:lnTo>
                      <a:lnTo>
                        <a:pt x="12" y="67"/>
                      </a:lnTo>
                      <a:lnTo>
                        <a:pt x="50" y="73"/>
                      </a:lnTo>
                      <a:lnTo>
                        <a:pt x="83" y="67"/>
                      </a:lnTo>
                      <a:lnTo>
                        <a:pt x="83" y="51"/>
                      </a:lnTo>
                      <a:lnTo>
                        <a:pt x="111" y="51"/>
                      </a:lnTo>
                      <a:lnTo>
                        <a:pt x="121" y="33"/>
                      </a:lnTo>
                      <a:lnTo>
                        <a:pt x="156" y="26"/>
                      </a:lnTo>
                      <a:lnTo>
                        <a:pt x="160" y="10"/>
                      </a:lnTo>
                      <a:lnTo>
                        <a:pt x="139" y="6"/>
                      </a:lnTo>
                      <a:lnTo>
                        <a:pt x="54" y="0"/>
                      </a:lnTo>
                      <a:lnTo>
                        <a:pt x="50" y="10"/>
                      </a:lnTo>
                      <a:lnTo>
                        <a:pt x="22" y="0"/>
                      </a:lnTo>
                      <a:lnTo>
                        <a:pt x="12" y="10"/>
                      </a:lnTo>
                      <a:lnTo>
                        <a:pt x="22" y="16"/>
                      </a:lnTo>
                      <a:lnTo>
                        <a:pt x="12" y="26"/>
                      </a:lnTo>
                      <a:lnTo>
                        <a:pt x="22" y="33"/>
                      </a:lnTo>
                      <a:lnTo>
                        <a:pt x="22" y="3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7" name="Freeform 180">
                  <a:extLst>
                    <a:ext uri="{FF2B5EF4-FFF2-40B4-BE49-F238E27FC236}">
                      <a16:creationId xmlns:a16="http://schemas.microsoft.com/office/drawing/2014/main" id="{64923BB0-EC6B-4A4E-9DB5-DFF6906A1979}"/>
                    </a:ext>
                  </a:extLst>
                </p:cNvPr>
                <p:cNvSpPr>
                  <a:spLocks/>
                </p:cNvSpPr>
                <p:nvPr/>
              </p:nvSpPr>
              <p:spPr bwMode="auto">
                <a:xfrm>
                  <a:off x="5462596" y="1901766"/>
                  <a:ext cx="405823" cy="210750"/>
                </a:xfrm>
                <a:custGeom>
                  <a:avLst/>
                  <a:gdLst/>
                  <a:ahLst/>
                  <a:cxnLst>
                    <a:cxn ang="0">
                      <a:pos x="273" y="70"/>
                    </a:cxn>
                    <a:cxn ang="0">
                      <a:pos x="261" y="77"/>
                    </a:cxn>
                    <a:cxn ang="0">
                      <a:pos x="251" y="70"/>
                    </a:cxn>
                    <a:cxn ang="0">
                      <a:pos x="261" y="60"/>
                    </a:cxn>
                    <a:cxn ang="0">
                      <a:pos x="251" y="54"/>
                    </a:cxn>
                    <a:cxn ang="0">
                      <a:pos x="233" y="66"/>
                    </a:cxn>
                    <a:cxn ang="0">
                      <a:pos x="222" y="83"/>
                    </a:cxn>
                    <a:cxn ang="0">
                      <a:pos x="206" y="77"/>
                    </a:cxn>
                    <a:cxn ang="0">
                      <a:pos x="188" y="77"/>
                    </a:cxn>
                    <a:cxn ang="0">
                      <a:pos x="172" y="50"/>
                    </a:cxn>
                    <a:cxn ang="0">
                      <a:pos x="150" y="32"/>
                    </a:cxn>
                    <a:cxn ang="0">
                      <a:pos x="139" y="38"/>
                    </a:cxn>
                    <a:cxn ang="0">
                      <a:pos x="117" y="32"/>
                    </a:cxn>
                    <a:cxn ang="0">
                      <a:pos x="101" y="32"/>
                    </a:cxn>
                    <a:cxn ang="0">
                      <a:pos x="50" y="0"/>
                    </a:cxn>
                    <a:cxn ang="0">
                      <a:pos x="38" y="16"/>
                    </a:cxn>
                    <a:cxn ang="0">
                      <a:pos x="28" y="16"/>
                    </a:cxn>
                    <a:cxn ang="0">
                      <a:pos x="22" y="0"/>
                    </a:cxn>
                    <a:cxn ang="0">
                      <a:pos x="0" y="4"/>
                    </a:cxn>
                    <a:cxn ang="0">
                      <a:pos x="12" y="70"/>
                    </a:cxn>
                    <a:cxn ang="0">
                      <a:pos x="34" y="77"/>
                    </a:cxn>
                    <a:cxn ang="0">
                      <a:pos x="28" y="66"/>
                    </a:cxn>
                    <a:cxn ang="0">
                      <a:pos x="44" y="54"/>
                    </a:cxn>
                    <a:cxn ang="0">
                      <a:pos x="56" y="50"/>
                    </a:cxn>
                    <a:cxn ang="0">
                      <a:pos x="79" y="66"/>
                    </a:cxn>
                    <a:cxn ang="0">
                      <a:pos x="85" y="77"/>
                    </a:cxn>
                    <a:cxn ang="0">
                      <a:pos x="111" y="83"/>
                    </a:cxn>
                    <a:cxn ang="0">
                      <a:pos x="139" y="117"/>
                    </a:cxn>
                    <a:cxn ang="0">
                      <a:pos x="178" y="133"/>
                    </a:cxn>
                    <a:cxn ang="0">
                      <a:pos x="194" y="143"/>
                    </a:cxn>
                    <a:cxn ang="0">
                      <a:pos x="222" y="143"/>
                    </a:cxn>
                    <a:cxn ang="0">
                      <a:pos x="229" y="137"/>
                    </a:cxn>
                    <a:cxn ang="0">
                      <a:pos x="222" y="121"/>
                    </a:cxn>
                    <a:cxn ang="0">
                      <a:pos x="210" y="111"/>
                    </a:cxn>
                    <a:cxn ang="0">
                      <a:pos x="222" y="105"/>
                    </a:cxn>
                    <a:cxn ang="0">
                      <a:pos x="229" y="99"/>
                    </a:cxn>
                    <a:cxn ang="0">
                      <a:pos x="233" y="83"/>
                    </a:cxn>
                    <a:cxn ang="0">
                      <a:pos x="251" y="83"/>
                    </a:cxn>
                    <a:cxn ang="0">
                      <a:pos x="255" y="95"/>
                    </a:cxn>
                    <a:cxn ang="0">
                      <a:pos x="277" y="99"/>
                    </a:cxn>
                    <a:cxn ang="0">
                      <a:pos x="293" y="89"/>
                    </a:cxn>
                    <a:cxn ang="0">
                      <a:pos x="273" y="70"/>
                    </a:cxn>
                    <a:cxn ang="0">
                      <a:pos x="273" y="70"/>
                    </a:cxn>
                  </a:cxnLst>
                  <a:rect l="0" t="0" r="r" b="b"/>
                  <a:pathLst>
                    <a:path w="293" h="143">
                      <a:moveTo>
                        <a:pt x="273" y="70"/>
                      </a:moveTo>
                      <a:lnTo>
                        <a:pt x="261" y="77"/>
                      </a:lnTo>
                      <a:lnTo>
                        <a:pt x="251" y="70"/>
                      </a:lnTo>
                      <a:lnTo>
                        <a:pt x="261" y="60"/>
                      </a:lnTo>
                      <a:lnTo>
                        <a:pt x="251" y="54"/>
                      </a:lnTo>
                      <a:lnTo>
                        <a:pt x="233" y="66"/>
                      </a:lnTo>
                      <a:lnTo>
                        <a:pt x="222" y="83"/>
                      </a:lnTo>
                      <a:lnTo>
                        <a:pt x="206" y="77"/>
                      </a:lnTo>
                      <a:lnTo>
                        <a:pt x="188" y="77"/>
                      </a:lnTo>
                      <a:lnTo>
                        <a:pt x="172" y="50"/>
                      </a:lnTo>
                      <a:lnTo>
                        <a:pt x="150" y="32"/>
                      </a:lnTo>
                      <a:lnTo>
                        <a:pt x="139" y="38"/>
                      </a:lnTo>
                      <a:lnTo>
                        <a:pt x="117" y="32"/>
                      </a:lnTo>
                      <a:lnTo>
                        <a:pt x="101" y="32"/>
                      </a:lnTo>
                      <a:lnTo>
                        <a:pt x="50" y="0"/>
                      </a:lnTo>
                      <a:lnTo>
                        <a:pt x="38" y="16"/>
                      </a:lnTo>
                      <a:lnTo>
                        <a:pt x="28" y="16"/>
                      </a:lnTo>
                      <a:lnTo>
                        <a:pt x="22" y="0"/>
                      </a:lnTo>
                      <a:lnTo>
                        <a:pt x="0" y="4"/>
                      </a:lnTo>
                      <a:lnTo>
                        <a:pt x="12" y="70"/>
                      </a:lnTo>
                      <a:lnTo>
                        <a:pt x="34" y="77"/>
                      </a:lnTo>
                      <a:lnTo>
                        <a:pt x="28" y="66"/>
                      </a:lnTo>
                      <a:lnTo>
                        <a:pt x="44" y="54"/>
                      </a:lnTo>
                      <a:lnTo>
                        <a:pt x="56" y="50"/>
                      </a:lnTo>
                      <a:lnTo>
                        <a:pt x="79" y="66"/>
                      </a:lnTo>
                      <a:lnTo>
                        <a:pt x="85" y="77"/>
                      </a:lnTo>
                      <a:lnTo>
                        <a:pt x="111" y="83"/>
                      </a:lnTo>
                      <a:lnTo>
                        <a:pt x="139" y="117"/>
                      </a:lnTo>
                      <a:lnTo>
                        <a:pt x="178" y="133"/>
                      </a:lnTo>
                      <a:lnTo>
                        <a:pt x="194" y="143"/>
                      </a:lnTo>
                      <a:lnTo>
                        <a:pt x="222" y="143"/>
                      </a:lnTo>
                      <a:lnTo>
                        <a:pt x="229" y="137"/>
                      </a:lnTo>
                      <a:lnTo>
                        <a:pt x="222" y="121"/>
                      </a:lnTo>
                      <a:lnTo>
                        <a:pt x="210" y="111"/>
                      </a:lnTo>
                      <a:lnTo>
                        <a:pt x="222" y="105"/>
                      </a:lnTo>
                      <a:lnTo>
                        <a:pt x="229" y="99"/>
                      </a:lnTo>
                      <a:lnTo>
                        <a:pt x="233" y="83"/>
                      </a:lnTo>
                      <a:lnTo>
                        <a:pt x="251" y="83"/>
                      </a:lnTo>
                      <a:lnTo>
                        <a:pt x="255" y="95"/>
                      </a:lnTo>
                      <a:lnTo>
                        <a:pt x="277" y="99"/>
                      </a:lnTo>
                      <a:lnTo>
                        <a:pt x="293" y="89"/>
                      </a:lnTo>
                      <a:lnTo>
                        <a:pt x="273" y="70"/>
                      </a:lnTo>
                      <a:lnTo>
                        <a:pt x="273" y="7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8" name="Freeform 181">
                  <a:extLst>
                    <a:ext uri="{FF2B5EF4-FFF2-40B4-BE49-F238E27FC236}">
                      <a16:creationId xmlns:a16="http://schemas.microsoft.com/office/drawing/2014/main" id="{C6869A6D-2C38-4905-8A32-62672F09F66E}"/>
                    </a:ext>
                  </a:extLst>
                </p:cNvPr>
                <p:cNvSpPr>
                  <a:spLocks/>
                </p:cNvSpPr>
                <p:nvPr/>
              </p:nvSpPr>
              <p:spPr bwMode="auto">
                <a:xfrm>
                  <a:off x="5408580" y="1975455"/>
                  <a:ext cx="322720" cy="203381"/>
                </a:xfrm>
                <a:custGeom>
                  <a:avLst/>
                  <a:gdLst/>
                  <a:ahLst/>
                  <a:cxnLst>
                    <a:cxn ang="0">
                      <a:pos x="233" y="93"/>
                    </a:cxn>
                    <a:cxn ang="0">
                      <a:pos x="217" y="83"/>
                    </a:cxn>
                    <a:cxn ang="0">
                      <a:pos x="178" y="67"/>
                    </a:cxn>
                    <a:cxn ang="0">
                      <a:pos x="150" y="33"/>
                    </a:cxn>
                    <a:cxn ang="0">
                      <a:pos x="124" y="27"/>
                    </a:cxn>
                    <a:cxn ang="0">
                      <a:pos x="118" y="16"/>
                    </a:cxn>
                    <a:cxn ang="0">
                      <a:pos x="95" y="0"/>
                    </a:cxn>
                    <a:cxn ang="0">
                      <a:pos x="83" y="4"/>
                    </a:cxn>
                    <a:cxn ang="0">
                      <a:pos x="67" y="16"/>
                    </a:cxn>
                    <a:cxn ang="0">
                      <a:pos x="73" y="27"/>
                    </a:cxn>
                    <a:cxn ang="0">
                      <a:pos x="35" y="16"/>
                    </a:cxn>
                    <a:cxn ang="0">
                      <a:pos x="23" y="27"/>
                    </a:cxn>
                    <a:cxn ang="0">
                      <a:pos x="12" y="27"/>
                    </a:cxn>
                    <a:cxn ang="0">
                      <a:pos x="0" y="33"/>
                    </a:cxn>
                    <a:cxn ang="0">
                      <a:pos x="12" y="45"/>
                    </a:cxn>
                    <a:cxn ang="0">
                      <a:pos x="6" y="71"/>
                    </a:cxn>
                    <a:cxn ang="0">
                      <a:pos x="23" y="61"/>
                    </a:cxn>
                    <a:cxn ang="0">
                      <a:pos x="23" y="77"/>
                    </a:cxn>
                    <a:cxn ang="0">
                      <a:pos x="39" y="93"/>
                    </a:cxn>
                    <a:cxn ang="0">
                      <a:pos x="73" y="77"/>
                    </a:cxn>
                    <a:cxn ang="0">
                      <a:pos x="118" y="83"/>
                    </a:cxn>
                    <a:cxn ang="0">
                      <a:pos x="166" y="112"/>
                    </a:cxn>
                    <a:cxn ang="0">
                      <a:pos x="178" y="138"/>
                    </a:cxn>
                    <a:cxn ang="0">
                      <a:pos x="195" y="134"/>
                    </a:cxn>
                    <a:cxn ang="0">
                      <a:pos x="217" y="122"/>
                    </a:cxn>
                    <a:cxn ang="0">
                      <a:pos x="233" y="93"/>
                    </a:cxn>
                    <a:cxn ang="0">
                      <a:pos x="233" y="93"/>
                    </a:cxn>
                  </a:cxnLst>
                  <a:rect l="0" t="0" r="r" b="b"/>
                  <a:pathLst>
                    <a:path w="233" h="138">
                      <a:moveTo>
                        <a:pt x="233" y="93"/>
                      </a:moveTo>
                      <a:lnTo>
                        <a:pt x="217" y="83"/>
                      </a:lnTo>
                      <a:lnTo>
                        <a:pt x="178" y="67"/>
                      </a:lnTo>
                      <a:lnTo>
                        <a:pt x="150" y="33"/>
                      </a:lnTo>
                      <a:lnTo>
                        <a:pt x="124" y="27"/>
                      </a:lnTo>
                      <a:lnTo>
                        <a:pt x="118" y="16"/>
                      </a:lnTo>
                      <a:lnTo>
                        <a:pt x="95" y="0"/>
                      </a:lnTo>
                      <a:lnTo>
                        <a:pt x="83" y="4"/>
                      </a:lnTo>
                      <a:lnTo>
                        <a:pt x="67" y="16"/>
                      </a:lnTo>
                      <a:lnTo>
                        <a:pt x="73" y="27"/>
                      </a:lnTo>
                      <a:lnTo>
                        <a:pt x="35" y="16"/>
                      </a:lnTo>
                      <a:lnTo>
                        <a:pt x="23" y="27"/>
                      </a:lnTo>
                      <a:lnTo>
                        <a:pt x="12" y="27"/>
                      </a:lnTo>
                      <a:lnTo>
                        <a:pt x="0" y="33"/>
                      </a:lnTo>
                      <a:lnTo>
                        <a:pt x="12" y="45"/>
                      </a:lnTo>
                      <a:lnTo>
                        <a:pt x="6" y="71"/>
                      </a:lnTo>
                      <a:lnTo>
                        <a:pt x="23" y="61"/>
                      </a:lnTo>
                      <a:lnTo>
                        <a:pt x="23" y="77"/>
                      </a:lnTo>
                      <a:lnTo>
                        <a:pt x="39" y="93"/>
                      </a:lnTo>
                      <a:lnTo>
                        <a:pt x="73" y="77"/>
                      </a:lnTo>
                      <a:lnTo>
                        <a:pt x="118" y="83"/>
                      </a:lnTo>
                      <a:lnTo>
                        <a:pt x="166" y="112"/>
                      </a:lnTo>
                      <a:lnTo>
                        <a:pt x="178" y="138"/>
                      </a:lnTo>
                      <a:lnTo>
                        <a:pt x="195" y="134"/>
                      </a:lnTo>
                      <a:lnTo>
                        <a:pt x="217" y="122"/>
                      </a:lnTo>
                      <a:lnTo>
                        <a:pt x="233" y="93"/>
                      </a:lnTo>
                      <a:lnTo>
                        <a:pt x="233" y="9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49" name="Freeform 182">
                  <a:extLst>
                    <a:ext uri="{FF2B5EF4-FFF2-40B4-BE49-F238E27FC236}">
                      <a16:creationId xmlns:a16="http://schemas.microsoft.com/office/drawing/2014/main" id="{EF9036CA-6F66-4978-9736-D19456FE122A}"/>
                    </a:ext>
                  </a:extLst>
                </p:cNvPr>
                <p:cNvSpPr>
                  <a:spLocks/>
                </p:cNvSpPr>
                <p:nvPr/>
              </p:nvSpPr>
              <p:spPr bwMode="auto">
                <a:xfrm>
                  <a:off x="5240987" y="1990192"/>
                  <a:ext cx="114961" cy="89901"/>
                </a:xfrm>
                <a:custGeom>
                  <a:avLst/>
                  <a:gdLst/>
                  <a:ahLst/>
                  <a:cxnLst>
                    <a:cxn ang="0">
                      <a:pos x="73" y="35"/>
                    </a:cxn>
                    <a:cxn ang="0">
                      <a:pos x="83" y="29"/>
                    </a:cxn>
                    <a:cxn ang="0">
                      <a:pos x="50" y="0"/>
                    </a:cxn>
                    <a:cxn ang="0">
                      <a:pos x="44" y="17"/>
                    </a:cxn>
                    <a:cxn ang="0">
                      <a:pos x="10" y="0"/>
                    </a:cxn>
                    <a:cxn ang="0">
                      <a:pos x="16" y="17"/>
                    </a:cxn>
                    <a:cxn ang="0">
                      <a:pos x="0" y="10"/>
                    </a:cxn>
                    <a:cxn ang="0">
                      <a:pos x="16" y="35"/>
                    </a:cxn>
                    <a:cxn ang="0">
                      <a:pos x="16" y="51"/>
                    </a:cxn>
                    <a:cxn ang="0">
                      <a:pos x="38" y="61"/>
                    </a:cxn>
                    <a:cxn ang="0">
                      <a:pos x="44" y="39"/>
                    </a:cxn>
                    <a:cxn ang="0">
                      <a:pos x="67" y="45"/>
                    </a:cxn>
                    <a:cxn ang="0">
                      <a:pos x="73" y="35"/>
                    </a:cxn>
                    <a:cxn ang="0">
                      <a:pos x="73" y="35"/>
                    </a:cxn>
                  </a:cxnLst>
                  <a:rect l="0" t="0" r="r" b="b"/>
                  <a:pathLst>
                    <a:path w="83" h="61">
                      <a:moveTo>
                        <a:pt x="73" y="35"/>
                      </a:moveTo>
                      <a:lnTo>
                        <a:pt x="83" y="29"/>
                      </a:lnTo>
                      <a:lnTo>
                        <a:pt x="50" y="0"/>
                      </a:lnTo>
                      <a:lnTo>
                        <a:pt x="44" y="17"/>
                      </a:lnTo>
                      <a:lnTo>
                        <a:pt x="10" y="0"/>
                      </a:lnTo>
                      <a:lnTo>
                        <a:pt x="16" y="17"/>
                      </a:lnTo>
                      <a:lnTo>
                        <a:pt x="0" y="10"/>
                      </a:lnTo>
                      <a:lnTo>
                        <a:pt x="16" y="35"/>
                      </a:lnTo>
                      <a:lnTo>
                        <a:pt x="16" y="51"/>
                      </a:lnTo>
                      <a:lnTo>
                        <a:pt x="38" y="61"/>
                      </a:lnTo>
                      <a:lnTo>
                        <a:pt x="44" y="39"/>
                      </a:lnTo>
                      <a:lnTo>
                        <a:pt x="67" y="45"/>
                      </a:lnTo>
                      <a:lnTo>
                        <a:pt x="73" y="35"/>
                      </a:lnTo>
                      <a:lnTo>
                        <a:pt x="73" y="3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0" name="Freeform 183">
                  <a:extLst>
                    <a:ext uri="{FF2B5EF4-FFF2-40B4-BE49-F238E27FC236}">
                      <a16:creationId xmlns:a16="http://schemas.microsoft.com/office/drawing/2014/main" id="{C1B20572-4E94-41D8-B5AA-AC2598C20CD0}"/>
                    </a:ext>
                  </a:extLst>
                </p:cNvPr>
                <p:cNvSpPr>
                  <a:spLocks/>
                </p:cNvSpPr>
                <p:nvPr/>
              </p:nvSpPr>
              <p:spPr bwMode="auto">
                <a:xfrm>
                  <a:off x="5139877" y="1948927"/>
                  <a:ext cx="123271" cy="66321"/>
                </a:xfrm>
                <a:custGeom>
                  <a:avLst/>
                  <a:gdLst/>
                  <a:ahLst/>
                  <a:cxnLst>
                    <a:cxn ang="0">
                      <a:pos x="22" y="0"/>
                    </a:cxn>
                    <a:cxn ang="0">
                      <a:pos x="18" y="6"/>
                    </a:cxn>
                    <a:cxn ang="0">
                      <a:pos x="0" y="6"/>
                    </a:cxn>
                    <a:cxn ang="0">
                      <a:pos x="12" y="34"/>
                    </a:cxn>
                    <a:cxn ang="0">
                      <a:pos x="57" y="45"/>
                    </a:cxn>
                    <a:cxn ang="0">
                      <a:pos x="73" y="38"/>
                    </a:cxn>
                    <a:cxn ang="0">
                      <a:pos x="89" y="45"/>
                    </a:cxn>
                    <a:cxn ang="0">
                      <a:pos x="83" y="28"/>
                    </a:cxn>
                    <a:cxn ang="0">
                      <a:pos x="63" y="12"/>
                    </a:cxn>
                    <a:cxn ang="0">
                      <a:pos x="51" y="18"/>
                    </a:cxn>
                    <a:cxn ang="0">
                      <a:pos x="22" y="0"/>
                    </a:cxn>
                    <a:cxn ang="0">
                      <a:pos x="22" y="0"/>
                    </a:cxn>
                  </a:cxnLst>
                  <a:rect l="0" t="0" r="r" b="b"/>
                  <a:pathLst>
                    <a:path w="89" h="45">
                      <a:moveTo>
                        <a:pt x="22" y="0"/>
                      </a:moveTo>
                      <a:lnTo>
                        <a:pt x="18" y="6"/>
                      </a:lnTo>
                      <a:lnTo>
                        <a:pt x="0" y="6"/>
                      </a:lnTo>
                      <a:lnTo>
                        <a:pt x="12" y="34"/>
                      </a:lnTo>
                      <a:lnTo>
                        <a:pt x="57" y="45"/>
                      </a:lnTo>
                      <a:lnTo>
                        <a:pt x="73" y="38"/>
                      </a:lnTo>
                      <a:lnTo>
                        <a:pt x="89" y="45"/>
                      </a:lnTo>
                      <a:lnTo>
                        <a:pt x="83" y="28"/>
                      </a:lnTo>
                      <a:lnTo>
                        <a:pt x="63" y="12"/>
                      </a:lnTo>
                      <a:lnTo>
                        <a:pt x="51" y="18"/>
                      </a:lnTo>
                      <a:lnTo>
                        <a:pt x="22" y="0"/>
                      </a:lnTo>
                      <a:lnTo>
                        <a:pt x="22"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1" name="Freeform 184">
                  <a:extLst>
                    <a:ext uri="{FF2B5EF4-FFF2-40B4-BE49-F238E27FC236}">
                      <a16:creationId xmlns:a16="http://schemas.microsoft.com/office/drawing/2014/main" id="{E8A85DE4-17AA-4A8F-923D-40AEEEEE0AB1}"/>
                    </a:ext>
                  </a:extLst>
                </p:cNvPr>
                <p:cNvSpPr>
                  <a:spLocks/>
                </p:cNvSpPr>
                <p:nvPr/>
              </p:nvSpPr>
              <p:spPr bwMode="auto">
                <a:xfrm>
                  <a:off x="5218825" y="2004931"/>
                  <a:ext cx="44322" cy="60424"/>
                </a:xfrm>
                <a:custGeom>
                  <a:avLst/>
                  <a:gdLst/>
                  <a:ahLst/>
                  <a:cxnLst>
                    <a:cxn ang="0">
                      <a:pos x="16" y="0"/>
                    </a:cxn>
                    <a:cxn ang="0">
                      <a:pos x="0" y="7"/>
                    </a:cxn>
                    <a:cxn ang="0">
                      <a:pos x="0" y="25"/>
                    </a:cxn>
                    <a:cxn ang="0">
                      <a:pos x="16" y="35"/>
                    </a:cxn>
                    <a:cxn ang="0">
                      <a:pos x="32" y="41"/>
                    </a:cxn>
                    <a:cxn ang="0">
                      <a:pos x="32" y="29"/>
                    </a:cxn>
                    <a:cxn ang="0">
                      <a:pos x="16" y="0"/>
                    </a:cxn>
                    <a:cxn ang="0">
                      <a:pos x="16" y="0"/>
                    </a:cxn>
                  </a:cxnLst>
                  <a:rect l="0" t="0" r="r" b="b"/>
                  <a:pathLst>
                    <a:path w="32" h="41">
                      <a:moveTo>
                        <a:pt x="16" y="0"/>
                      </a:moveTo>
                      <a:lnTo>
                        <a:pt x="0" y="7"/>
                      </a:lnTo>
                      <a:lnTo>
                        <a:pt x="0" y="25"/>
                      </a:lnTo>
                      <a:lnTo>
                        <a:pt x="16" y="35"/>
                      </a:lnTo>
                      <a:lnTo>
                        <a:pt x="32" y="41"/>
                      </a:lnTo>
                      <a:lnTo>
                        <a:pt x="32" y="29"/>
                      </a:lnTo>
                      <a:lnTo>
                        <a:pt x="16" y="0"/>
                      </a:lnTo>
                      <a:lnTo>
                        <a:pt x="16"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2" name="Freeform 185">
                  <a:extLst>
                    <a:ext uri="{FF2B5EF4-FFF2-40B4-BE49-F238E27FC236}">
                      <a16:creationId xmlns:a16="http://schemas.microsoft.com/office/drawing/2014/main" id="{9AC69FDE-3EC8-4579-8E43-35021A8043EF}"/>
                    </a:ext>
                  </a:extLst>
                </p:cNvPr>
                <p:cNvSpPr>
                  <a:spLocks/>
                </p:cNvSpPr>
                <p:nvPr/>
              </p:nvSpPr>
              <p:spPr bwMode="auto">
                <a:xfrm>
                  <a:off x="4803306" y="1990192"/>
                  <a:ext cx="459841" cy="173906"/>
                </a:xfrm>
                <a:custGeom>
                  <a:avLst/>
                  <a:gdLst/>
                  <a:ahLst/>
                  <a:cxnLst>
                    <a:cxn ang="0">
                      <a:pos x="316" y="45"/>
                    </a:cxn>
                    <a:cxn ang="0">
                      <a:pos x="300" y="35"/>
                    </a:cxn>
                    <a:cxn ang="0">
                      <a:pos x="300" y="17"/>
                    </a:cxn>
                    <a:cxn ang="0">
                      <a:pos x="255" y="6"/>
                    </a:cxn>
                    <a:cxn ang="0">
                      <a:pos x="194" y="23"/>
                    </a:cxn>
                    <a:cxn ang="0">
                      <a:pos x="188" y="10"/>
                    </a:cxn>
                    <a:cxn ang="0">
                      <a:pos x="144" y="0"/>
                    </a:cxn>
                    <a:cxn ang="0">
                      <a:pos x="99" y="0"/>
                    </a:cxn>
                    <a:cxn ang="0">
                      <a:pos x="77" y="10"/>
                    </a:cxn>
                    <a:cxn ang="0">
                      <a:pos x="51" y="10"/>
                    </a:cxn>
                    <a:cxn ang="0">
                      <a:pos x="51" y="23"/>
                    </a:cxn>
                    <a:cxn ang="0">
                      <a:pos x="6" y="29"/>
                    </a:cxn>
                    <a:cxn ang="0">
                      <a:pos x="0" y="39"/>
                    </a:cxn>
                    <a:cxn ang="0">
                      <a:pos x="10" y="57"/>
                    </a:cxn>
                    <a:cxn ang="0">
                      <a:pos x="6" y="67"/>
                    </a:cxn>
                    <a:cxn ang="0">
                      <a:pos x="16" y="73"/>
                    </a:cxn>
                    <a:cxn ang="0">
                      <a:pos x="16" y="83"/>
                    </a:cxn>
                    <a:cxn ang="0">
                      <a:pos x="28" y="83"/>
                    </a:cxn>
                    <a:cxn ang="0">
                      <a:pos x="38" y="95"/>
                    </a:cxn>
                    <a:cxn ang="0">
                      <a:pos x="77" y="118"/>
                    </a:cxn>
                    <a:cxn ang="0">
                      <a:pos x="93" y="106"/>
                    </a:cxn>
                    <a:cxn ang="0">
                      <a:pos x="89" y="102"/>
                    </a:cxn>
                    <a:cxn ang="0">
                      <a:pos x="105" y="102"/>
                    </a:cxn>
                    <a:cxn ang="0">
                      <a:pos x="121" y="112"/>
                    </a:cxn>
                    <a:cxn ang="0">
                      <a:pos x="172" y="102"/>
                    </a:cxn>
                    <a:cxn ang="0">
                      <a:pos x="176" y="118"/>
                    </a:cxn>
                    <a:cxn ang="0">
                      <a:pos x="200" y="102"/>
                    </a:cxn>
                    <a:cxn ang="0">
                      <a:pos x="294" y="89"/>
                    </a:cxn>
                    <a:cxn ang="0">
                      <a:pos x="332" y="95"/>
                    </a:cxn>
                    <a:cxn ang="0">
                      <a:pos x="316" y="45"/>
                    </a:cxn>
                    <a:cxn ang="0">
                      <a:pos x="316" y="45"/>
                    </a:cxn>
                  </a:cxnLst>
                  <a:rect l="0" t="0" r="r" b="b"/>
                  <a:pathLst>
                    <a:path w="332" h="118">
                      <a:moveTo>
                        <a:pt x="316" y="45"/>
                      </a:moveTo>
                      <a:lnTo>
                        <a:pt x="300" y="35"/>
                      </a:lnTo>
                      <a:lnTo>
                        <a:pt x="300" y="17"/>
                      </a:lnTo>
                      <a:lnTo>
                        <a:pt x="255" y="6"/>
                      </a:lnTo>
                      <a:lnTo>
                        <a:pt x="194" y="23"/>
                      </a:lnTo>
                      <a:lnTo>
                        <a:pt x="188" y="10"/>
                      </a:lnTo>
                      <a:lnTo>
                        <a:pt x="144" y="0"/>
                      </a:lnTo>
                      <a:lnTo>
                        <a:pt x="99" y="0"/>
                      </a:lnTo>
                      <a:lnTo>
                        <a:pt x="77" y="10"/>
                      </a:lnTo>
                      <a:lnTo>
                        <a:pt x="51" y="10"/>
                      </a:lnTo>
                      <a:lnTo>
                        <a:pt x="51" y="23"/>
                      </a:lnTo>
                      <a:lnTo>
                        <a:pt x="6" y="29"/>
                      </a:lnTo>
                      <a:lnTo>
                        <a:pt x="0" y="39"/>
                      </a:lnTo>
                      <a:lnTo>
                        <a:pt x="10" y="57"/>
                      </a:lnTo>
                      <a:lnTo>
                        <a:pt x="6" y="67"/>
                      </a:lnTo>
                      <a:lnTo>
                        <a:pt x="16" y="73"/>
                      </a:lnTo>
                      <a:lnTo>
                        <a:pt x="16" y="83"/>
                      </a:lnTo>
                      <a:lnTo>
                        <a:pt x="28" y="83"/>
                      </a:lnTo>
                      <a:lnTo>
                        <a:pt x="38" y="95"/>
                      </a:lnTo>
                      <a:lnTo>
                        <a:pt x="77" y="118"/>
                      </a:lnTo>
                      <a:lnTo>
                        <a:pt x="93" y="106"/>
                      </a:lnTo>
                      <a:lnTo>
                        <a:pt x="89" y="102"/>
                      </a:lnTo>
                      <a:lnTo>
                        <a:pt x="105" y="102"/>
                      </a:lnTo>
                      <a:lnTo>
                        <a:pt x="121" y="112"/>
                      </a:lnTo>
                      <a:lnTo>
                        <a:pt x="172" y="102"/>
                      </a:lnTo>
                      <a:lnTo>
                        <a:pt x="176" y="118"/>
                      </a:lnTo>
                      <a:lnTo>
                        <a:pt x="200" y="102"/>
                      </a:lnTo>
                      <a:lnTo>
                        <a:pt x="294" y="89"/>
                      </a:lnTo>
                      <a:lnTo>
                        <a:pt x="332" y="95"/>
                      </a:lnTo>
                      <a:lnTo>
                        <a:pt x="316" y="45"/>
                      </a:lnTo>
                      <a:lnTo>
                        <a:pt x="316" y="4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3" name="Freeform 187">
                  <a:extLst>
                    <a:ext uri="{FF2B5EF4-FFF2-40B4-BE49-F238E27FC236}">
                      <a16:creationId xmlns:a16="http://schemas.microsoft.com/office/drawing/2014/main" id="{BC62411F-D1FD-4D1C-AC3A-F0E8C49C3270}"/>
                    </a:ext>
                  </a:extLst>
                </p:cNvPr>
                <p:cNvSpPr>
                  <a:spLocks/>
                </p:cNvSpPr>
                <p:nvPr/>
              </p:nvSpPr>
              <p:spPr bwMode="auto">
                <a:xfrm>
                  <a:off x="4617708" y="1253303"/>
                  <a:ext cx="207760" cy="244647"/>
                </a:xfrm>
                <a:custGeom>
                  <a:avLst/>
                  <a:gdLst/>
                  <a:ahLst/>
                  <a:cxnLst>
                    <a:cxn ang="0">
                      <a:pos x="73" y="0"/>
                    </a:cxn>
                    <a:cxn ang="0">
                      <a:pos x="51" y="4"/>
                    </a:cxn>
                    <a:cxn ang="0">
                      <a:pos x="51" y="23"/>
                    </a:cxn>
                    <a:cxn ang="0">
                      <a:pos x="17" y="27"/>
                    </a:cxn>
                    <a:cxn ang="0">
                      <a:pos x="39" y="71"/>
                    </a:cxn>
                    <a:cxn ang="0">
                      <a:pos x="39" y="89"/>
                    </a:cxn>
                    <a:cxn ang="0">
                      <a:pos x="0" y="128"/>
                    </a:cxn>
                    <a:cxn ang="0">
                      <a:pos x="13" y="144"/>
                    </a:cxn>
                    <a:cxn ang="0">
                      <a:pos x="6" y="160"/>
                    </a:cxn>
                    <a:cxn ang="0">
                      <a:pos x="79" y="166"/>
                    </a:cxn>
                    <a:cxn ang="0">
                      <a:pos x="83" y="156"/>
                    </a:cxn>
                    <a:cxn ang="0">
                      <a:pos x="112" y="160"/>
                    </a:cxn>
                    <a:cxn ang="0">
                      <a:pos x="150" y="116"/>
                    </a:cxn>
                    <a:cxn ang="0">
                      <a:pos x="106" y="55"/>
                    </a:cxn>
                    <a:cxn ang="0">
                      <a:pos x="112" y="39"/>
                    </a:cxn>
                    <a:cxn ang="0">
                      <a:pos x="89" y="33"/>
                    </a:cxn>
                    <a:cxn ang="0">
                      <a:pos x="96" y="16"/>
                    </a:cxn>
                    <a:cxn ang="0">
                      <a:pos x="73" y="0"/>
                    </a:cxn>
                    <a:cxn ang="0">
                      <a:pos x="73" y="0"/>
                    </a:cxn>
                  </a:cxnLst>
                  <a:rect l="0" t="0" r="r" b="b"/>
                  <a:pathLst>
                    <a:path w="150" h="166">
                      <a:moveTo>
                        <a:pt x="73" y="0"/>
                      </a:moveTo>
                      <a:lnTo>
                        <a:pt x="51" y="4"/>
                      </a:lnTo>
                      <a:lnTo>
                        <a:pt x="51" y="23"/>
                      </a:lnTo>
                      <a:lnTo>
                        <a:pt x="17" y="27"/>
                      </a:lnTo>
                      <a:lnTo>
                        <a:pt x="39" y="71"/>
                      </a:lnTo>
                      <a:lnTo>
                        <a:pt x="39" y="89"/>
                      </a:lnTo>
                      <a:lnTo>
                        <a:pt x="0" y="128"/>
                      </a:lnTo>
                      <a:lnTo>
                        <a:pt x="13" y="144"/>
                      </a:lnTo>
                      <a:lnTo>
                        <a:pt x="6" y="160"/>
                      </a:lnTo>
                      <a:lnTo>
                        <a:pt x="79" y="166"/>
                      </a:lnTo>
                      <a:lnTo>
                        <a:pt x="83" y="156"/>
                      </a:lnTo>
                      <a:lnTo>
                        <a:pt x="112" y="160"/>
                      </a:lnTo>
                      <a:lnTo>
                        <a:pt x="150" y="116"/>
                      </a:lnTo>
                      <a:lnTo>
                        <a:pt x="106" y="55"/>
                      </a:lnTo>
                      <a:lnTo>
                        <a:pt x="112" y="39"/>
                      </a:lnTo>
                      <a:lnTo>
                        <a:pt x="89" y="33"/>
                      </a:lnTo>
                      <a:lnTo>
                        <a:pt x="96" y="16"/>
                      </a:lnTo>
                      <a:lnTo>
                        <a:pt x="73" y="0"/>
                      </a:lnTo>
                      <a:lnTo>
                        <a:pt x="73" y="0"/>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4" name="Freeform 188">
                  <a:extLst>
                    <a:ext uri="{FF2B5EF4-FFF2-40B4-BE49-F238E27FC236}">
                      <a16:creationId xmlns:a16="http://schemas.microsoft.com/office/drawing/2014/main" id="{B12BF6C0-9293-432B-9D85-5DBAA0F58C3D}"/>
                    </a:ext>
                  </a:extLst>
                </p:cNvPr>
                <p:cNvSpPr>
                  <a:spLocks/>
                </p:cNvSpPr>
                <p:nvPr/>
              </p:nvSpPr>
              <p:spPr bwMode="auto">
                <a:xfrm>
                  <a:off x="4450115" y="1276883"/>
                  <a:ext cx="221610" cy="352233"/>
                </a:xfrm>
                <a:custGeom>
                  <a:avLst/>
                  <a:gdLst/>
                  <a:ahLst/>
                  <a:cxnLst>
                    <a:cxn ang="0">
                      <a:pos x="121" y="73"/>
                    </a:cxn>
                    <a:cxn ang="0">
                      <a:pos x="127" y="55"/>
                    </a:cxn>
                    <a:cxn ang="0">
                      <a:pos x="160" y="55"/>
                    </a:cxn>
                    <a:cxn ang="0">
                      <a:pos x="138" y="11"/>
                    </a:cxn>
                    <a:cxn ang="0">
                      <a:pos x="117" y="0"/>
                    </a:cxn>
                    <a:cxn ang="0">
                      <a:pos x="73" y="11"/>
                    </a:cxn>
                    <a:cxn ang="0">
                      <a:pos x="38" y="61"/>
                    </a:cxn>
                    <a:cxn ang="0">
                      <a:pos x="34" y="83"/>
                    </a:cxn>
                    <a:cxn ang="0">
                      <a:pos x="16" y="90"/>
                    </a:cxn>
                    <a:cxn ang="0">
                      <a:pos x="6" y="118"/>
                    </a:cxn>
                    <a:cxn ang="0">
                      <a:pos x="16" y="134"/>
                    </a:cxn>
                    <a:cxn ang="0">
                      <a:pos x="12" y="156"/>
                    </a:cxn>
                    <a:cxn ang="0">
                      <a:pos x="0" y="173"/>
                    </a:cxn>
                    <a:cxn ang="0">
                      <a:pos x="6" y="185"/>
                    </a:cxn>
                    <a:cxn ang="0">
                      <a:pos x="22" y="233"/>
                    </a:cxn>
                    <a:cxn ang="0">
                      <a:pos x="44" y="239"/>
                    </a:cxn>
                    <a:cxn ang="0">
                      <a:pos x="44" y="227"/>
                    </a:cxn>
                    <a:cxn ang="0">
                      <a:pos x="67" y="223"/>
                    </a:cxn>
                    <a:cxn ang="0">
                      <a:pos x="79" y="195"/>
                    </a:cxn>
                    <a:cxn ang="0">
                      <a:pos x="79" y="173"/>
                    </a:cxn>
                    <a:cxn ang="0">
                      <a:pos x="95" y="166"/>
                    </a:cxn>
                    <a:cxn ang="0">
                      <a:pos x="95" y="150"/>
                    </a:cxn>
                    <a:cxn ang="0">
                      <a:pos x="73" y="144"/>
                    </a:cxn>
                    <a:cxn ang="0">
                      <a:pos x="67" y="118"/>
                    </a:cxn>
                    <a:cxn ang="0">
                      <a:pos x="121" y="73"/>
                    </a:cxn>
                    <a:cxn ang="0">
                      <a:pos x="121" y="73"/>
                    </a:cxn>
                  </a:cxnLst>
                  <a:rect l="0" t="0" r="r" b="b"/>
                  <a:pathLst>
                    <a:path w="160" h="239">
                      <a:moveTo>
                        <a:pt x="121" y="73"/>
                      </a:moveTo>
                      <a:lnTo>
                        <a:pt x="127" y="55"/>
                      </a:lnTo>
                      <a:lnTo>
                        <a:pt x="160" y="55"/>
                      </a:lnTo>
                      <a:lnTo>
                        <a:pt x="138" y="11"/>
                      </a:lnTo>
                      <a:lnTo>
                        <a:pt x="117" y="0"/>
                      </a:lnTo>
                      <a:lnTo>
                        <a:pt x="73" y="11"/>
                      </a:lnTo>
                      <a:lnTo>
                        <a:pt x="38" y="61"/>
                      </a:lnTo>
                      <a:lnTo>
                        <a:pt x="34" y="83"/>
                      </a:lnTo>
                      <a:lnTo>
                        <a:pt x="16" y="90"/>
                      </a:lnTo>
                      <a:lnTo>
                        <a:pt x="6" y="118"/>
                      </a:lnTo>
                      <a:lnTo>
                        <a:pt x="16" y="134"/>
                      </a:lnTo>
                      <a:lnTo>
                        <a:pt x="12" y="156"/>
                      </a:lnTo>
                      <a:lnTo>
                        <a:pt x="0" y="173"/>
                      </a:lnTo>
                      <a:lnTo>
                        <a:pt x="6" y="185"/>
                      </a:lnTo>
                      <a:lnTo>
                        <a:pt x="22" y="233"/>
                      </a:lnTo>
                      <a:lnTo>
                        <a:pt x="44" y="239"/>
                      </a:lnTo>
                      <a:lnTo>
                        <a:pt x="44" y="227"/>
                      </a:lnTo>
                      <a:lnTo>
                        <a:pt x="67" y="223"/>
                      </a:lnTo>
                      <a:lnTo>
                        <a:pt x="79" y="195"/>
                      </a:lnTo>
                      <a:lnTo>
                        <a:pt x="79" y="173"/>
                      </a:lnTo>
                      <a:lnTo>
                        <a:pt x="95" y="166"/>
                      </a:lnTo>
                      <a:lnTo>
                        <a:pt x="95" y="150"/>
                      </a:lnTo>
                      <a:lnTo>
                        <a:pt x="73" y="144"/>
                      </a:lnTo>
                      <a:lnTo>
                        <a:pt x="67" y="118"/>
                      </a:lnTo>
                      <a:lnTo>
                        <a:pt x="121" y="73"/>
                      </a:lnTo>
                      <a:lnTo>
                        <a:pt x="121" y="73"/>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5" name="Freeform 189">
                  <a:extLst>
                    <a:ext uri="{FF2B5EF4-FFF2-40B4-BE49-F238E27FC236}">
                      <a16:creationId xmlns:a16="http://schemas.microsoft.com/office/drawing/2014/main" id="{92E9AC99-776A-4FCC-B776-2ACABD54AAE1}"/>
                    </a:ext>
                  </a:extLst>
                </p:cNvPr>
                <p:cNvSpPr>
                  <a:spLocks/>
                </p:cNvSpPr>
                <p:nvPr/>
              </p:nvSpPr>
              <p:spPr bwMode="auto">
                <a:xfrm>
                  <a:off x="4573386" y="1549532"/>
                  <a:ext cx="22161" cy="32424"/>
                </a:xfrm>
                <a:custGeom>
                  <a:avLst/>
                  <a:gdLst/>
                  <a:ahLst/>
                  <a:cxnLst>
                    <a:cxn ang="0">
                      <a:pos x="16" y="4"/>
                    </a:cxn>
                    <a:cxn ang="0">
                      <a:pos x="10" y="0"/>
                    </a:cxn>
                    <a:cxn ang="0">
                      <a:pos x="0" y="16"/>
                    </a:cxn>
                    <a:cxn ang="0">
                      <a:pos x="10" y="22"/>
                    </a:cxn>
                    <a:cxn ang="0">
                      <a:pos x="16" y="4"/>
                    </a:cxn>
                    <a:cxn ang="0">
                      <a:pos x="16" y="4"/>
                    </a:cxn>
                  </a:cxnLst>
                  <a:rect l="0" t="0" r="r" b="b"/>
                  <a:pathLst>
                    <a:path w="16" h="22">
                      <a:moveTo>
                        <a:pt x="16" y="4"/>
                      </a:moveTo>
                      <a:lnTo>
                        <a:pt x="10" y="0"/>
                      </a:lnTo>
                      <a:lnTo>
                        <a:pt x="0" y="16"/>
                      </a:lnTo>
                      <a:lnTo>
                        <a:pt x="10" y="22"/>
                      </a:lnTo>
                      <a:lnTo>
                        <a:pt x="16" y="4"/>
                      </a:lnTo>
                      <a:lnTo>
                        <a:pt x="16" y="4"/>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6" name="Freeform 190">
                  <a:extLst>
                    <a:ext uri="{FF2B5EF4-FFF2-40B4-BE49-F238E27FC236}">
                      <a16:creationId xmlns:a16="http://schemas.microsoft.com/office/drawing/2014/main" id="{F02DFFC0-16C0-49F1-8FEE-6D436473C1DF}"/>
                    </a:ext>
                  </a:extLst>
                </p:cNvPr>
                <p:cNvSpPr>
                  <a:spLocks/>
                </p:cNvSpPr>
                <p:nvPr/>
              </p:nvSpPr>
              <p:spPr bwMode="auto">
                <a:xfrm>
                  <a:off x="4671726" y="1512688"/>
                  <a:ext cx="114961" cy="51582"/>
                </a:xfrm>
                <a:custGeom>
                  <a:avLst/>
                  <a:gdLst/>
                  <a:ahLst/>
                  <a:cxnLst>
                    <a:cxn ang="0">
                      <a:pos x="83" y="6"/>
                    </a:cxn>
                    <a:cxn ang="0">
                      <a:pos x="57" y="0"/>
                    </a:cxn>
                    <a:cxn ang="0">
                      <a:pos x="12" y="0"/>
                    </a:cxn>
                    <a:cxn ang="0">
                      <a:pos x="0" y="19"/>
                    </a:cxn>
                    <a:cxn ang="0">
                      <a:pos x="28" y="29"/>
                    </a:cxn>
                    <a:cxn ang="0">
                      <a:pos x="83" y="35"/>
                    </a:cxn>
                    <a:cxn ang="0">
                      <a:pos x="83" y="6"/>
                    </a:cxn>
                    <a:cxn ang="0">
                      <a:pos x="83" y="6"/>
                    </a:cxn>
                  </a:cxnLst>
                  <a:rect l="0" t="0" r="r" b="b"/>
                  <a:pathLst>
                    <a:path w="83" h="35">
                      <a:moveTo>
                        <a:pt x="83" y="6"/>
                      </a:moveTo>
                      <a:lnTo>
                        <a:pt x="57" y="0"/>
                      </a:lnTo>
                      <a:lnTo>
                        <a:pt x="12" y="0"/>
                      </a:lnTo>
                      <a:lnTo>
                        <a:pt x="0" y="19"/>
                      </a:lnTo>
                      <a:lnTo>
                        <a:pt x="28" y="29"/>
                      </a:lnTo>
                      <a:lnTo>
                        <a:pt x="83" y="35"/>
                      </a:lnTo>
                      <a:lnTo>
                        <a:pt x="83" y="6"/>
                      </a:lnTo>
                      <a:lnTo>
                        <a:pt x="83"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7" name="Freeform 191">
                  <a:extLst>
                    <a:ext uri="{FF2B5EF4-FFF2-40B4-BE49-F238E27FC236}">
                      <a16:creationId xmlns:a16="http://schemas.microsoft.com/office/drawing/2014/main" id="{4BDBC207-B908-495B-905E-4777FB9EB29B}"/>
                    </a:ext>
                  </a:extLst>
                </p:cNvPr>
                <p:cNvSpPr>
                  <a:spLocks/>
                </p:cNvSpPr>
                <p:nvPr/>
              </p:nvSpPr>
              <p:spPr bwMode="auto">
                <a:xfrm>
                  <a:off x="4649564" y="1555428"/>
                  <a:ext cx="153742" cy="56004"/>
                </a:xfrm>
                <a:custGeom>
                  <a:avLst/>
                  <a:gdLst/>
                  <a:ahLst/>
                  <a:cxnLst>
                    <a:cxn ang="0">
                      <a:pos x="0" y="18"/>
                    </a:cxn>
                    <a:cxn ang="0">
                      <a:pos x="0" y="34"/>
                    </a:cxn>
                    <a:cxn ang="0">
                      <a:pos x="38" y="28"/>
                    </a:cxn>
                    <a:cxn ang="0">
                      <a:pos x="95" y="38"/>
                    </a:cxn>
                    <a:cxn ang="0">
                      <a:pos x="111" y="28"/>
                    </a:cxn>
                    <a:cxn ang="0">
                      <a:pos x="99" y="6"/>
                    </a:cxn>
                    <a:cxn ang="0">
                      <a:pos x="44" y="0"/>
                    </a:cxn>
                    <a:cxn ang="0">
                      <a:pos x="34" y="18"/>
                    </a:cxn>
                    <a:cxn ang="0">
                      <a:pos x="12" y="0"/>
                    </a:cxn>
                    <a:cxn ang="0">
                      <a:pos x="0" y="18"/>
                    </a:cxn>
                    <a:cxn ang="0">
                      <a:pos x="0" y="18"/>
                    </a:cxn>
                  </a:cxnLst>
                  <a:rect l="0" t="0" r="r" b="b"/>
                  <a:pathLst>
                    <a:path w="111" h="38">
                      <a:moveTo>
                        <a:pt x="0" y="18"/>
                      </a:moveTo>
                      <a:lnTo>
                        <a:pt x="0" y="34"/>
                      </a:lnTo>
                      <a:lnTo>
                        <a:pt x="38" y="28"/>
                      </a:lnTo>
                      <a:lnTo>
                        <a:pt x="95" y="38"/>
                      </a:lnTo>
                      <a:lnTo>
                        <a:pt x="111" y="28"/>
                      </a:lnTo>
                      <a:lnTo>
                        <a:pt x="99" y="6"/>
                      </a:lnTo>
                      <a:lnTo>
                        <a:pt x="44" y="0"/>
                      </a:lnTo>
                      <a:lnTo>
                        <a:pt x="34" y="18"/>
                      </a:lnTo>
                      <a:lnTo>
                        <a:pt x="12" y="0"/>
                      </a:lnTo>
                      <a:lnTo>
                        <a:pt x="0" y="18"/>
                      </a:lnTo>
                      <a:lnTo>
                        <a:pt x="0" y="18"/>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8" name="Freeform 192">
                  <a:extLst>
                    <a:ext uri="{FF2B5EF4-FFF2-40B4-BE49-F238E27FC236}">
                      <a16:creationId xmlns:a16="http://schemas.microsoft.com/office/drawing/2014/main" id="{BCB16C75-50E8-4CB6-A0A6-F2D62C3C3532}"/>
                    </a:ext>
                  </a:extLst>
                </p:cNvPr>
                <p:cNvSpPr>
                  <a:spLocks/>
                </p:cNvSpPr>
                <p:nvPr/>
              </p:nvSpPr>
              <p:spPr bwMode="auto">
                <a:xfrm>
                  <a:off x="4649564" y="1596693"/>
                  <a:ext cx="131581" cy="66321"/>
                </a:xfrm>
                <a:custGeom>
                  <a:avLst/>
                  <a:gdLst/>
                  <a:ahLst/>
                  <a:cxnLst>
                    <a:cxn ang="0">
                      <a:pos x="0" y="6"/>
                    </a:cxn>
                    <a:cxn ang="0">
                      <a:pos x="0" y="16"/>
                    </a:cxn>
                    <a:cxn ang="0">
                      <a:pos x="22" y="22"/>
                    </a:cxn>
                    <a:cxn ang="0">
                      <a:pos x="16" y="39"/>
                    </a:cxn>
                    <a:cxn ang="0">
                      <a:pos x="50" y="45"/>
                    </a:cxn>
                    <a:cxn ang="0">
                      <a:pos x="73" y="39"/>
                    </a:cxn>
                    <a:cxn ang="0">
                      <a:pos x="95" y="10"/>
                    </a:cxn>
                    <a:cxn ang="0">
                      <a:pos x="38" y="0"/>
                    </a:cxn>
                    <a:cxn ang="0">
                      <a:pos x="0" y="6"/>
                    </a:cxn>
                    <a:cxn ang="0">
                      <a:pos x="0" y="6"/>
                    </a:cxn>
                  </a:cxnLst>
                  <a:rect l="0" t="0" r="r" b="b"/>
                  <a:pathLst>
                    <a:path w="95" h="45">
                      <a:moveTo>
                        <a:pt x="0" y="6"/>
                      </a:moveTo>
                      <a:lnTo>
                        <a:pt x="0" y="16"/>
                      </a:lnTo>
                      <a:lnTo>
                        <a:pt x="22" y="22"/>
                      </a:lnTo>
                      <a:lnTo>
                        <a:pt x="16" y="39"/>
                      </a:lnTo>
                      <a:lnTo>
                        <a:pt x="50" y="45"/>
                      </a:lnTo>
                      <a:lnTo>
                        <a:pt x="73" y="39"/>
                      </a:lnTo>
                      <a:lnTo>
                        <a:pt x="95" y="10"/>
                      </a:lnTo>
                      <a:lnTo>
                        <a:pt x="38" y="0"/>
                      </a:lnTo>
                      <a:lnTo>
                        <a:pt x="0" y="6"/>
                      </a:lnTo>
                      <a:lnTo>
                        <a:pt x="0" y="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59" name="Freeform 193">
                  <a:extLst>
                    <a:ext uri="{FF2B5EF4-FFF2-40B4-BE49-F238E27FC236}">
                      <a16:creationId xmlns:a16="http://schemas.microsoft.com/office/drawing/2014/main" id="{E5F64042-80D8-4EBD-A0D1-3F3251A60482}"/>
                    </a:ext>
                  </a:extLst>
                </p:cNvPr>
                <p:cNvSpPr>
                  <a:spLocks/>
                </p:cNvSpPr>
                <p:nvPr/>
              </p:nvSpPr>
              <p:spPr bwMode="auto">
                <a:xfrm>
                  <a:off x="4710507" y="1596693"/>
                  <a:ext cx="199449" cy="140009"/>
                </a:xfrm>
                <a:custGeom>
                  <a:avLst/>
                  <a:gdLst/>
                  <a:ahLst/>
                  <a:cxnLst>
                    <a:cxn ang="0">
                      <a:pos x="95" y="22"/>
                    </a:cxn>
                    <a:cxn ang="0">
                      <a:pos x="89" y="10"/>
                    </a:cxn>
                    <a:cxn ang="0">
                      <a:pos x="67" y="0"/>
                    </a:cxn>
                    <a:cxn ang="0">
                      <a:pos x="51" y="10"/>
                    </a:cxn>
                    <a:cxn ang="0">
                      <a:pos x="29" y="39"/>
                    </a:cxn>
                    <a:cxn ang="0">
                      <a:pos x="6" y="45"/>
                    </a:cxn>
                    <a:cxn ang="0">
                      <a:pos x="12" y="57"/>
                    </a:cxn>
                    <a:cxn ang="0">
                      <a:pos x="0" y="77"/>
                    </a:cxn>
                    <a:cxn ang="0">
                      <a:pos x="12" y="89"/>
                    </a:cxn>
                    <a:cxn ang="0">
                      <a:pos x="55" y="83"/>
                    </a:cxn>
                    <a:cxn ang="0">
                      <a:pos x="73" y="95"/>
                    </a:cxn>
                    <a:cxn ang="0">
                      <a:pos x="89" y="89"/>
                    </a:cxn>
                    <a:cxn ang="0">
                      <a:pos x="122" y="95"/>
                    </a:cxn>
                    <a:cxn ang="0">
                      <a:pos x="122" y="83"/>
                    </a:cxn>
                    <a:cxn ang="0">
                      <a:pos x="134" y="77"/>
                    </a:cxn>
                    <a:cxn ang="0">
                      <a:pos x="138" y="61"/>
                    </a:cxn>
                    <a:cxn ang="0">
                      <a:pos x="144" y="57"/>
                    </a:cxn>
                    <a:cxn ang="0">
                      <a:pos x="122" y="39"/>
                    </a:cxn>
                    <a:cxn ang="0">
                      <a:pos x="122" y="16"/>
                    </a:cxn>
                    <a:cxn ang="0">
                      <a:pos x="105" y="10"/>
                    </a:cxn>
                    <a:cxn ang="0">
                      <a:pos x="95" y="22"/>
                    </a:cxn>
                    <a:cxn ang="0">
                      <a:pos x="95" y="22"/>
                    </a:cxn>
                  </a:cxnLst>
                  <a:rect l="0" t="0" r="r" b="b"/>
                  <a:pathLst>
                    <a:path w="144" h="95">
                      <a:moveTo>
                        <a:pt x="95" y="22"/>
                      </a:moveTo>
                      <a:lnTo>
                        <a:pt x="89" y="10"/>
                      </a:lnTo>
                      <a:lnTo>
                        <a:pt x="67" y="0"/>
                      </a:lnTo>
                      <a:lnTo>
                        <a:pt x="51" y="10"/>
                      </a:lnTo>
                      <a:lnTo>
                        <a:pt x="29" y="39"/>
                      </a:lnTo>
                      <a:lnTo>
                        <a:pt x="6" y="45"/>
                      </a:lnTo>
                      <a:lnTo>
                        <a:pt x="12" y="57"/>
                      </a:lnTo>
                      <a:lnTo>
                        <a:pt x="0" y="77"/>
                      </a:lnTo>
                      <a:lnTo>
                        <a:pt x="12" y="89"/>
                      </a:lnTo>
                      <a:lnTo>
                        <a:pt x="55" y="83"/>
                      </a:lnTo>
                      <a:lnTo>
                        <a:pt x="73" y="95"/>
                      </a:lnTo>
                      <a:lnTo>
                        <a:pt x="89" y="89"/>
                      </a:lnTo>
                      <a:lnTo>
                        <a:pt x="122" y="95"/>
                      </a:lnTo>
                      <a:lnTo>
                        <a:pt x="122" y="83"/>
                      </a:lnTo>
                      <a:lnTo>
                        <a:pt x="134" y="77"/>
                      </a:lnTo>
                      <a:lnTo>
                        <a:pt x="138" y="61"/>
                      </a:lnTo>
                      <a:lnTo>
                        <a:pt x="144" y="57"/>
                      </a:lnTo>
                      <a:lnTo>
                        <a:pt x="122" y="39"/>
                      </a:lnTo>
                      <a:lnTo>
                        <a:pt x="122" y="16"/>
                      </a:lnTo>
                      <a:lnTo>
                        <a:pt x="105" y="10"/>
                      </a:lnTo>
                      <a:lnTo>
                        <a:pt x="95" y="22"/>
                      </a:lnTo>
                      <a:lnTo>
                        <a:pt x="95" y="22"/>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0" name="Freeform 194">
                  <a:extLst>
                    <a:ext uri="{FF2B5EF4-FFF2-40B4-BE49-F238E27FC236}">
                      <a16:creationId xmlns:a16="http://schemas.microsoft.com/office/drawing/2014/main" id="{778F7AE7-25B8-47A3-9277-E66138107AC8}"/>
                    </a:ext>
                  </a:extLst>
                </p:cNvPr>
                <p:cNvSpPr>
                  <a:spLocks/>
                </p:cNvSpPr>
                <p:nvPr/>
              </p:nvSpPr>
              <p:spPr bwMode="auto">
                <a:xfrm>
                  <a:off x="4710507" y="1704280"/>
                  <a:ext cx="375352" cy="221067"/>
                </a:xfrm>
                <a:custGeom>
                  <a:avLst/>
                  <a:gdLst/>
                  <a:ahLst/>
                  <a:cxnLst>
                    <a:cxn ang="0">
                      <a:pos x="12" y="16"/>
                    </a:cxn>
                    <a:cxn ang="0">
                      <a:pos x="22" y="32"/>
                    </a:cxn>
                    <a:cxn ang="0">
                      <a:pos x="6" y="55"/>
                    </a:cxn>
                    <a:cxn ang="0">
                      <a:pos x="0" y="71"/>
                    </a:cxn>
                    <a:cxn ang="0">
                      <a:pos x="12" y="83"/>
                    </a:cxn>
                    <a:cxn ang="0">
                      <a:pos x="51" y="89"/>
                    </a:cxn>
                    <a:cxn ang="0">
                      <a:pos x="67" y="77"/>
                    </a:cxn>
                    <a:cxn ang="0">
                      <a:pos x="83" y="71"/>
                    </a:cxn>
                    <a:cxn ang="0">
                      <a:pos x="105" y="83"/>
                    </a:cxn>
                    <a:cxn ang="0">
                      <a:pos x="118" y="105"/>
                    </a:cxn>
                    <a:cxn ang="0">
                      <a:pos x="99" y="127"/>
                    </a:cxn>
                    <a:cxn ang="0">
                      <a:pos x="118" y="134"/>
                    </a:cxn>
                    <a:cxn ang="0">
                      <a:pos x="134" y="105"/>
                    </a:cxn>
                    <a:cxn ang="0">
                      <a:pos x="166" y="127"/>
                    </a:cxn>
                    <a:cxn ang="0">
                      <a:pos x="178" y="150"/>
                    </a:cxn>
                    <a:cxn ang="0">
                      <a:pos x="188" y="150"/>
                    </a:cxn>
                    <a:cxn ang="0">
                      <a:pos x="211" y="134"/>
                    </a:cxn>
                    <a:cxn ang="0">
                      <a:pos x="201" y="121"/>
                    </a:cxn>
                    <a:cxn ang="0">
                      <a:pos x="178" y="121"/>
                    </a:cxn>
                    <a:cxn ang="0">
                      <a:pos x="178" y="117"/>
                    </a:cxn>
                    <a:cxn ang="0">
                      <a:pos x="239" y="99"/>
                    </a:cxn>
                    <a:cxn ang="0">
                      <a:pos x="249" y="89"/>
                    </a:cxn>
                    <a:cxn ang="0">
                      <a:pos x="271" y="83"/>
                    </a:cxn>
                    <a:cxn ang="0">
                      <a:pos x="271" y="55"/>
                    </a:cxn>
                    <a:cxn ang="0">
                      <a:pos x="227" y="38"/>
                    </a:cxn>
                    <a:cxn ang="0">
                      <a:pos x="217" y="44"/>
                    </a:cxn>
                    <a:cxn ang="0">
                      <a:pos x="205" y="38"/>
                    </a:cxn>
                    <a:cxn ang="0">
                      <a:pos x="195" y="38"/>
                    </a:cxn>
                    <a:cxn ang="0">
                      <a:pos x="188" y="22"/>
                    </a:cxn>
                    <a:cxn ang="0">
                      <a:pos x="178" y="22"/>
                    </a:cxn>
                    <a:cxn ang="0">
                      <a:pos x="178" y="10"/>
                    </a:cxn>
                    <a:cxn ang="0">
                      <a:pos x="166" y="0"/>
                    </a:cxn>
                    <a:cxn ang="0">
                      <a:pos x="134" y="4"/>
                    </a:cxn>
                    <a:cxn ang="0">
                      <a:pos x="122" y="10"/>
                    </a:cxn>
                    <a:cxn ang="0">
                      <a:pos x="122" y="22"/>
                    </a:cxn>
                    <a:cxn ang="0">
                      <a:pos x="89" y="16"/>
                    </a:cxn>
                    <a:cxn ang="0">
                      <a:pos x="73" y="22"/>
                    </a:cxn>
                    <a:cxn ang="0">
                      <a:pos x="55" y="10"/>
                    </a:cxn>
                    <a:cxn ang="0">
                      <a:pos x="12" y="16"/>
                    </a:cxn>
                    <a:cxn ang="0">
                      <a:pos x="12" y="16"/>
                    </a:cxn>
                  </a:cxnLst>
                  <a:rect l="0" t="0" r="r" b="b"/>
                  <a:pathLst>
                    <a:path w="271" h="150">
                      <a:moveTo>
                        <a:pt x="12" y="16"/>
                      </a:moveTo>
                      <a:lnTo>
                        <a:pt x="22" y="32"/>
                      </a:lnTo>
                      <a:lnTo>
                        <a:pt x="6" y="55"/>
                      </a:lnTo>
                      <a:lnTo>
                        <a:pt x="0" y="71"/>
                      </a:lnTo>
                      <a:lnTo>
                        <a:pt x="12" y="83"/>
                      </a:lnTo>
                      <a:lnTo>
                        <a:pt x="51" y="89"/>
                      </a:lnTo>
                      <a:lnTo>
                        <a:pt x="67" y="77"/>
                      </a:lnTo>
                      <a:lnTo>
                        <a:pt x="83" y="71"/>
                      </a:lnTo>
                      <a:lnTo>
                        <a:pt x="105" y="83"/>
                      </a:lnTo>
                      <a:lnTo>
                        <a:pt x="118" y="105"/>
                      </a:lnTo>
                      <a:lnTo>
                        <a:pt x="99" y="127"/>
                      </a:lnTo>
                      <a:lnTo>
                        <a:pt x="118" y="134"/>
                      </a:lnTo>
                      <a:lnTo>
                        <a:pt x="134" y="105"/>
                      </a:lnTo>
                      <a:lnTo>
                        <a:pt x="166" y="127"/>
                      </a:lnTo>
                      <a:lnTo>
                        <a:pt x="178" y="150"/>
                      </a:lnTo>
                      <a:lnTo>
                        <a:pt x="188" y="150"/>
                      </a:lnTo>
                      <a:lnTo>
                        <a:pt x="211" y="134"/>
                      </a:lnTo>
                      <a:lnTo>
                        <a:pt x="201" y="121"/>
                      </a:lnTo>
                      <a:lnTo>
                        <a:pt x="178" y="121"/>
                      </a:lnTo>
                      <a:lnTo>
                        <a:pt x="178" y="117"/>
                      </a:lnTo>
                      <a:lnTo>
                        <a:pt x="239" y="99"/>
                      </a:lnTo>
                      <a:lnTo>
                        <a:pt x="249" y="89"/>
                      </a:lnTo>
                      <a:lnTo>
                        <a:pt x="271" y="83"/>
                      </a:lnTo>
                      <a:lnTo>
                        <a:pt x="271" y="55"/>
                      </a:lnTo>
                      <a:lnTo>
                        <a:pt x="227" y="38"/>
                      </a:lnTo>
                      <a:lnTo>
                        <a:pt x="217" y="44"/>
                      </a:lnTo>
                      <a:lnTo>
                        <a:pt x="205" y="38"/>
                      </a:lnTo>
                      <a:lnTo>
                        <a:pt x="195" y="38"/>
                      </a:lnTo>
                      <a:lnTo>
                        <a:pt x="188" y="22"/>
                      </a:lnTo>
                      <a:lnTo>
                        <a:pt x="178" y="22"/>
                      </a:lnTo>
                      <a:lnTo>
                        <a:pt x="178" y="10"/>
                      </a:lnTo>
                      <a:lnTo>
                        <a:pt x="166" y="0"/>
                      </a:lnTo>
                      <a:lnTo>
                        <a:pt x="134" y="4"/>
                      </a:lnTo>
                      <a:lnTo>
                        <a:pt x="122" y="10"/>
                      </a:lnTo>
                      <a:lnTo>
                        <a:pt x="122" y="22"/>
                      </a:lnTo>
                      <a:lnTo>
                        <a:pt x="89" y="16"/>
                      </a:lnTo>
                      <a:lnTo>
                        <a:pt x="73" y="22"/>
                      </a:lnTo>
                      <a:lnTo>
                        <a:pt x="55" y="10"/>
                      </a:lnTo>
                      <a:lnTo>
                        <a:pt x="12" y="16"/>
                      </a:lnTo>
                      <a:lnTo>
                        <a:pt x="12" y="16"/>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1" name="Freeform 197">
                  <a:extLst>
                    <a:ext uri="{FF2B5EF4-FFF2-40B4-BE49-F238E27FC236}">
                      <a16:creationId xmlns:a16="http://schemas.microsoft.com/office/drawing/2014/main" id="{FDA1D4A9-1010-4FA3-AD8E-F0579BF9767F}"/>
                    </a:ext>
                  </a:extLst>
                </p:cNvPr>
                <p:cNvSpPr>
                  <a:spLocks/>
                </p:cNvSpPr>
                <p:nvPr/>
              </p:nvSpPr>
              <p:spPr bwMode="auto">
                <a:xfrm>
                  <a:off x="4380862" y="1564271"/>
                  <a:ext cx="49862" cy="81058"/>
                </a:xfrm>
                <a:custGeom>
                  <a:avLst/>
                  <a:gdLst/>
                  <a:ahLst/>
                  <a:cxnLst>
                    <a:cxn ang="0">
                      <a:pos x="36" y="55"/>
                    </a:cxn>
                    <a:cxn ang="0">
                      <a:pos x="36" y="22"/>
                    </a:cxn>
                    <a:cxn ang="0">
                      <a:pos x="22" y="0"/>
                    </a:cxn>
                    <a:cxn ang="0">
                      <a:pos x="0" y="24"/>
                    </a:cxn>
                    <a:cxn ang="0">
                      <a:pos x="16" y="40"/>
                    </a:cxn>
                    <a:cxn ang="0">
                      <a:pos x="36" y="55"/>
                    </a:cxn>
                    <a:cxn ang="0">
                      <a:pos x="36" y="55"/>
                    </a:cxn>
                  </a:cxnLst>
                  <a:rect l="0" t="0" r="r" b="b"/>
                  <a:pathLst>
                    <a:path w="36" h="55">
                      <a:moveTo>
                        <a:pt x="36" y="55"/>
                      </a:moveTo>
                      <a:lnTo>
                        <a:pt x="36" y="22"/>
                      </a:lnTo>
                      <a:lnTo>
                        <a:pt x="22" y="0"/>
                      </a:lnTo>
                      <a:lnTo>
                        <a:pt x="0" y="24"/>
                      </a:lnTo>
                      <a:lnTo>
                        <a:pt x="16" y="40"/>
                      </a:lnTo>
                      <a:lnTo>
                        <a:pt x="36" y="55"/>
                      </a:lnTo>
                      <a:lnTo>
                        <a:pt x="36" y="55"/>
                      </a:lnTo>
                      <a:close/>
                    </a:path>
                  </a:pathLst>
                </a:custGeom>
                <a:grpFill/>
                <a:ln w="3175" cap="flat" cmpd="sng">
                  <a:solidFill>
                    <a:srgbClr val="98A2AE">
                      <a:lumMod val="40000"/>
                      <a:lumOff val="60000"/>
                      <a:alpha val="29000"/>
                    </a:srgbClr>
                  </a:solidFill>
                  <a:prstDash val="solid"/>
                  <a:miter lim="800000"/>
                  <a:headEnd type="none" w="med" len="med"/>
                  <a:tailEnd type="none" w="med" len="med"/>
                </a:ln>
                <a:effectLst/>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879" b="0" i="0" u="none" strike="noStrike" kern="0" cap="none" spc="0" normalizeH="0" baseline="0" noProof="0">
                    <a:ln>
                      <a:noFill/>
                    </a:ln>
                    <a:solidFill>
                      <a:sysClr val="windowText" lastClr="000000"/>
                    </a:solidFill>
                    <a:effectLst/>
                    <a:uLnTx/>
                    <a:uFillTx/>
                    <a:ea typeface="ＭＳ Ｐゴシック"/>
                  </a:endParaRPr>
                </a:p>
              </p:txBody>
            </p:sp>
            <p:sp>
              <p:nvSpPr>
                <p:cNvPr id="462" name="Freeform 200">
                  <a:extLst>
                    <a:ext uri="{FF2B5EF4-FFF2-40B4-BE49-F238E27FC236}">
                      <a16:creationId xmlns:a16="http://schemas.microsoft.com/office/drawing/2014/main" id="{2BB77688-7F6B-4473-8E55-76AE87D30CE5}"/>
                    </a:ext>
                  </a:extLst>
                </p:cNvPr>
                <p:cNvSpPr>
                  <a:spLocks/>
                </p:cNvSpPr>
                <p:nvPr/>
              </p:nvSpPr>
              <p:spPr bwMode="auto">
                <a:xfrm>
                  <a:off x="4509673" y="1623222"/>
                  <a:ext cx="229920" cy="156220"/>
                </a:xfrm>
                <a:custGeom>
                  <a:avLst/>
                  <a:gdLst>
                    <a:gd name="T0" fmla="*/ 89 w 166"/>
                    <a:gd name="T1" fmla="*/ 12 h 106"/>
                    <a:gd name="T2" fmla="*/ 67 w 166"/>
                    <a:gd name="T3" fmla="*/ 17 h 106"/>
                    <a:gd name="T4" fmla="*/ 55 w 166"/>
                    <a:gd name="T5" fmla="*/ 0 h 106"/>
                    <a:gd name="T6" fmla="*/ 0 w 166"/>
                    <a:gd name="T7" fmla="*/ 17 h 106"/>
                    <a:gd name="T8" fmla="*/ 28 w 166"/>
                    <a:gd name="T9" fmla="*/ 67 h 106"/>
                    <a:gd name="T10" fmla="*/ 93 w 166"/>
                    <a:gd name="T11" fmla="*/ 106 h 106"/>
                    <a:gd name="T12" fmla="*/ 150 w 166"/>
                    <a:gd name="T13" fmla="*/ 106 h 106"/>
                    <a:gd name="T14" fmla="*/ 166 w 166"/>
                    <a:gd name="T15" fmla="*/ 84 h 106"/>
                    <a:gd name="T16" fmla="*/ 156 w 166"/>
                    <a:gd name="T17" fmla="*/ 67 h 106"/>
                    <a:gd name="T18" fmla="*/ 144 w 166"/>
                    <a:gd name="T19" fmla="*/ 55 h 106"/>
                    <a:gd name="T20" fmla="*/ 156 w 166"/>
                    <a:gd name="T21" fmla="*/ 35 h 106"/>
                    <a:gd name="T22" fmla="*/ 150 w 166"/>
                    <a:gd name="T23" fmla="*/ 23 h 106"/>
                    <a:gd name="T24" fmla="*/ 89 w 166"/>
                    <a:gd name="T25" fmla="*/ 12 h 106"/>
                    <a:gd name="T26" fmla="*/ 89 w 166"/>
                    <a:gd name="T27" fmla="*/ 12 h 1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06"/>
                    <a:gd name="T44" fmla="*/ 166 w 166"/>
                    <a:gd name="T45" fmla="*/ 106 h 1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06">
                      <a:moveTo>
                        <a:pt x="89" y="12"/>
                      </a:moveTo>
                      <a:lnTo>
                        <a:pt x="67" y="17"/>
                      </a:lnTo>
                      <a:lnTo>
                        <a:pt x="55" y="0"/>
                      </a:lnTo>
                      <a:lnTo>
                        <a:pt x="0" y="17"/>
                      </a:lnTo>
                      <a:lnTo>
                        <a:pt x="28" y="67"/>
                      </a:lnTo>
                      <a:lnTo>
                        <a:pt x="93" y="106"/>
                      </a:lnTo>
                      <a:lnTo>
                        <a:pt x="150" y="106"/>
                      </a:lnTo>
                      <a:lnTo>
                        <a:pt x="166" y="84"/>
                      </a:lnTo>
                      <a:lnTo>
                        <a:pt x="156" y="67"/>
                      </a:lnTo>
                      <a:lnTo>
                        <a:pt x="144" y="55"/>
                      </a:lnTo>
                      <a:lnTo>
                        <a:pt x="156" y="35"/>
                      </a:lnTo>
                      <a:lnTo>
                        <a:pt x="150" y="23"/>
                      </a:lnTo>
                      <a:lnTo>
                        <a:pt x="8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3" name="Freeform 204">
                  <a:extLst>
                    <a:ext uri="{FF2B5EF4-FFF2-40B4-BE49-F238E27FC236}">
                      <a16:creationId xmlns:a16="http://schemas.microsoft.com/office/drawing/2014/main" id="{87D53B75-77FF-4609-9AD4-112422F4324E}"/>
                    </a:ext>
                  </a:extLst>
                </p:cNvPr>
                <p:cNvSpPr>
                  <a:spLocks/>
                </p:cNvSpPr>
                <p:nvPr/>
              </p:nvSpPr>
              <p:spPr bwMode="auto">
                <a:xfrm>
                  <a:off x="4725743" y="1920925"/>
                  <a:ext cx="138507" cy="79585"/>
                </a:xfrm>
                <a:custGeom>
                  <a:avLst/>
                  <a:gdLst>
                    <a:gd name="T0" fmla="*/ 94 w 100"/>
                    <a:gd name="T1" fmla="*/ 6 h 54"/>
                    <a:gd name="T2" fmla="*/ 65 w 100"/>
                    <a:gd name="T3" fmla="*/ 0 h 54"/>
                    <a:gd name="T4" fmla="*/ 27 w 100"/>
                    <a:gd name="T5" fmla="*/ 16 h 54"/>
                    <a:gd name="T6" fmla="*/ 4 w 100"/>
                    <a:gd name="T7" fmla="*/ 6 h 54"/>
                    <a:gd name="T8" fmla="*/ 10 w 100"/>
                    <a:gd name="T9" fmla="*/ 22 h 54"/>
                    <a:gd name="T10" fmla="*/ 0 w 100"/>
                    <a:gd name="T11" fmla="*/ 34 h 54"/>
                    <a:gd name="T12" fmla="*/ 17 w 100"/>
                    <a:gd name="T13" fmla="*/ 38 h 54"/>
                    <a:gd name="T14" fmla="*/ 21 w 100"/>
                    <a:gd name="T15" fmla="*/ 50 h 54"/>
                    <a:gd name="T16" fmla="*/ 49 w 100"/>
                    <a:gd name="T17" fmla="*/ 54 h 54"/>
                    <a:gd name="T18" fmla="*/ 84 w 100"/>
                    <a:gd name="T19" fmla="*/ 44 h 54"/>
                    <a:gd name="T20" fmla="*/ 100 w 100"/>
                    <a:gd name="T21" fmla="*/ 34 h 54"/>
                    <a:gd name="T22" fmla="*/ 88 w 100"/>
                    <a:gd name="T23" fmla="*/ 22 h 54"/>
                    <a:gd name="T24" fmla="*/ 94 w 100"/>
                    <a:gd name="T25" fmla="*/ 6 h 54"/>
                    <a:gd name="T26" fmla="*/ 94 w 100"/>
                    <a:gd name="T27" fmla="*/ 6 h 5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0"/>
                    <a:gd name="T43" fmla="*/ 0 h 54"/>
                    <a:gd name="T44" fmla="*/ 100 w 100"/>
                    <a:gd name="T45" fmla="*/ 54 h 5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0" h="54">
                      <a:moveTo>
                        <a:pt x="94" y="6"/>
                      </a:moveTo>
                      <a:lnTo>
                        <a:pt x="65" y="0"/>
                      </a:lnTo>
                      <a:lnTo>
                        <a:pt x="27" y="16"/>
                      </a:lnTo>
                      <a:lnTo>
                        <a:pt x="4" y="6"/>
                      </a:lnTo>
                      <a:lnTo>
                        <a:pt x="10" y="22"/>
                      </a:lnTo>
                      <a:lnTo>
                        <a:pt x="0" y="34"/>
                      </a:lnTo>
                      <a:lnTo>
                        <a:pt x="17" y="38"/>
                      </a:lnTo>
                      <a:lnTo>
                        <a:pt x="21" y="50"/>
                      </a:lnTo>
                      <a:lnTo>
                        <a:pt x="49" y="54"/>
                      </a:lnTo>
                      <a:lnTo>
                        <a:pt x="84" y="44"/>
                      </a:lnTo>
                      <a:lnTo>
                        <a:pt x="100" y="34"/>
                      </a:lnTo>
                      <a:lnTo>
                        <a:pt x="88" y="22"/>
                      </a:lnTo>
                      <a:lnTo>
                        <a:pt x="94" y="6"/>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4" name="Freeform 206">
                  <a:extLst>
                    <a:ext uri="{FF2B5EF4-FFF2-40B4-BE49-F238E27FC236}">
                      <a16:creationId xmlns:a16="http://schemas.microsoft.com/office/drawing/2014/main" id="{4FC5AC7E-393C-471E-A8AA-4E54F5159C1A}"/>
                    </a:ext>
                  </a:extLst>
                </p:cNvPr>
                <p:cNvSpPr>
                  <a:spLocks/>
                </p:cNvSpPr>
                <p:nvPr/>
              </p:nvSpPr>
              <p:spPr bwMode="auto">
                <a:xfrm>
                  <a:off x="4754829" y="2159678"/>
                  <a:ext cx="77564" cy="33897"/>
                </a:xfrm>
                <a:custGeom>
                  <a:avLst/>
                  <a:gdLst>
                    <a:gd name="T0" fmla="*/ 56 w 56"/>
                    <a:gd name="T1" fmla="*/ 17 h 23"/>
                    <a:gd name="T2" fmla="*/ 50 w 56"/>
                    <a:gd name="T3" fmla="*/ 0 h 23"/>
                    <a:gd name="T4" fmla="*/ 40 w 56"/>
                    <a:gd name="T5" fmla="*/ 6 h 23"/>
                    <a:gd name="T6" fmla="*/ 0 w 56"/>
                    <a:gd name="T7" fmla="*/ 6 h 23"/>
                    <a:gd name="T8" fmla="*/ 22 w 56"/>
                    <a:gd name="T9" fmla="*/ 23 h 23"/>
                    <a:gd name="T10" fmla="*/ 56 w 56"/>
                    <a:gd name="T11" fmla="*/ 17 h 23"/>
                    <a:gd name="T12" fmla="*/ 56 w 56"/>
                    <a:gd name="T13" fmla="*/ 17 h 23"/>
                    <a:gd name="T14" fmla="*/ 0 60000 65536"/>
                    <a:gd name="T15" fmla="*/ 0 60000 65536"/>
                    <a:gd name="T16" fmla="*/ 0 60000 65536"/>
                    <a:gd name="T17" fmla="*/ 0 60000 65536"/>
                    <a:gd name="T18" fmla="*/ 0 60000 65536"/>
                    <a:gd name="T19" fmla="*/ 0 60000 65536"/>
                    <a:gd name="T20" fmla="*/ 0 60000 65536"/>
                    <a:gd name="T21" fmla="*/ 0 w 56"/>
                    <a:gd name="T22" fmla="*/ 0 h 23"/>
                    <a:gd name="T23" fmla="*/ 56 w 5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 h="23">
                      <a:moveTo>
                        <a:pt x="56" y="17"/>
                      </a:moveTo>
                      <a:lnTo>
                        <a:pt x="50" y="0"/>
                      </a:lnTo>
                      <a:lnTo>
                        <a:pt x="40" y="6"/>
                      </a:lnTo>
                      <a:lnTo>
                        <a:pt x="0" y="6"/>
                      </a:lnTo>
                      <a:lnTo>
                        <a:pt x="22" y="23"/>
                      </a:lnTo>
                      <a:lnTo>
                        <a:pt x="56"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5" name="Freeform 207">
                  <a:extLst>
                    <a:ext uri="{FF2B5EF4-FFF2-40B4-BE49-F238E27FC236}">
                      <a16:creationId xmlns:a16="http://schemas.microsoft.com/office/drawing/2014/main" id="{EA7DEDC2-DF9F-4581-B567-159A1ECB4067}"/>
                    </a:ext>
                  </a:extLst>
                </p:cNvPr>
                <p:cNvSpPr>
                  <a:spLocks/>
                </p:cNvSpPr>
                <p:nvPr/>
              </p:nvSpPr>
              <p:spPr bwMode="auto">
                <a:xfrm>
                  <a:off x="4386402" y="1854605"/>
                  <a:ext cx="243772" cy="240227"/>
                </a:xfrm>
                <a:custGeom>
                  <a:avLst/>
                  <a:gdLst>
                    <a:gd name="T0" fmla="*/ 95 w 176"/>
                    <a:gd name="T1" fmla="*/ 28 h 163"/>
                    <a:gd name="T2" fmla="*/ 105 w 176"/>
                    <a:gd name="T3" fmla="*/ 6 h 163"/>
                    <a:gd name="T4" fmla="*/ 79 w 176"/>
                    <a:gd name="T5" fmla="*/ 6 h 163"/>
                    <a:gd name="T6" fmla="*/ 73 w 176"/>
                    <a:gd name="T7" fmla="*/ 0 h 163"/>
                    <a:gd name="T8" fmla="*/ 50 w 176"/>
                    <a:gd name="T9" fmla="*/ 0 h 163"/>
                    <a:gd name="T10" fmla="*/ 28 w 176"/>
                    <a:gd name="T11" fmla="*/ 12 h 163"/>
                    <a:gd name="T12" fmla="*/ 18 w 176"/>
                    <a:gd name="T13" fmla="*/ 12 h 163"/>
                    <a:gd name="T14" fmla="*/ 0 w 176"/>
                    <a:gd name="T15" fmla="*/ 16 h 163"/>
                    <a:gd name="T16" fmla="*/ 6 w 176"/>
                    <a:gd name="T17" fmla="*/ 53 h 163"/>
                    <a:gd name="T18" fmla="*/ 36 w 176"/>
                    <a:gd name="T19" fmla="*/ 47 h 163"/>
                    <a:gd name="T20" fmla="*/ 60 w 176"/>
                    <a:gd name="T21" fmla="*/ 83 h 163"/>
                    <a:gd name="T22" fmla="*/ 79 w 176"/>
                    <a:gd name="T23" fmla="*/ 95 h 163"/>
                    <a:gd name="T24" fmla="*/ 101 w 176"/>
                    <a:gd name="T25" fmla="*/ 99 h 163"/>
                    <a:gd name="T26" fmla="*/ 111 w 176"/>
                    <a:gd name="T27" fmla="*/ 112 h 163"/>
                    <a:gd name="T28" fmla="*/ 134 w 176"/>
                    <a:gd name="T29" fmla="*/ 124 h 163"/>
                    <a:gd name="T30" fmla="*/ 144 w 176"/>
                    <a:gd name="T31" fmla="*/ 140 h 163"/>
                    <a:gd name="T32" fmla="*/ 134 w 176"/>
                    <a:gd name="T33" fmla="*/ 160 h 163"/>
                    <a:gd name="T34" fmla="*/ 144 w 176"/>
                    <a:gd name="T35" fmla="*/ 163 h 163"/>
                    <a:gd name="T36" fmla="*/ 160 w 176"/>
                    <a:gd name="T37" fmla="*/ 134 h 163"/>
                    <a:gd name="T38" fmla="*/ 152 w 176"/>
                    <a:gd name="T39" fmla="*/ 128 h 163"/>
                    <a:gd name="T40" fmla="*/ 160 w 176"/>
                    <a:gd name="T41" fmla="*/ 118 h 163"/>
                    <a:gd name="T42" fmla="*/ 174 w 176"/>
                    <a:gd name="T43" fmla="*/ 128 h 163"/>
                    <a:gd name="T44" fmla="*/ 176 w 176"/>
                    <a:gd name="T45" fmla="*/ 118 h 163"/>
                    <a:gd name="T46" fmla="*/ 152 w 176"/>
                    <a:gd name="T47" fmla="*/ 99 h 163"/>
                    <a:gd name="T48" fmla="*/ 136 w 176"/>
                    <a:gd name="T49" fmla="*/ 91 h 163"/>
                    <a:gd name="T50" fmla="*/ 89 w 176"/>
                    <a:gd name="T51" fmla="*/ 55 h 163"/>
                    <a:gd name="T52" fmla="*/ 79 w 176"/>
                    <a:gd name="T53" fmla="*/ 51 h 163"/>
                    <a:gd name="T54" fmla="*/ 73 w 176"/>
                    <a:gd name="T55" fmla="*/ 28 h 163"/>
                    <a:gd name="T56" fmla="*/ 83 w 176"/>
                    <a:gd name="T57" fmla="*/ 16 h 163"/>
                    <a:gd name="T58" fmla="*/ 95 w 176"/>
                    <a:gd name="T59" fmla="*/ 28 h 163"/>
                    <a:gd name="T60" fmla="*/ 95 w 176"/>
                    <a:gd name="T61" fmla="*/ 28 h 16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76"/>
                    <a:gd name="T94" fmla="*/ 0 h 163"/>
                    <a:gd name="T95" fmla="*/ 176 w 176"/>
                    <a:gd name="T96" fmla="*/ 163 h 16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76" h="163">
                      <a:moveTo>
                        <a:pt x="95" y="28"/>
                      </a:moveTo>
                      <a:lnTo>
                        <a:pt x="105" y="6"/>
                      </a:lnTo>
                      <a:lnTo>
                        <a:pt x="79" y="6"/>
                      </a:lnTo>
                      <a:lnTo>
                        <a:pt x="73" y="0"/>
                      </a:lnTo>
                      <a:lnTo>
                        <a:pt x="50" y="0"/>
                      </a:lnTo>
                      <a:lnTo>
                        <a:pt x="28" y="12"/>
                      </a:lnTo>
                      <a:lnTo>
                        <a:pt x="18" y="12"/>
                      </a:lnTo>
                      <a:lnTo>
                        <a:pt x="0" y="16"/>
                      </a:lnTo>
                      <a:lnTo>
                        <a:pt x="6" y="53"/>
                      </a:lnTo>
                      <a:lnTo>
                        <a:pt x="36" y="47"/>
                      </a:lnTo>
                      <a:lnTo>
                        <a:pt x="60" y="83"/>
                      </a:lnTo>
                      <a:lnTo>
                        <a:pt x="79" y="95"/>
                      </a:lnTo>
                      <a:lnTo>
                        <a:pt x="101" y="99"/>
                      </a:lnTo>
                      <a:lnTo>
                        <a:pt x="111" y="112"/>
                      </a:lnTo>
                      <a:lnTo>
                        <a:pt x="134" y="124"/>
                      </a:lnTo>
                      <a:lnTo>
                        <a:pt x="144" y="140"/>
                      </a:lnTo>
                      <a:lnTo>
                        <a:pt x="134" y="160"/>
                      </a:lnTo>
                      <a:lnTo>
                        <a:pt x="144" y="163"/>
                      </a:lnTo>
                      <a:lnTo>
                        <a:pt x="160" y="134"/>
                      </a:lnTo>
                      <a:lnTo>
                        <a:pt x="152" y="128"/>
                      </a:lnTo>
                      <a:lnTo>
                        <a:pt x="160" y="118"/>
                      </a:lnTo>
                      <a:lnTo>
                        <a:pt x="174" y="128"/>
                      </a:lnTo>
                      <a:lnTo>
                        <a:pt x="176" y="118"/>
                      </a:lnTo>
                      <a:lnTo>
                        <a:pt x="152" y="99"/>
                      </a:lnTo>
                      <a:lnTo>
                        <a:pt x="136" y="91"/>
                      </a:lnTo>
                      <a:lnTo>
                        <a:pt x="89" y="55"/>
                      </a:lnTo>
                      <a:lnTo>
                        <a:pt x="79" y="51"/>
                      </a:lnTo>
                      <a:lnTo>
                        <a:pt x="73" y="28"/>
                      </a:lnTo>
                      <a:lnTo>
                        <a:pt x="83" y="16"/>
                      </a:lnTo>
                      <a:lnTo>
                        <a:pt x="95" y="28"/>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6" name="Freeform 208">
                  <a:extLst>
                    <a:ext uri="{FF2B5EF4-FFF2-40B4-BE49-F238E27FC236}">
                      <a16:creationId xmlns:a16="http://schemas.microsoft.com/office/drawing/2014/main" id="{DF1AF8C1-2D8C-42C6-8E4C-0ED744482EE0}"/>
                    </a:ext>
                  </a:extLst>
                </p:cNvPr>
                <p:cNvSpPr>
                  <a:spLocks/>
                </p:cNvSpPr>
                <p:nvPr/>
              </p:nvSpPr>
              <p:spPr bwMode="auto">
                <a:xfrm>
                  <a:off x="4495823" y="2094831"/>
                  <a:ext cx="76178" cy="47161"/>
                </a:xfrm>
                <a:custGeom>
                  <a:avLst/>
                  <a:gdLst>
                    <a:gd name="T0" fmla="*/ 49 w 55"/>
                    <a:gd name="T1" fmla="*/ 4 h 32"/>
                    <a:gd name="T2" fmla="*/ 32 w 55"/>
                    <a:gd name="T3" fmla="*/ 4 h 32"/>
                    <a:gd name="T4" fmla="*/ 26 w 55"/>
                    <a:gd name="T5" fmla="*/ 0 h 32"/>
                    <a:gd name="T6" fmla="*/ 0 w 55"/>
                    <a:gd name="T7" fmla="*/ 0 h 32"/>
                    <a:gd name="T8" fmla="*/ 32 w 55"/>
                    <a:gd name="T9" fmla="*/ 28 h 32"/>
                    <a:gd name="T10" fmla="*/ 55 w 55"/>
                    <a:gd name="T11" fmla="*/ 32 h 32"/>
                    <a:gd name="T12" fmla="*/ 49 w 55"/>
                    <a:gd name="T13" fmla="*/ 4 h 32"/>
                    <a:gd name="T14" fmla="*/ 49 w 55"/>
                    <a:gd name="T15" fmla="*/ 4 h 32"/>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32"/>
                    <a:gd name="T26" fmla="*/ 55 w 55"/>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32">
                      <a:moveTo>
                        <a:pt x="49" y="4"/>
                      </a:moveTo>
                      <a:lnTo>
                        <a:pt x="32" y="4"/>
                      </a:lnTo>
                      <a:lnTo>
                        <a:pt x="26" y="0"/>
                      </a:lnTo>
                      <a:lnTo>
                        <a:pt x="0" y="0"/>
                      </a:lnTo>
                      <a:lnTo>
                        <a:pt x="32" y="28"/>
                      </a:lnTo>
                      <a:lnTo>
                        <a:pt x="55" y="32"/>
                      </a:lnTo>
                      <a:lnTo>
                        <a:pt x="49" y="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7" name="Freeform 210">
                  <a:extLst>
                    <a:ext uri="{FF2B5EF4-FFF2-40B4-BE49-F238E27FC236}">
                      <a16:creationId xmlns:a16="http://schemas.microsoft.com/office/drawing/2014/main" id="{A67D3B66-8BA6-41B2-8B3B-D2A8F91F2F02}"/>
                    </a:ext>
                  </a:extLst>
                </p:cNvPr>
                <p:cNvSpPr>
                  <a:spLocks/>
                </p:cNvSpPr>
                <p:nvPr/>
              </p:nvSpPr>
              <p:spPr bwMode="auto">
                <a:xfrm>
                  <a:off x="4517984" y="1863447"/>
                  <a:ext cx="128811" cy="98743"/>
                </a:xfrm>
                <a:custGeom>
                  <a:avLst/>
                  <a:gdLst>
                    <a:gd name="T0" fmla="*/ 83 w 93"/>
                    <a:gd name="T1" fmla="*/ 22 h 67"/>
                    <a:gd name="T2" fmla="*/ 93 w 93"/>
                    <a:gd name="T3" fmla="*/ 16 h 67"/>
                    <a:gd name="T4" fmla="*/ 93 w 93"/>
                    <a:gd name="T5" fmla="*/ 6 h 67"/>
                    <a:gd name="T6" fmla="*/ 55 w 93"/>
                    <a:gd name="T7" fmla="*/ 0 h 67"/>
                    <a:gd name="T8" fmla="*/ 39 w 93"/>
                    <a:gd name="T9" fmla="*/ 16 h 67"/>
                    <a:gd name="T10" fmla="*/ 22 w 93"/>
                    <a:gd name="T11" fmla="*/ 10 h 67"/>
                    <a:gd name="T12" fmla="*/ 0 w 93"/>
                    <a:gd name="T13" fmla="*/ 22 h 67"/>
                    <a:gd name="T14" fmla="*/ 6 w 93"/>
                    <a:gd name="T15" fmla="*/ 26 h 67"/>
                    <a:gd name="T16" fmla="*/ 16 w 93"/>
                    <a:gd name="T17" fmla="*/ 26 h 67"/>
                    <a:gd name="T18" fmla="*/ 45 w 93"/>
                    <a:gd name="T19" fmla="*/ 61 h 67"/>
                    <a:gd name="T20" fmla="*/ 67 w 93"/>
                    <a:gd name="T21" fmla="*/ 67 h 67"/>
                    <a:gd name="T22" fmla="*/ 45 w 93"/>
                    <a:gd name="T23" fmla="*/ 26 h 67"/>
                    <a:gd name="T24" fmla="*/ 55 w 93"/>
                    <a:gd name="T25" fmla="*/ 22 h 67"/>
                    <a:gd name="T26" fmla="*/ 83 w 93"/>
                    <a:gd name="T27" fmla="*/ 22 h 67"/>
                    <a:gd name="T28" fmla="*/ 83 w 93"/>
                    <a:gd name="T29" fmla="*/ 22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3"/>
                    <a:gd name="T46" fmla="*/ 0 h 67"/>
                    <a:gd name="T47" fmla="*/ 93 w 93"/>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3" h="67">
                      <a:moveTo>
                        <a:pt x="83" y="22"/>
                      </a:moveTo>
                      <a:lnTo>
                        <a:pt x="93" y="16"/>
                      </a:lnTo>
                      <a:lnTo>
                        <a:pt x="93" y="6"/>
                      </a:lnTo>
                      <a:lnTo>
                        <a:pt x="55" y="0"/>
                      </a:lnTo>
                      <a:lnTo>
                        <a:pt x="39" y="16"/>
                      </a:lnTo>
                      <a:lnTo>
                        <a:pt x="22" y="10"/>
                      </a:lnTo>
                      <a:lnTo>
                        <a:pt x="0" y="22"/>
                      </a:lnTo>
                      <a:lnTo>
                        <a:pt x="6" y="26"/>
                      </a:lnTo>
                      <a:lnTo>
                        <a:pt x="16" y="26"/>
                      </a:lnTo>
                      <a:lnTo>
                        <a:pt x="45" y="61"/>
                      </a:lnTo>
                      <a:lnTo>
                        <a:pt x="67" y="67"/>
                      </a:lnTo>
                      <a:lnTo>
                        <a:pt x="45" y="26"/>
                      </a:lnTo>
                      <a:lnTo>
                        <a:pt x="55" y="22"/>
                      </a:lnTo>
                      <a:lnTo>
                        <a:pt x="83" y="2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8" name="Freeform 211">
                  <a:extLst>
                    <a:ext uri="{FF2B5EF4-FFF2-40B4-BE49-F238E27FC236}">
                      <a16:creationId xmlns:a16="http://schemas.microsoft.com/office/drawing/2014/main" id="{571A04AE-D232-4456-88C2-339029CDC729}"/>
                    </a:ext>
                  </a:extLst>
                </p:cNvPr>
                <p:cNvSpPr>
                  <a:spLocks/>
                </p:cNvSpPr>
                <p:nvPr/>
              </p:nvSpPr>
              <p:spPr bwMode="auto">
                <a:xfrm>
                  <a:off x="4580312" y="1895871"/>
                  <a:ext cx="76178" cy="81058"/>
                </a:xfrm>
                <a:custGeom>
                  <a:avLst/>
                  <a:gdLst>
                    <a:gd name="T0" fmla="*/ 10 w 55"/>
                    <a:gd name="T1" fmla="*/ 0 h 55"/>
                    <a:gd name="T2" fmla="*/ 0 w 55"/>
                    <a:gd name="T3" fmla="*/ 4 h 55"/>
                    <a:gd name="T4" fmla="*/ 22 w 55"/>
                    <a:gd name="T5" fmla="*/ 45 h 55"/>
                    <a:gd name="T6" fmla="*/ 38 w 55"/>
                    <a:gd name="T7" fmla="*/ 55 h 55"/>
                    <a:gd name="T8" fmla="*/ 55 w 55"/>
                    <a:gd name="T9" fmla="*/ 23 h 55"/>
                    <a:gd name="T10" fmla="*/ 38 w 55"/>
                    <a:gd name="T11" fmla="*/ 0 h 55"/>
                    <a:gd name="T12" fmla="*/ 10 w 55"/>
                    <a:gd name="T13" fmla="*/ 0 h 55"/>
                    <a:gd name="T14" fmla="*/ 10 w 55"/>
                    <a:gd name="T15" fmla="*/ 0 h 55"/>
                    <a:gd name="T16" fmla="*/ 0 60000 65536"/>
                    <a:gd name="T17" fmla="*/ 0 60000 65536"/>
                    <a:gd name="T18" fmla="*/ 0 60000 65536"/>
                    <a:gd name="T19" fmla="*/ 0 60000 65536"/>
                    <a:gd name="T20" fmla="*/ 0 60000 65536"/>
                    <a:gd name="T21" fmla="*/ 0 60000 65536"/>
                    <a:gd name="T22" fmla="*/ 0 60000 65536"/>
                    <a:gd name="T23" fmla="*/ 0 60000 65536"/>
                    <a:gd name="T24" fmla="*/ 0 w 55"/>
                    <a:gd name="T25" fmla="*/ 0 h 55"/>
                    <a:gd name="T26" fmla="*/ 55 w 55"/>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5" h="55">
                      <a:moveTo>
                        <a:pt x="10" y="0"/>
                      </a:moveTo>
                      <a:lnTo>
                        <a:pt x="0" y="4"/>
                      </a:lnTo>
                      <a:lnTo>
                        <a:pt x="22" y="45"/>
                      </a:lnTo>
                      <a:lnTo>
                        <a:pt x="38" y="55"/>
                      </a:lnTo>
                      <a:lnTo>
                        <a:pt x="55" y="23"/>
                      </a:lnTo>
                      <a:lnTo>
                        <a:pt x="38" y="0"/>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69" name="Freeform 212">
                  <a:extLst>
                    <a:ext uri="{FF2B5EF4-FFF2-40B4-BE49-F238E27FC236}">
                      <a16:creationId xmlns:a16="http://schemas.microsoft.com/office/drawing/2014/main" id="{67C9944D-06F6-40D4-985F-E74DCB330A43}"/>
                    </a:ext>
                  </a:extLst>
                </p:cNvPr>
                <p:cNvSpPr>
                  <a:spLocks/>
                </p:cNvSpPr>
                <p:nvPr/>
              </p:nvSpPr>
              <p:spPr bwMode="auto">
                <a:xfrm>
                  <a:off x="4632943" y="1872290"/>
                  <a:ext cx="106650" cy="122323"/>
                </a:xfrm>
                <a:custGeom>
                  <a:avLst/>
                  <a:gdLst>
                    <a:gd name="T0" fmla="*/ 67 w 77"/>
                    <a:gd name="T1" fmla="*/ 67 h 83"/>
                    <a:gd name="T2" fmla="*/ 77 w 77"/>
                    <a:gd name="T3" fmla="*/ 55 h 83"/>
                    <a:gd name="T4" fmla="*/ 71 w 77"/>
                    <a:gd name="T5" fmla="*/ 39 h 83"/>
                    <a:gd name="T6" fmla="*/ 33 w 77"/>
                    <a:gd name="T7" fmla="*/ 0 h 83"/>
                    <a:gd name="T8" fmla="*/ 10 w 77"/>
                    <a:gd name="T9" fmla="*/ 0 h 83"/>
                    <a:gd name="T10" fmla="*/ 10 w 77"/>
                    <a:gd name="T11" fmla="*/ 10 h 83"/>
                    <a:gd name="T12" fmla="*/ 0 w 77"/>
                    <a:gd name="T13" fmla="*/ 16 h 83"/>
                    <a:gd name="T14" fmla="*/ 17 w 77"/>
                    <a:gd name="T15" fmla="*/ 39 h 83"/>
                    <a:gd name="T16" fmla="*/ 0 w 77"/>
                    <a:gd name="T17" fmla="*/ 71 h 83"/>
                    <a:gd name="T18" fmla="*/ 10 w 77"/>
                    <a:gd name="T19" fmla="*/ 77 h 83"/>
                    <a:gd name="T20" fmla="*/ 17 w 77"/>
                    <a:gd name="T21" fmla="*/ 67 h 83"/>
                    <a:gd name="T22" fmla="*/ 27 w 77"/>
                    <a:gd name="T23" fmla="*/ 67 h 83"/>
                    <a:gd name="T24" fmla="*/ 39 w 77"/>
                    <a:gd name="T25" fmla="*/ 83 h 83"/>
                    <a:gd name="T26" fmla="*/ 67 w 77"/>
                    <a:gd name="T27" fmla="*/ 67 h 83"/>
                    <a:gd name="T28" fmla="*/ 67 w 77"/>
                    <a:gd name="T29" fmla="*/ 6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3"/>
                    <a:gd name="T47" fmla="*/ 77 w 77"/>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3">
                      <a:moveTo>
                        <a:pt x="67" y="67"/>
                      </a:moveTo>
                      <a:lnTo>
                        <a:pt x="77" y="55"/>
                      </a:lnTo>
                      <a:lnTo>
                        <a:pt x="71" y="39"/>
                      </a:lnTo>
                      <a:lnTo>
                        <a:pt x="33" y="0"/>
                      </a:lnTo>
                      <a:lnTo>
                        <a:pt x="10" y="0"/>
                      </a:lnTo>
                      <a:lnTo>
                        <a:pt x="10" y="10"/>
                      </a:lnTo>
                      <a:lnTo>
                        <a:pt x="0" y="16"/>
                      </a:lnTo>
                      <a:lnTo>
                        <a:pt x="17" y="39"/>
                      </a:lnTo>
                      <a:lnTo>
                        <a:pt x="0" y="71"/>
                      </a:lnTo>
                      <a:lnTo>
                        <a:pt x="10" y="77"/>
                      </a:lnTo>
                      <a:lnTo>
                        <a:pt x="17" y="67"/>
                      </a:lnTo>
                      <a:lnTo>
                        <a:pt x="27" y="67"/>
                      </a:lnTo>
                      <a:lnTo>
                        <a:pt x="39" y="83"/>
                      </a:lnTo>
                      <a:lnTo>
                        <a:pt x="67" y="6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0" name="Freeform 215">
                  <a:extLst>
                    <a:ext uri="{FF2B5EF4-FFF2-40B4-BE49-F238E27FC236}">
                      <a16:creationId xmlns:a16="http://schemas.microsoft.com/office/drawing/2014/main" id="{751E8841-A3A9-471C-BBCC-42F5A5C793A3}"/>
                    </a:ext>
                  </a:extLst>
                </p:cNvPr>
                <p:cNvSpPr>
                  <a:spLocks/>
                </p:cNvSpPr>
                <p:nvPr/>
              </p:nvSpPr>
              <p:spPr bwMode="auto">
                <a:xfrm>
                  <a:off x="4013820" y="1935663"/>
                  <a:ext cx="277012" cy="218119"/>
                </a:xfrm>
                <a:custGeom>
                  <a:avLst/>
                  <a:gdLst>
                    <a:gd name="T0" fmla="*/ 197 w 200"/>
                    <a:gd name="T1" fmla="*/ 24 h 148"/>
                    <a:gd name="T2" fmla="*/ 181 w 200"/>
                    <a:gd name="T3" fmla="*/ 24 h 148"/>
                    <a:gd name="T4" fmla="*/ 173 w 200"/>
                    <a:gd name="T5" fmla="*/ 30 h 148"/>
                    <a:gd name="T6" fmla="*/ 167 w 200"/>
                    <a:gd name="T7" fmla="*/ 24 h 148"/>
                    <a:gd name="T8" fmla="*/ 122 w 200"/>
                    <a:gd name="T9" fmla="*/ 4 h 148"/>
                    <a:gd name="T10" fmla="*/ 114 w 200"/>
                    <a:gd name="T11" fmla="*/ 12 h 148"/>
                    <a:gd name="T12" fmla="*/ 27 w 200"/>
                    <a:gd name="T13" fmla="*/ 0 h 148"/>
                    <a:gd name="T14" fmla="*/ 0 w 200"/>
                    <a:gd name="T15" fmla="*/ 12 h 148"/>
                    <a:gd name="T16" fmla="*/ 9 w 200"/>
                    <a:gd name="T17" fmla="*/ 34 h 148"/>
                    <a:gd name="T18" fmla="*/ 53 w 200"/>
                    <a:gd name="T19" fmla="*/ 44 h 148"/>
                    <a:gd name="T20" fmla="*/ 39 w 200"/>
                    <a:gd name="T21" fmla="*/ 87 h 148"/>
                    <a:gd name="T22" fmla="*/ 33 w 200"/>
                    <a:gd name="T23" fmla="*/ 126 h 148"/>
                    <a:gd name="T24" fmla="*/ 55 w 200"/>
                    <a:gd name="T25" fmla="*/ 148 h 148"/>
                    <a:gd name="T26" fmla="*/ 74 w 200"/>
                    <a:gd name="T27" fmla="*/ 140 h 148"/>
                    <a:gd name="T28" fmla="*/ 110 w 200"/>
                    <a:gd name="T29" fmla="*/ 136 h 148"/>
                    <a:gd name="T30" fmla="*/ 137 w 200"/>
                    <a:gd name="T31" fmla="*/ 114 h 148"/>
                    <a:gd name="T32" fmla="*/ 157 w 200"/>
                    <a:gd name="T33" fmla="*/ 67 h 148"/>
                    <a:gd name="T34" fmla="*/ 200 w 200"/>
                    <a:gd name="T35" fmla="*/ 38 h 148"/>
                    <a:gd name="T36" fmla="*/ 197 w 200"/>
                    <a:gd name="T37" fmla="*/ 24 h 148"/>
                    <a:gd name="T38" fmla="*/ 197 w 200"/>
                    <a:gd name="T39" fmla="*/ 24 h 14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
                    <a:gd name="T61" fmla="*/ 0 h 148"/>
                    <a:gd name="T62" fmla="*/ 200 w 200"/>
                    <a:gd name="T63" fmla="*/ 148 h 14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 h="148">
                      <a:moveTo>
                        <a:pt x="197" y="24"/>
                      </a:moveTo>
                      <a:lnTo>
                        <a:pt x="181" y="24"/>
                      </a:lnTo>
                      <a:lnTo>
                        <a:pt x="173" y="30"/>
                      </a:lnTo>
                      <a:lnTo>
                        <a:pt x="167" y="24"/>
                      </a:lnTo>
                      <a:lnTo>
                        <a:pt x="122" y="4"/>
                      </a:lnTo>
                      <a:lnTo>
                        <a:pt x="114" y="12"/>
                      </a:lnTo>
                      <a:lnTo>
                        <a:pt x="27" y="0"/>
                      </a:lnTo>
                      <a:lnTo>
                        <a:pt x="0" y="12"/>
                      </a:lnTo>
                      <a:lnTo>
                        <a:pt x="9" y="34"/>
                      </a:lnTo>
                      <a:lnTo>
                        <a:pt x="53" y="44"/>
                      </a:lnTo>
                      <a:lnTo>
                        <a:pt x="39" y="87"/>
                      </a:lnTo>
                      <a:lnTo>
                        <a:pt x="33" y="126"/>
                      </a:lnTo>
                      <a:lnTo>
                        <a:pt x="55" y="148"/>
                      </a:lnTo>
                      <a:lnTo>
                        <a:pt x="74" y="140"/>
                      </a:lnTo>
                      <a:lnTo>
                        <a:pt x="110" y="136"/>
                      </a:lnTo>
                      <a:lnTo>
                        <a:pt x="137" y="114"/>
                      </a:lnTo>
                      <a:lnTo>
                        <a:pt x="157" y="67"/>
                      </a:lnTo>
                      <a:lnTo>
                        <a:pt x="200" y="38"/>
                      </a:lnTo>
                      <a:lnTo>
                        <a:pt x="197" y="24"/>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1" name="Freeform 217">
                  <a:extLst>
                    <a:ext uri="{FF2B5EF4-FFF2-40B4-BE49-F238E27FC236}">
                      <a16:creationId xmlns:a16="http://schemas.microsoft.com/office/drawing/2014/main" id="{7CD1A8A0-5379-4215-8F10-CB54BFEEF75A}"/>
                    </a:ext>
                  </a:extLst>
                </p:cNvPr>
                <p:cNvSpPr>
                  <a:spLocks/>
                </p:cNvSpPr>
                <p:nvPr/>
              </p:nvSpPr>
              <p:spPr bwMode="auto">
                <a:xfrm>
                  <a:off x="3792210" y="2354217"/>
                  <a:ext cx="11081" cy="19159"/>
                </a:xfrm>
                <a:custGeom>
                  <a:avLst/>
                  <a:gdLst>
                    <a:gd name="T0" fmla="*/ 8 w 8"/>
                    <a:gd name="T1" fmla="*/ 0 h 13"/>
                    <a:gd name="T2" fmla="*/ 0 w 8"/>
                    <a:gd name="T3" fmla="*/ 0 h 13"/>
                    <a:gd name="T4" fmla="*/ 2 w 8"/>
                    <a:gd name="T5" fmla="*/ 13 h 13"/>
                    <a:gd name="T6" fmla="*/ 8 w 8"/>
                    <a:gd name="T7" fmla="*/ 13 h 13"/>
                    <a:gd name="T8" fmla="*/ 8 w 8"/>
                    <a:gd name="T9" fmla="*/ 0 h 13"/>
                    <a:gd name="T10" fmla="*/ 8 w 8"/>
                    <a:gd name="T11" fmla="*/ 0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8" y="0"/>
                      </a:moveTo>
                      <a:lnTo>
                        <a:pt x="0" y="0"/>
                      </a:lnTo>
                      <a:lnTo>
                        <a:pt x="2" y="13"/>
                      </a:lnTo>
                      <a:lnTo>
                        <a:pt x="8" y="13"/>
                      </a:lnTo>
                      <a:lnTo>
                        <a:pt x="8"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2" name="Freeform 218">
                  <a:extLst>
                    <a:ext uri="{FF2B5EF4-FFF2-40B4-BE49-F238E27FC236}">
                      <a16:creationId xmlns:a16="http://schemas.microsoft.com/office/drawing/2014/main" id="{D5440ADC-2020-4091-A2DD-6BEABA98E1E5}"/>
                    </a:ext>
                  </a:extLst>
                </p:cNvPr>
                <p:cNvSpPr>
                  <a:spLocks/>
                </p:cNvSpPr>
                <p:nvPr/>
              </p:nvSpPr>
              <p:spPr bwMode="auto">
                <a:xfrm>
                  <a:off x="3819912" y="2364533"/>
                  <a:ext cx="20776" cy="20633"/>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3" name="Freeform 219">
                  <a:extLst>
                    <a:ext uri="{FF2B5EF4-FFF2-40B4-BE49-F238E27FC236}">
                      <a16:creationId xmlns:a16="http://schemas.microsoft.com/office/drawing/2014/main" id="{6CDF2EAB-5482-4ACE-868C-6FD3B524D950}"/>
                    </a:ext>
                  </a:extLst>
                </p:cNvPr>
                <p:cNvSpPr>
                  <a:spLocks/>
                </p:cNvSpPr>
                <p:nvPr/>
              </p:nvSpPr>
              <p:spPr bwMode="auto">
                <a:xfrm>
                  <a:off x="3879470" y="2348322"/>
                  <a:ext cx="22161" cy="36844"/>
                </a:xfrm>
                <a:custGeom>
                  <a:avLst/>
                  <a:gdLst>
                    <a:gd name="T0" fmla="*/ 10 w 16"/>
                    <a:gd name="T1" fmla="*/ 17 h 25"/>
                    <a:gd name="T2" fmla="*/ 16 w 16"/>
                    <a:gd name="T3" fmla="*/ 0 h 25"/>
                    <a:gd name="T4" fmla="*/ 0 w 16"/>
                    <a:gd name="T5" fmla="*/ 25 h 25"/>
                    <a:gd name="T6" fmla="*/ 10 w 16"/>
                    <a:gd name="T7" fmla="*/ 17 h 25"/>
                    <a:gd name="T8" fmla="*/ 10 w 16"/>
                    <a:gd name="T9" fmla="*/ 17 h 25"/>
                    <a:gd name="T10" fmla="*/ 0 60000 65536"/>
                    <a:gd name="T11" fmla="*/ 0 60000 65536"/>
                    <a:gd name="T12" fmla="*/ 0 60000 65536"/>
                    <a:gd name="T13" fmla="*/ 0 60000 65536"/>
                    <a:gd name="T14" fmla="*/ 0 60000 65536"/>
                    <a:gd name="T15" fmla="*/ 0 w 16"/>
                    <a:gd name="T16" fmla="*/ 0 h 25"/>
                    <a:gd name="T17" fmla="*/ 16 w 16"/>
                    <a:gd name="T18" fmla="*/ 25 h 25"/>
                  </a:gdLst>
                  <a:ahLst/>
                  <a:cxnLst>
                    <a:cxn ang="T10">
                      <a:pos x="T0" y="T1"/>
                    </a:cxn>
                    <a:cxn ang="T11">
                      <a:pos x="T2" y="T3"/>
                    </a:cxn>
                    <a:cxn ang="T12">
                      <a:pos x="T4" y="T5"/>
                    </a:cxn>
                    <a:cxn ang="T13">
                      <a:pos x="T6" y="T7"/>
                    </a:cxn>
                    <a:cxn ang="T14">
                      <a:pos x="T8" y="T9"/>
                    </a:cxn>
                  </a:cxnLst>
                  <a:rect l="T15" t="T16" r="T17" b="T18"/>
                  <a:pathLst>
                    <a:path w="16" h="25">
                      <a:moveTo>
                        <a:pt x="10" y="17"/>
                      </a:moveTo>
                      <a:lnTo>
                        <a:pt x="16" y="0"/>
                      </a:lnTo>
                      <a:lnTo>
                        <a:pt x="0" y="25"/>
                      </a:lnTo>
                      <a:lnTo>
                        <a:pt x="10" y="17"/>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4" name="Freeform 220">
                  <a:extLst>
                    <a:ext uri="{FF2B5EF4-FFF2-40B4-BE49-F238E27FC236}">
                      <a16:creationId xmlns:a16="http://schemas.microsoft.com/office/drawing/2014/main" id="{6069A6B0-7083-418B-A3ED-ABE7C12F26DB}"/>
                    </a:ext>
                  </a:extLst>
                </p:cNvPr>
                <p:cNvSpPr>
                  <a:spLocks/>
                </p:cNvSpPr>
                <p:nvPr/>
              </p:nvSpPr>
              <p:spPr bwMode="auto">
                <a:xfrm>
                  <a:off x="4005510" y="1982825"/>
                  <a:ext cx="81719" cy="141483"/>
                </a:xfrm>
                <a:custGeom>
                  <a:avLst/>
                  <a:gdLst>
                    <a:gd name="T0" fmla="*/ 59 w 59"/>
                    <a:gd name="T1" fmla="*/ 12 h 96"/>
                    <a:gd name="T2" fmla="*/ 13 w 59"/>
                    <a:gd name="T3" fmla="*/ 0 h 96"/>
                    <a:gd name="T4" fmla="*/ 15 w 59"/>
                    <a:gd name="T5" fmla="*/ 29 h 96"/>
                    <a:gd name="T6" fmla="*/ 0 w 59"/>
                    <a:gd name="T7" fmla="*/ 59 h 96"/>
                    <a:gd name="T8" fmla="*/ 11 w 59"/>
                    <a:gd name="T9" fmla="*/ 96 h 96"/>
                    <a:gd name="T10" fmla="*/ 39 w 59"/>
                    <a:gd name="T11" fmla="*/ 94 h 96"/>
                    <a:gd name="T12" fmla="*/ 45 w 59"/>
                    <a:gd name="T13" fmla="*/ 55 h 96"/>
                    <a:gd name="T14" fmla="*/ 59 w 59"/>
                    <a:gd name="T15" fmla="*/ 12 h 96"/>
                    <a:gd name="T16" fmla="*/ 59 w 59"/>
                    <a:gd name="T17" fmla="*/ 12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96"/>
                    <a:gd name="T29" fmla="*/ 59 w 5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96">
                      <a:moveTo>
                        <a:pt x="59" y="12"/>
                      </a:moveTo>
                      <a:lnTo>
                        <a:pt x="13" y="0"/>
                      </a:lnTo>
                      <a:lnTo>
                        <a:pt x="15" y="29"/>
                      </a:lnTo>
                      <a:lnTo>
                        <a:pt x="0" y="59"/>
                      </a:lnTo>
                      <a:lnTo>
                        <a:pt x="11" y="96"/>
                      </a:lnTo>
                      <a:lnTo>
                        <a:pt x="39" y="94"/>
                      </a:lnTo>
                      <a:lnTo>
                        <a:pt x="45" y="55"/>
                      </a:lnTo>
                      <a:lnTo>
                        <a:pt x="59"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5" name="Freeform 221">
                  <a:extLst>
                    <a:ext uri="{FF2B5EF4-FFF2-40B4-BE49-F238E27FC236}">
                      <a16:creationId xmlns:a16="http://schemas.microsoft.com/office/drawing/2014/main" id="{BCD36695-817A-4533-9D33-2935BE6BADAC}"/>
                    </a:ext>
                  </a:extLst>
                </p:cNvPr>
                <p:cNvSpPr>
                  <a:spLocks/>
                </p:cNvSpPr>
                <p:nvPr/>
              </p:nvSpPr>
              <p:spPr bwMode="auto">
                <a:xfrm>
                  <a:off x="4121855" y="1730807"/>
                  <a:ext cx="281168" cy="240227"/>
                </a:xfrm>
                <a:custGeom>
                  <a:avLst/>
                  <a:gdLst>
                    <a:gd name="T0" fmla="*/ 63 w 203"/>
                    <a:gd name="T1" fmla="*/ 35 h 163"/>
                    <a:gd name="T2" fmla="*/ 46 w 203"/>
                    <a:gd name="T3" fmla="*/ 27 h 163"/>
                    <a:gd name="T4" fmla="*/ 46 w 203"/>
                    <a:gd name="T5" fmla="*/ 51 h 163"/>
                    <a:gd name="T6" fmla="*/ 16 w 203"/>
                    <a:gd name="T7" fmla="*/ 47 h 163"/>
                    <a:gd name="T8" fmla="*/ 0 w 203"/>
                    <a:gd name="T9" fmla="*/ 57 h 163"/>
                    <a:gd name="T10" fmla="*/ 42 w 203"/>
                    <a:gd name="T11" fmla="*/ 80 h 163"/>
                    <a:gd name="T12" fmla="*/ 44 w 203"/>
                    <a:gd name="T13" fmla="*/ 143 h 163"/>
                    <a:gd name="T14" fmla="*/ 89 w 203"/>
                    <a:gd name="T15" fmla="*/ 163 h 163"/>
                    <a:gd name="T16" fmla="*/ 97 w 203"/>
                    <a:gd name="T17" fmla="*/ 159 h 163"/>
                    <a:gd name="T18" fmla="*/ 103 w 203"/>
                    <a:gd name="T19" fmla="*/ 163 h 163"/>
                    <a:gd name="T20" fmla="*/ 119 w 203"/>
                    <a:gd name="T21" fmla="*/ 163 h 163"/>
                    <a:gd name="T22" fmla="*/ 142 w 203"/>
                    <a:gd name="T23" fmla="*/ 145 h 163"/>
                    <a:gd name="T24" fmla="*/ 168 w 203"/>
                    <a:gd name="T25" fmla="*/ 157 h 163"/>
                    <a:gd name="T26" fmla="*/ 197 w 203"/>
                    <a:gd name="T27" fmla="*/ 137 h 163"/>
                    <a:gd name="T28" fmla="*/ 191 w 203"/>
                    <a:gd name="T29" fmla="*/ 100 h 163"/>
                    <a:gd name="T30" fmla="*/ 180 w 203"/>
                    <a:gd name="T31" fmla="*/ 90 h 163"/>
                    <a:gd name="T32" fmla="*/ 197 w 203"/>
                    <a:gd name="T33" fmla="*/ 68 h 163"/>
                    <a:gd name="T34" fmla="*/ 203 w 203"/>
                    <a:gd name="T35" fmla="*/ 39 h 163"/>
                    <a:gd name="T36" fmla="*/ 187 w 203"/>
                    <a:gd name="T37" fmla="*/ 33 h 163"/>
                    <a:gd name="T38" fmla="*/ 162 w 203"/>
                    <a:gd name="T39" fmla="*/ 33 h 163"/>
                    <a:gd name="T40" fmla="*/ 119 w 203"/>
                    <a:gd name="T41" fmla="*/ 0 h 163"/>
                    <a:gd name="T42" fmla="*/ 99 w 203"/>
                    <a:gd name="T43" fmla="*/ 5 h 163"/>
                    <a:gd name="T44" fmla="*/ 63 w 203"/>
                    <a:gd name="T45" fmla="*/ 35 h 163"/>
                    <a:gd name="T46" fmla="*/ 63 w 203"/>
                    <a:gd name="T47" fmla="*/ 35 h 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3"/>
                    <a:gd name="T73" fmla="*/ 0 h 163"/>
                    <a:gd name="T74" fmla="*/ 203 w 203"/>
                    <a:gd name="T75" fmla="*/ 163 h 16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3" h="163">
                      <a:moveTo>
                        <a:pt x="63" y="35"/>
                      </a:moveTo>
                      <a:lnTo>
                        <a:pt x="46" y="27"/>
                      </a:lnTo>
                      <a:lnTo>
                        <a:pt x="46" y="51"/>
                      </a:lnTo>
                      <a:lnTo>
                        <a:pt x="16" y="47"/>
                      </a:lnTo>
                      <a:lnTo>
                        <a:pt x="0" y="57"/>
                      </a:lnTo>
                      <a:lnTo>
                        <a:pt x="42" y="80"/>
                      </a:lnTo>
                      <a:lnTo>
                        <a:pt x="44" y="143"/>
                      </a:lnTo>
                      <a:lnTo>
                        <a:pt x="89" y="163"/>
                      </a:lnTo>
                      <a:lnTo>
                        <a:pt x="97" y="159"/>
                      </a:lnTo>
                      <a:lnTo>
                        <a:pt x="103" y="163"/>
                      </a:lnTo>
                      <a:lnTo>
                        <a:pt x="119" y="163"/>
                      </a:lnTo>
                      <a:lnTo>
                        <a:pt x="142" y="145"/>
                      </a:lnTo>
                      <a:lnTo>
                        <a:pt x="168" y="157"/>
                      </a:lnTo>
                      <a:lnTo>
                        <a:pt x="197" y="137"/>
                      </a:lnTo>
                      <a:lnTo>
                        <a:pt x="191" y="100"/>
                      </a:lnTo>
                      <a:lnTo>
                        <a:pt x="180" y="90"/>
                      </a:lnTo>
                      <a:lnTo>
                        <a:pt x="197" y="68"/>
                      </a:lnTo>
                      <a:lnTo>
                        <a:pt x="203" y="39"/>
                      </a:lnTo>
                      <a:lnTo>
                        <a:pt x="187" y="33"/>
                      </a:lnTo>
                      <a:lnTo>
                        <a:pt x="162" y="33"/>
                      </a:lnTo>
                      <a:lnTo>
                        <a:pt x="119" y="0"/>
                      </a:lnTo>
                      <a:lnTo>
                        <a:pt x="99" y="5"/>
                      </a:lnTo>
                      <a:lnTo>
                        <a:pt x="63" y="35"/>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6" name="Freeform 222">
                  <a:extLst>
                    <a:ext uri="{FF2B5EF4-FFF2-40B4-BE49-F238E27FC236}">
                      <a16:creationId xmlns:a16="http://schemas.microsoft.com/office/drawing/2014/main" id="{F984507E-AE0C-451F-9F47-EBAE6AAB03CE}"/>
                    </a:ext>
                  </a:extLst>
                </p:cNvPr>
                <p:cNvSpPr>
                  <a:spLocks/>
                </p:cNvSpPr>
                <p:nvPr/>
              </p:nvSpPr>
              <p:spPr bwMode="auto">
                <a:xfrm>
                  <a:off x="4411334" y="1953348"/>
                  <a:ext cx="16621" cy="41266"/>
                </a:xfrm>
                <a:custGeom>
                  <a:avLst/>
                  <a:gdLst>
                    <a:gd name="T0" fmla="*/ 12 w 12"/>
                    <a:gd name="T1" fmla="*/ 0 h 28"/>
                    <a:gd name="T2" fmla="*/ 0 w 12"/>
                    <a:gd name="T3" fmla="*/ 12 h 28"/>
                    <a:gd name="T4" fmla="*/ 4 w 12"/>
                    <a:gd name="T5" fmla="*/ 28 h 28"/>
                    <a:gd name="T6" fmla="*/ 12 w 12"/>
                    <a:gd name="T7" fmla="*/ 28 h 28"/>
                    <a:gd name="T8" fmla="*/ 12 w 12"/>
                    <a:gd name="T9" fmla="*/ 0 h 28"/>
                    <a:gd name="T10" fmla="*/ 12 w 12"/>
                    <a:gd name="T11" fmla="*/ 0 h 28"/>
                    <a:gd name="T12" fmla="*/ 0 60000 65536"/>
                    <a:gd name="T13" fmla="*/ 0 60000 65536"/>
                    <a:gd name="T14" fmla="*/ 0 60000 65536"/>
                    <a:gd name="T15" fmla="*/ 0 60000 65536"/>
                    <a:gd name="T16" fmla="*/ 0 60000 65536"/>
                    <a:gd name="T17" fmla="*/ 0 60000 65536"/>
                    <a:gd name="T18" fmla="*/ 0 w 12"/>
                    <a:gd name="T19" fmla="*/ 0 h 28"/>
                    <a:gd name="T20" fmla="*/ 12 w 12"/>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2" h="28">
                      <a:moveTo>
                        <a:pt x="12" y="0"/>
                      </a:moveTo>
                      <a:lnTo>
                        <a:pt x="0" y="12"/>
                      </a:lnTo>
                      <a:lnTo>
                        <a:pt x="4" y="28"/>
                      </a:lnTo>
                      <a:lnTo>
                        <a:pt x="12" y="28"/>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7" name="Freeform 223">
                  <a:extLst>
                    <a:ext uri="{FF2B5EF4-FFF2-40B4-BE49-F238E27FC236}">
                      <a16:creationId xmlns:a16="http://schemas.microsoft.com/office/drawing/2014/main" id="{2337DCD4-E366-4F72-A60A-2C0A5795FDEB}"/>
                    </a:ext>
                  </a:extLst>
                </p:cNvPr>
                <p:cNvSpPr>
                  <a:spLocks/>
                </p:cNvSpPr>
                <p:nvPr/>
              </p:nvSpPr>
              <p:spPr bwMode="auto">
                <a:xfrm>
                  <a:off x="4084458" y="1515636"/>
                  <a:ext cx="180058" cy="249068"/>
                </a:xfrm>
                <a:custGeom>
                  <a:avLst/>
                  <a:gdLst>
                    <a:gd name="T0" fmla="*/ 6 w 130"/>
                    <a:gd name="T1" fmla="*/ 0 h 169"/>
                    <a:gd name="T2" fmla="*/ 6 w 130"/>
                    <a:gd name="T3" fmla="*/ 6 h 169"/>
                    <a:gd name="T4" fmla="*/ 0 w 130"/>
                    <a:gd name="T5" fmla="*/ 18 h 169"/>
                    <a:gd name="T6" fmla="*/ 12 w 130"/>
                    <a:gd name="T7" fmla="*/ 29 h 169"/>
                    <a:gd name="T8" fmla="*/ 6 w 130"/>
                    <a:gd name="T9" fmla="*/ 51 h 169"/>
                    <a:gd name="T10" fmla="*/ 12 w 130"/>
                    <a:gd name="T11" fmla="*/ 61 h 169"/>
                    <a:gd name="T12" fmla="*/ 29 w 130"/>
                    <a:gd name="T13" fmla="*/ 57 h 169"/>
                    <a:gd name="T14" fmla="*/ 29 w 130"/>
                    <a:gd name="T15" fmla="*/ 79 h 169"/>
                    <a:gd name="T16" fmla="*/ 51 w 130"/>
                    <a:gd name="T17" fmla="*/ 85 h 169"/>
                    <a:gd name="T18" fmla="*/ 51 w 130"/>
                    <a:gd name="T19" fmla="*/ 96 h 169"/>
                    <a:gd name="T20" fmla="*/ 29 w 130"/>
                    <a:gd name="T21" fmla="*/ 112 h 169"/>
                    <a:gd name="T22" fmla="*/ 29 w 130"/>
                    <a:gd name="T23" fmla="*/ 134 h 169"/>
                    <a:gd name="T24" fmla="*/ 57 w 130"/>
                    <a:gd name="T25" fmla="*/ 140 h 169"/>
                    <a:gd name="T26" fmla="*/ 19 w 130"/>
                    <a:gd name="T27" fmla="*/ 153 h 169"/>
                    <a:gd name="T28" fmla="*/ 12 w 130"/>
                    <a:gd name="T29" fmla="*/ 169 h 169"/>
                    <a:gd name="T30" fmla="*/ 57 w 130"/>
                    <a:gd name="T31" fmla="*/ 157 h 169"/>
                    <a:gd name="T32" fmla="*/ 102 w 130"/>
                    <a:gd name="T33" fmla="*/ 157 h 169"/>
                    <a:gd name="T34" fmla="*/ 112 w 130"/>
                    <a:gd name="T35" fmla="*/ 146 h 169"/>
                    <a:gd name="T36" fmla="*/ 106 w 130"/>
                    <a:gd name="T37" fmla="*/ 134 h 169"/>
                    <a:gd name="T38" fmla="*/ 124 w 130"/>
                    <a:gd name="T39" fmla="*/ 128 h 169"/>
                    <a:gd name="T40" fmla="*/ 130 w 130"/>
                    <a:gd name="T41" fmla="*/ 118 h 169"/>
                    <a:gd name="T42" fmla="*/ 112 w 130"/>
                    <a:gd name="T43" fmla="*/ 112 h 169"/>
                    <a:gd name="T44" fmla="*/ 96 w 130"/>
                    <a:gd name="T45" fmla="*/ 118 h 169"/>
                    <a:gd name="T46" fmla="*/ 102 w 130"/>
                    <a:gd name="T47" fmla="*/ 108 h 169"/>
                    <a:gd name="T48" fmla="*/ 79 w 130"/>
                    <a:gd name="T49" fmla="*/ 79 h 169"/>
                    <a:gd name="T50" fmla="*/ 79 w 130"/>
                    <a:gd name="T51" fmla="*/ 67 h 169"/>
                    <a:gd name="T52" fmla="*/ 63 w 130"/>
                    <a:gd name="T53" fmla="*/ 51 h 169"/>
                    <a:gd name="T54" fmla="*/ 45 w 130"/>
                    <a:gd name="T55" fmla="*/ 45 h 169"/>
                    <a:gd name="T56" fmla="*/ 63 w 130"/>
                    <a:gd name="T57" fmla="*/ 41 h 169"/>
                    <a:gd name="T58" fmla="*/ 67 w 130"/>
                    <a:gd name="T59" fmla="*/ 29 h 169"/>
                    <a:gd name="T60" fmla="*/ 35 w 130"/>
                    <a:gd name="T61" fmla="*/ 29 h 169"/>
                    <a:gd name="T62" fmla="*/ 23 w 130"/>
                    <a:gd name="T63" fmla="*/ 18 h 169"/>
                    <a:gd name="T64" fmla="*/ 35 w 130"/>
                    <a:gd name="T65" fmla="*/ 12 h 169"/>
                    <a:gd name="T66" fmla="*/ 6 w 130"/>
                    <a:gd name="T67" fmla="*/ 0 h 169"/>
                    <a:gd name="T68" fmla="*/ 6 w 130"/>
                    <a:gd name="T69" fmla="*/ 0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0"/>
                    <a:gd name="T106" fmla="*/ 0 h 169"/>
                    <a:gd name="T107" fmla="*/ 130 w 130"/>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0" h="169">
                      <a:moveTo>
                        <a:pt x="6" y="0"/>
                      </a:moveTo>
                      <a:lnTo>
                        <a:pt x="6" y="6"/>
                      </a:lnTo>
                      <a:lnTo>
                        <a:pt x="0" y="18"/>
                      </a:lnTo>
                      <a:lnTo>
                        <a:pt x="12" y="29"/>
                      </a:lnTo>
                      <a:lnTo>
                        <a:pt x="6" y="51"/>
                      </a:lnTo>
                      <a:lnTo>
                        <a:pt x="12" y="61"/>
                      </a:lnTo>
                      <a:lnTo>
                        <a:pt x="29" y="57"/>
                      </a:lnTo>
                      <a:lnTo>
                        <a:pt x="29" y="79"/>
                      </a:lnTo>
                      <a:lnTo>
                        <a:pt x="51" y="85"/>
                      </a:lnTo>
                      <a:lnTo>
                        <a:pt x="51" y="96"/>
                      </a:lnTo>
                      <a:lnTo>
                        <a:pt x="29" y="112"/>
                      </a:lnTo>
                      <a:lnTo>
                        <a:pt x="29" y="134"/>
                      </a:lnTo>
                      <a:lnTo>
                        <a:pt x="57" y="140"/>
                      </a:lnTo>
                      <a:lnTo>
                        <a:pt x="19" y="153"/>
                      </a:lnTo>
                      <a:lnTo>
                        <a:pt x="12" y="169"/>
                      </a:lnTo>
                      <a:lnTo>
                        <a:pt x="57" y="157"/>
                      </a:lnTo>
                      <a:lnTo>
                        <a:pt x="102" y="157"/>
                      </a:lnTo>
                      <a:lnTo>
                        <a:pt x="112" y="146"/>
                      </a:lnTo>
                      <a:lnTo>
                        <a:pt x="106" y="134"/>
                      </a:lnTo>
                      <a:lnTo>
                        <a:pt x="124" y="128"/>
                      </a:lnTo>
                      <a:lnTo>
                        <a:pt x="130" y="118"/>
                      </a:lnTo>
                      <a:lnTo>
                        <a:pt x="112" y="112"/>
                      </a:lnTo>
                      <a:lnTo>
                        <a:pt x="96" y="118"/>
                      </a:lnTo>
                      <a:lnTo>
                        <a:pt x="102" y="108"/>
                      </a:lnTo>
                      <a:lnTo>
                        <a:pt x="79" y="79"/>
                      </a:lnTo>
                      <a:lnTo>
                        <a:pt x="79" y="67"/>
                      </a:lnTo>
                      <a:lnTo>
                        <a:pt x="63" y="51"/>
                      </a:lnTo>
                      <a:lnTo>
                        <a:pt x="45" y="45"/>
                      </a:lnTo>
                      <a:lnTo>
                        <a:pt x="63" y="41"/>
                      </a:lnTo>
                      <a:lnTo>
                        <a:pt x="67" y="29"/>
                      </a:lnTo>
                      <a:lnTo>
                        <a:pt x="35" y="29"/>
                      </a:lnTo>
                      <a:lnTo>
                        <a:pt x="23" y="18"/>
                      </a:lnTo>
                      <a:lnTo>
                        <a:pt x="35" y="12"/>
                      </a:lnTo>
                      <a:lnTo>
                        <a:pt x="6"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8" name="Freeform 224">
                  <a:extLst>
                    <a:ext uri="{FF2B5EF4-FFF2-40B4-BE49-F238E27FC236}">
                      <a16:creationId xmlns:a16="http://schemas.microsoft.com/office/drawing/2014/main" id="{0A8370A2-0E9F-4352-B884-9D501DEA8D6F}"/>
                    </a:ext>
                  </a:extLst>
                </p:cNvPr>
                <p:cNvSpPr>
                  <a:spLocks/>
                </p:cNvSpPr>
                <p:nvPr/>
              </p:nvSpPr>
              <p:spPr bwMode="auto">
                <a:xfrm>
                  <a:off x="4070608" y="1623222"/>
                  <a:ext cx="30471" cy="42740"/>
                </a:xfrm>
                <a:custGeom>
                  <a:avLst/>
                  <a:gdLst>
                    <a:gd name="T0" fmla="*/ 10 w 22"/>
                    <a:gd name="T1" fmla="*/ 0 h 29"/>
                    <a:gd name="T2" fmla="*/ 0 w 22"/>
                    <a:gd name="T3" fmla="*/ 17 h 29"/>
                    <a:gd name="T4" fmla="*/ 22 w 22"/>
                    <a:gd name="T5" fmla="*/ 29 h 29"/>
                    <a:gd name="T6" fmla="*/ 22 w 22"/>
                    <a:gd name="T7" fmla="*/ 6 h 29"/>
                    <a:gd name="T8" fmla="*/ 10 w 22"/>
                    <a:gd name="T9" fmla="*/ 0 h 29"/>
                    <a:gd name="T10" fmla="*/ 10 w 22"/>
                    <a:gd name="T11" fmla="*/ 0 h 29"/>
                    <a:gd name="T12" fmla="*/ 0 60000 65536"/>
                    <a:gd name="T13" fmla="*/ 0 60000 65536"/>
                    <a:gd name="T14" fmla="*/ 0 60000 65536"/>
                    <a:gd name="T15" fmla="*/ 0 60000 65536"/>
                    <a:gd name="T16" fmla="*/ 0 60000 65536"/>
                    <a:gd name="T17" fmla="*/ 0 60000 65536"/>
                    <a:gd name="T18" fmla="*/ 0 w 22"/>
                    <a:gd name="T19" fmla="*/ 0 h 29"/>
                    <a:gd name="T20" fmla="*/ 22 w 2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22" h="29">
                      <a:moveTo>
                        <a:pt x="10" y="0"/>
                      </a:moveTo>
                      <a:lnTo>
                        <a:pt x="0" y="17"/>
                      </a:lnTo>
                      <a:lnTo>
                        <a:pt x="22" y="29"/>
                      </a:lnTo>
                      <a:lnTo>
                        <a:pt x="22" y="6"/>
                      </a:lnTo>
                      <a:lnTo>
                        <a:pt x="10"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79" name="Freeform 225">
                  <a:extLst>
                    <a:ext uri="{FF2B5EF4-FFF2-40B4-BE49-F238E27FC236}">
                      <a16:creationId xmlns:a16="http://schemas.microsoft.com/office/drawing/2014/main" id="{FD7DE849-C214-4FC3-AF6E-1DC0605C7DE2}"/>
                    </a:ext>
                  </a:extLst>
                </p:cNvPr>
                <p:cNvSpPr>
                  <a:spLocks/>
                </p:cNvSpPr>
                <p:nvPr/>
              </p:nvSpPr>
              <p:spPr bwMode="auto">
                <a:xfrm>
                  <a:off x="3999970" y="1599641"/>
                  <a:ext cx="101109" cy="122323"/>
                </a:xfrm>
                <a:custGeom>
                  <a:avLst/>
                  <a:gdLst>
                    <a:gd name="T0" fmla="*/ 6 w 73"/>
                    <a:gd name="T1" fmla="*/ 39 h 83"/>
                    <a:gd name="T2" fmla="*/ 19 w 73"/>
                    <a:gd name="T3" fmla="*/ 51 h 83"/>
                    <a:gd name="T4" fmla="*/ 0 w 73"/>
                    <a:gd name="T5" fmla="*/ 71 h 83"/>
                    <a:gd name="T6" fmla="*/ 12 w 73"/>
                    <a:gd name="T7" fmla="*/ 83 h 83"/>
                    <a:gd name="T8" fmla="*/ 41 w 73"/>
                    <a:gd name="T9" fmla="*/ 83 h 83"/>
                    <a:gd name="T10" fmla="*/ 73 w 73"/>
                    <a:gd name="T11" fmla="*/ 55 h 83"/>
                    <a:gd name="T12" fmla="*/ 73 w 73"/>
                    <a:gd name="T13" fmla="*/ 45 h 83"/>
                    <a:gd name="T14" fmla="*/ 51 w 73"/>
                    <a:gd name="T15" fmla="*/ 33 h 83"/>
                    <a:gd name="T16" fmla="*/ 61 w 73"/>
                    <a:gd name="T17" fmla="*/ 16 h 83"/>
                    <a:gd name="T18" fmla="*/ 57 w 73"/>
                    <a:gd name="T19" fmla="*/ 0 h 83"/>
                    <a:gd name="T20" fmla="*/ 41 w 73"/>
                    <a:gd name="T21" fmla="*/ 10 h 83"/>
                    <a:gd name="T22" fmla="*/ 35 w 73"/>
                    <a:gd name="T23" fmla="*/ 28 h 83"/>
                    <a:gd name="T24" fmla="*/ 12 w 73"/>
                    <a:gd name="T25" fmla="*/ 28 h 83"/>
                    <a:gd name="T26" fmla="*/ 6 w 73"/>
                    <a:gd name="T27" fmla="*/ 39 h 83"/>
                    <a:gd name="T28" fmla="*/ 6 w 73"/>
                    <a:gd name="T29" fmla="*/ 39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
                    <a:gd name="T46" fmla="*/ 0 h 83"/>
                    <a:gd name="T47" fmla="*/ 73 w 73"/>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 h="83">
                      <a:moveTo>
                        <a:pt x="6" y="39"/>
                      </a:moveTo>
                      <a:lnTo>
                        <a:pt x="19" y="51"/>
                      </a:lnTo>
                      <a:lnTo>
                        <a:pt x="0" y="71"/>
                      </a:lnTo>
                      <a:lnTo>
                        <a:pt x="12" y="83"/>
                      </a:lnTo>
                      <a:lnTo>
                        <a:pt x="41" y="83"/>
                      </a:lnTo>
                      <a:lnTo>
                        <a:pt x="73" y="55"/>
                      </a:lnTo>
                      <a:lnTo>
                        <a:pt x="73" y="45"/>
                      </a:lnTo>
                      <a:lnTo>
                        <a:pt x="51" y="33"/>
                      </a:lnTo>
                      <a:lnTo>
                        <a:pt x="61" y="16"/>
                      </a:lnTo>
                      <a:lnTo>
                        <a:pt x="57" y="0"/>
                      </a:lnTo>
                      <a:lnTo>
                        <a:pt x="41" y="10"/>
                      </a:lnTo>
                      <a:lnTo>
                        <a:pt x="35" y="28"/>
                      </a:lnTo>
                      <a:lnTo>
                        <a:pt x="12" y="28"/>
                      </a:lnTo>
                      <a:lnTo>
                        <a:pt x="6" y="39"/>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0" name="Freeform 226">
                  <a:extLst>
                    <a:ext uri="{FF2B5EF4-FFF2-40B4-BE49-F238E27FC236}">
                      <a16:creationId xmlns:a16="http://schemas.microsoft.com/office/drawing/2014/main" id="{2B3F5673-7955-4001-A596-7A34D4B558E0}"/>
                    </a:ext>
                  </a:extLst>
                </p:cNvPr>
                <p:cNvSpPr>
                  <a:spLocks/>
                </p:cNvSpPr>
                <p:nvPr/>
              </p:nvSpPr>
              <p:spPr bwMode="auto">
                <a:xfrm>
                  <a:off x="4362856" y="1614379"/>
                  <a:ext cx="185599" cy="216646"/>
                </a:xfrm>
                <a:custGeom>
                  <a:avLst/>
                  <a:gdLst>
                    <a:gd name="T0" fmla="*/ 84 w 134"/>
                    <a:gd name="T1" fmla="*/ 23 h 147"/>
                    <a:gd name="T2" fmla="*/ 73 w 134"/>
                    <a:gd name="T3" fmla="*/ 29 h 147"/>
                    <a:gd name="T4" fmla="*/ 45 w 134"/>
                    <a:gd name="T5" fmla="*/ 18 h 147"/>
                    <a:gd name="T6" fmla="*/ 39 w 134"/>
                    <a:gd name="T7" fmla="*/ 0 h 147"/>
                    <a:gd name="T8" fmla="*/ 29 w 134"/>
                    <a:gd name="T9" fmla="*/ 6 h 147"/>
                    <a:gd name="T10" fmla="*/ 23 w 134"/>
                    <a:gd name="T11" fmla="*/ 18 h 147"/>
                    <a:gd name="T12" fmla="*/ 29 w 134"/>
                    <a:gd name="T13" fmla="*/ 29 h 147"/>
                    <a:gd name="T14" fmla="*/ 17 w 134"/>
                    <a:gd name="T15" fmla="*/ 35 h 147"/>
                    <a:gd name="T16" fmla="*/ 6 w 134"/>
                    <a:gd name="T17" fmla="*/ 57 h 147"/>
                    <a:gd name="T18" fmla="*/ 6 w 134"/>
                    <a:gd name="T19" fmla="*/ 67 h 147"/>
                    <a:gd name="T20" fmla="*/ 0 w 134"/>
                    <a:gd name="T21" fmla="*/ 79 h 147"/>
                    <a:gd name="T22" fmla="*/ 13 w 134"/>
                    <a:gd name="T23" fmla="*/ 102 h 147"/>
                    <a:gd name="T24" fmla="*/ 13 w 134"/>
                    <a:gd name="T25" fmla="*/ 112 h 147"/>
                    <a:gd name="T26" fmla="*/ 29 w 134"/>
                    <a:gd name="T27" fmla="*/ 118 h 147"/>
                    <a:gd name="T28" fmla="*/ 23 w 134"/>
                    <a:gd name="T29" fmla="*/ 147 h 147"/>
                    <a:gd name="T30" fmla="*/ 106 w 134"/>
                    <a:gd name="T31" fmla="*/ 147 h 147"/>
                    <a:gd name="T32" fmla="*/ 112 w 134"/>
                    <a:gd name="T33" fmla="*/ 124 h 147"/>
                    <a:gd name="T34" fmla="*/ 96 w 134"/>
                    <a:gd name="T35" fmla="*/ 96 h 147"/>
                    <a:gd name="T36" fmla="*/ 134 w 134"/>
                    <a:gd name="T37" fmla="*/ 73 h 147"/>
                    <a:gd name="T38" fmla="*/ 106 w 134"/>
                    <a:gd name="T39" fmla="*/ 23 h 147"/>
                    <a:gd name="T40" fmla="*/ 84 w 134"/>
                    <a:gd name="T41" fmla="*/ 23 h 147"/>
                    <a:gd name="T42" fmla="*/ 84 w 134"/>
                    <a:gd name="T43" fmla="*/ 23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147"/>
                    <a:gd name="T68" fmla="*/ 134 w 134"/>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147">
                      <a:moveTo>
                        <a:pt x="84" y="23"/>
                      </a:moveTo>
                      <a:lnTo>
                        <a:pt x="73" y="29"/>
                      </a:lnTo>
                      <a:lnTo>
                        <a:pt x="45" y="18"/>
                      </a:lnTo>
                      <a:lnTo>
                        <a:pt x="39" y="0"/>
                      </a:lnTo>
                      <a:lnTo>
                        <a:pt x="29" y="6"/>
                      </a:lnTo>
                      <a:lnTo>
                        <a:pt x="23" y="18"/>
                      </a:lnTo>
                      <a:lnTo>
                        <a:pt x="29" y="29"/>
                      </a:lnTo>
                      <a:lnTo>
                        <a:pt x="17" y="35"/>
                      </a:lnTo>
                      <a:lnTo>
                        <a:pt x="6" y="57"/>
                      </a:lnTo>
                      <a:lnTo>
                        <a:pt x="6" y="67"/>
                      </a:lnTo>
                      <a:lnTo>
                        <a:pt x="0" y="79"/>
                      </a:lnTo>
                      <a:lnTo>
                        <a:pt x="13" y="102"/>
                      </a:lnTo>
                      <a:lnTo>
                        <a:pt x="13" y="112"/>
                      </a:lnTo>
                      <a:lnTo>
                        <a:pt x="29" y="118"/>
                      </a:lnTo>
                      <a:lnTo>
                        <a:pt x="23" y="147"/>
                      </a:lnTo>
                      <a:lnTo>
                        <a:pt x="106" y="147"/>
                      </a:lnTo>
                      <a:lnTo>
                        <a:pt x="112" y="124"/>
                      </a:lnTo>
                      <a:lnTo>
                        <a:pt x="96" y="96"/>
                      </a:lnTo>
                      <a:lnTo>
                        <a:pt x="134" y="73"/>
                      </a:lnTo>
                      <a:lnTo>
                        <a:pt x="106" y="23"/>
                      </a:lnTo>
                      <a:lnTo>
                        <a:pt x="84"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1" name="Freeform 227">
                  <a:extLst>
                    <a:ext uri="{FF2B5EF4-FFF2-40B4-BE49-F238E27FC236}">
                      <a16:creationId xmlns:a16="http://schemas.microsoft.com/office/drawing/2014/main" id="{7B141E7D-9E11-4191-AB9F-616463A229C3}"/>
                    </a:ext>
                  </a:extLst>
                </p:cNvPr>
                <p:cNvSpPr>
                  <a:spLocks/>
                </p:cNvSpPr>
                <p:nvPr/>
              </p:nvSpPr>
              <p:spPr bwMode="auto">
                <a:xfrm>
                  <a:off x="4310224" y="1665961"/>
                  <a:ext cx="76178" cy="64847"/>
                </a:xfrm>
                <a:custGeom>
                  <a:avLst/>
                  <a:gdLst>
                    <a:gd name="T0" fmla="*/ 55 w 55"/>
                    <a:gd name="T1" fmla="*/ 0 h 44"/>
                    <a:gd name="T2" fmla="*/ 32 w 55"/>
                    <a:gd name="T3" fmla="*/ 0 h 44"/>
                    <a:gd name="T4" fmla="*/ 16 w 55"/>
                    <a:gd name="T5" fmla="*/ 6 h 44"/>
                    <a:gd name="T6" fmla="*/ 22 w 55"/>
                    <a:gd name="T7" fmla="*/ 16 h 44"/>
                    <a:gd name="T8" fmla="*/ 6 w 55"/>
                    <a:gd name="T9" fmla="*/ 16 h 44"/>
                    <a:gd name="T10" fmla="*/ 0 w 55"/>
                    <a:gd name="T11" fmla="*/ 38 h 44"/>
                    <a:gd name="T12" fmla="*/ 38 w 55"/>
                    <a:gd name="T13" fmla="*/ 44 h 44"/>
                    <a:gd name="T14" fmla="*/ 44 w 55"/>
                    <a:gd name="T15" fmla="*/ 32 h 44"/>
                    <a:gd name="T16" fmla="*/ 44 w 55"/>
                    <a:gd name="T17" fmla="*/ 22 h 44"/>
                    <a:gd name="T18" fmla="*/ 55 w 55"/>
                    <a:gd name="T19" fmla="*/ 0 h 44"/>
                    <a:gd name="T20" fmla="*/ 55 w 55"/>
                    <a:gd name="T21" fmla="*/ 0 h 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4"/>
                    <a:gd name="T35" fmla="*/ 55 w 55"/>
                    <a:gd name="T36" fmla="*/ 44 h 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4">
                      <a:moveTo>
                        <a:pt x="55" y="0"/>
                      </a:moveTo>
                      <a:lnTo>
                        <a:pt x="32" y="0"/>
                      </a:lnTo>
                      <a:lnTo>
                        <a:pt x="16" y="6"/>
                      </a:lnTo>
                      <a:lnTo>
                        <a:pt x="22" y="16"/>
                      </a:lnTo>
                      <a:lnTo>
                        <a:pt x="6" y="16"/>
                      </a:lnTo>
                      <a:lnTo>
                        <a:pt x="0" y="38"/>
                      </a:lnTo>
                      <a:lnTo>
                        <a:pt x="38" y="44"/>
                      </a:lnTo>
                      <a:lnTo>
                        <a:pt x="44" y="32"/>
                      </a:lnTo>
                      <a:lnTo>
                        <a:pt x="44" y="22"/>
                      </a:lnTo>
                      <a:lnTo>
                        <a:pt x="55"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2" name="Freeform 228">
                  <a:extLst>
                    <a:ext uri="{FF2B5EF4-FFF2-40B4-BE49-F238E27FC236}">
                      <a16:creationId xmlns:a16="http://schemas.microsoft.com/office/drawing/2014/main" id="{5319D8C6-D472-4EA9-89C6-1E19A6C30950}"/>
                    </a:ext>
                  </a:extLst>
                </p:cNvPr>
                <p:cNvSpPr>
                  <a:spLocks/>
                </p:cNvSpPr>
                <p:nvPr/>
              </p:nvSpPr>
              <p:spPr bwMode="auto">
                <a:xfrm>
                  <a:off x="4286678" y="1721965"/>
                  <a:ext cx="84489" cy="57477"/>
                </a:xfrm>
                <a:custGeom>
                  <a:avLst/>
                  <a:gdLst>
                    <a:gd name="T0" fmla="*/ 17 w 61"/>
                    <a:gd name="T1" fmla="*/ 0 h 39"/>
                    <a:gd name="T2" fmla="*/ 0 w 61"/>
                    <a:gd name="T3" fmla="*/ 6 h 39"/>
                    <a:gd name="T4" fmla="*/ 43 w 61"/>
                    <a:gd name="T5" fmla="*/ 39 h 39"/>
                    <a:gd name="T6" fmla="*/ 43 w 61"/>
                    <a:gd name="T7" fmla="*/ 29 h 39"/>
                    <a:gd name="T8" fmla="*/ 61 w 61"/>
                    <a:gd name="T9" fmla="*/ 17 h 39"/>
                    <a:gd name="T10" fmla="*/ 55 w 61"/>
                    <a:gd name="T11" fmla="*/ 6 h 39"/>
                    <a:gd name="T12" fmla="*/ 17 w 61"/>
                    <a:gd name="T13" fmla="*/ 0 h 39"/>
                    <a:gd name="T14" fmla="*/ 17 w 61"/>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39"/>
                    <a:gd name="T26" fmla="*/ 61 w 61"/>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39">
                      <a:moveTo>
                        <a:pt x="17" y="0"/>
                      </a:moveTo>
                      <a:lnTo>
                        <a:pt x="0" y="6"/>
                      </a:lnTo>
                      <a:lnTo>
                        <a:pt x="43" y="39"/>
                      </a:lnTo>
                      <a:lnTo>
                        <a:pt x="43" y="29"/>
                      </a:lnTo>
                      <a:lnTo>
                        <a:pt x="61" y="17"/>
                      </a:lnTo>
                      <a:lnTo>
                        <a:pt x="55" y="6"/>
                      </a:lnTo>
                      <a:lnTo>
                        <a:pt x="17"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3" name="Freeform 229">
                  <a:extLst>
                    <a:ext uri="{FF2B5EF4-FFF2-40B4-BE49-F238E27FC236}">
                      <a16:creationId xmlns:a16="http://schemas.microsoft.com/office/drawing/2014/main" id="{2356568F-D77B-416A-B691-DDB05064F66D}"/>
                    </a:ext>
                  </a:extLst>
                </p:cNvPr>
                <p:cNvSpPr>
                  <a:spLocks/>
                </p:cNvSpPr>
                <p:nvPr/>
              </p:nvSpPr>
              <p:spPr bwMode="auto">
                <a:xfrm>
                  <a:off x="4346236" y="1747018"/>
                  <a:ext cx="34627" cy="32424"/>
                </a:xfrm>
                <a:custGeom>
                  <a:avLst/>
                  <a:gdLst>
                    <a:gd name="T0" fmla="*/ 0 w 25"/>
                    <a:gd name="T1" fmla="*/ 12 h 22"/>
                    <a:gd name="T2" fmla="*/ 0 w 25"/>
                    <a:gd name="T3" fmla="*/ 22 h 22"/>
                    <a:gd name="T4" fmla="*/ 25 w 25"/>
                    <a:gd name="T5" fmla="*/ 22 h 22"/>
                    <a:gd name="T6" fmla="*/ 25 w 25"/>
                    <a:gd name="T7" fmla="*/ 12 h 22"/>
                    <a:gd name="T8" fmla="*/ 18 w 25"/>
                    <a:gd name="T9" fmla="*/ 0 h 22"/>
                    <a:gd name="T10" fmla="*/ 0 w 25"/>
                    <a:gd name="T11" fmla="*/ 12 h 22"/>
                    <a:gd name="T12" fmla="*/ 0 w 25"/>
                    <a:gd name="T13" fmla="*/ 12 h 22"/>
                    <a:gd name="T14" fmla="*/ 0 60000 65536"/>
                    <a:gd name="T15" fmla="*/ 0 60000 65536"/>
                    <a:gd name="T16" fmla="*/ 0 60000 65536"/>
                    <a:gd name="T17" fmla="*/ 0 60000 65536"/>
                    <a:gd name="T18" fmla="*/ 0 60000 65536"/>
                    <a:gd name="T19" fmla="*/ 0 60000 65536"/>
                    <a:gd name="T20" fmla="*/ 0 60000 65536"/>
                    <a:gd name="T21" fmla="*/ 0 w 25"/>
                    <a:gd name="T22" fmla="*/ 0 h 22"/>
                    <a:gd name="T23" fmla="*/ 25 w 25"/>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22">
                      <a:moveTo>
                        <a:pt x="0" y="12"/>
                      </a:moveTo>
                      <a:lnTo>
                        <a:pt x="0" y="22"/>
                      </a:lnTo>
                      <a:lnTo>
                        <a:pt x="25" y="22"/>
                      </a:lnTo>
                      <a:lnTo>
                        <a:pt x="25" y="12"/>
                      </a:lnTo>
                      <a:lnTo>
                        <a:pt x="18" y="0"/>
                      </a:lnTo>
                      <a:lnTo>
                        <a:pt x="0" y="1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4" name="Freeform 232">
                  <a:extLst>
                    <a:ext uri="{FF2B5EF4-FFF2-40B4-BE49-F238E27FC236}">
                      <a16:creationId xmlns:a16="http://schemas.microsoft.com/office/drawing/2014/main" id="{E636FEE1-2E1A-4130-83BE-663EB1C0A5BE}"/>
                    </a:ext>
                  </a:extLst>
                </p:cNvPr>
                <p:cNvSpPr>
                  <a:spLocks/>
                </p:cNvSpPr>
                <p:nvPr/>
              </p:nvSpPr>
              <p:spPr bwMode="auto">
                <a:xfrm>
                  <a:off x="4495823" y="1721965"/>
                  <a:ext cx="142662" cy="81058"/>
                </a:xfrm>
                <a:custGeom>
                  <a:avLst/>
                  <a:gdLst>
                    <a:gd name="T0" fmla="*/ 0 w 103"/>
                    <a:gd name="T1" fmla="*/ 23 h 55"/>
                    <a:gd name="T2" fmla="*/ 16 w 103"/>
                    <a:gd name="T3" fmla="*/ 51 h 55"/>
                    <a:gd name="T4" fmla="*/ 55 w 103"/>
                    <a:gd name="T5" fmla="*/ 45 h 55"/>
                    <a:gd name="T6" fmla="*/ 71 w 103"/>
                    <a:gd name="T7" fmla="*/ 55 h 55"/>
                    <a:gd name="T8" fmla="*/ 71 w 103"/>
                    <a:gd name="T9" fmla="*/ 45 h 55"/>
                    <a:gd name="T10" fmla="*/ 87 w 103"/>
                    <a:gd name="T11" fmla="*/ 51 h 55"/>
                    <a:gd name="T12" fmla="*/ 103 w 103"/>
                    <a:gd name="T13" fmla="*/ 39 h 55"/>
                    <a:gd name="T14" fmla="*/ 38 w 103"/>
                    <a:gd name="T15" fmla="*/ 0 h 55"/>
                    <a:gd name="T16" fmla="*/ 0 w 103"/>
                    <a:gd name="T17" fmla="*/ 23 h 55"/>
                    <a:gd name="T18" fmla="*/ 0 w 103"/>
                    <a:gd name="T19" fmla="*/ 23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55"/>
                    <a:gd name="T32" fmla="*/ 103 w 103"/>
                    <a:gd name="T33" fmla="*/ 55 h 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55">
                      <a:moveTo>
                        <a:pt x="0" y="23"/>
                      </a:moveTo>
                      <a:lnTo>
                        <a:pt x="16" y="51"/>
                      </a:lnTo>
                      <a:lnTo>
                        <a:pt x="55" y="45"/>
                      </a:lnTo>
                      <a:lnTo>
                        <a:pt x="71" y="55"/>
                      </a:lnTo>
                      <a:lnTo>
                        <a:pt x="71" y="45"/>
                      </a:lnTo>
                      <a:lnTo>
                        <a:pt x="87" y="51"/>
                      </a:lnTo>
                      <a:lnTo>
                        <a:pt x="103" y="39"/>
                      </a:lnTo>
                      <a:lnTo>
                        <a:pt x="38" y="0"/>
                      </a:lnTo>
                      <a:lnTo>
                        <a:pt x="0" y="23"/>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5" name="Freeform 233">
                  <a:extLst>
                    <a:ext uri="{FF2B5EF4-FFF2-40B4-BE49-F238E27FC236}">
                      <a16:creationId xmlns:a16="http://schemas.microsoft.com/office/drawing/2014/main" id="{E4618173-C805-4AC0-AE39-B7148CBEEAA5}"/>
                    </a:ext>
                  </a:extLst>
                </p:cNvPr>
                <p:cNvSpPr>
                  <a:spLocks/>
                </p:cNvSpPr>
                <p:nvPr/>
              </p:nvSpPr>
              <p:spPr bwMode="auto">
                <a:xfrm>
                  <a:off x="4540145" y="2146414"/>
                  <a:ext cx="20776" cy="20633"/>
                </a:xfrm>
                <a:custGeom>
                  <a:avLst/>
                  <a:gdLst>
                    <a:gd name="T0" fmla="*/ 4 w 15"/>
                    <a:gd name="T1" fmla="*/ 2 h 14"/>
                    <a:gd name="T2" fmla="*/ 0 w 15"/>
                    <a:gd name="T3" fmla="*/ 14 h 14"/>
                    <a:gd name="T4" fmla="*/ 15 w 15"/>
                    <a:gd name="T5" fmla="*/ 0 h 14"/>
                    <a:gd name="T6" fmla="*/ 4 w 15"/>
                    <a:gd name="T7" fmla="*/ 2 h 14"/>
                    <a:gd name="T8" fmla="*/ 4 w 15"/>
                    <a:gd name="T9" fmla="*/ 2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4" y="2"/>
                      </a:moveTo>
                      <a:lnTo>
                        <a:pt x="0" y="14"/>
                      </a:lnTo>
                      <a:lnTo>
                        <a:pt x="15" y="0"/>
                      </a:lnTo>
                      <a:lnTo>
                        <a:pt x="4" y="2"/>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sp>
              <p:nvSpPr>
                <p:cNvPr id="486" name="Freeform 65">
                  <a:extLst>
                    <a:ext uri="{FF2B5EF4-FFF2-40B4-BE49-F238E27FC236}">
                      <a16:creationId xmlns:a16="http://schemas.microsoft.com/office/drawing/2014/main" id="{C623DE05-2FD0-4608-B3BD-F46EC51453EE}"/>
                    </a:ext>
                  </a:extLst>
                </p:cNvPr>
                <p:cNvSpPr>
                  <a:spLocks/>
                </p:cNvSpPr>
                <p:nvPr/>
              </p:nvSpPr>
              <p:spPr bwMode="auto">
                <a:xfrm>
                  <a:off x="5023531" y="2225998"/>
                  <a:ext cx="38782" cy="116429"/>
                </a:xfrm>
                <a:custGeom>
                  <a:avLst/>
                  <a:gdLst>
                    <a:gd name="T0" fmla="*/ 19050 w 28"/>
                    <a:gd name="T1" fmla="*/ 0 h 79"/>
                    <a:gd name="T2" fmla="*/ 0 w 28"/>
                    <a:gd name="T3" fmla="*/ 53975 h 79"/>
                    <a:gd name="T4" fmla="*/ 34925 w 28"/>
                    <a:gd name="T5" fmla="*/ 125413 h 79"/>
                    <a:gd name="T6" fmla="*/ 44450 w 28"/>
                    <a:gd name="T7" fmla="*/ 34925 h 79"/>
                    <a:gd name="T8" fmla="*/ 44450 w 28"/>
                    <a:gd name="T9" fmla="*/ 19050 h 79"/>
                    <a:gd name="T10" fmla="*/ 19050 w 28"/>
                    <a:gd name="T11" fmla="*/ 0 h 79"/>
                    <a:gd name="T12" fmla="*/ 19050 w 28"/>
                    <a:gd name="T13" fmla="*/ 0 h 79"/>
                    <a:gd name="T14" fmla="*/ 0 60000 65536"/>
                    <a:gd name="T15" fmla="*/ 0 60000 65536"/>
                    <a:gd name="T16" fmla="*/ 0 60000 65536"/>
                    <a:gd name="T17" fmla="*/ 0 60000 65536"/>
                    <a:gd name="T18" fmla="*/ 0 60000 65536"/>
                    <a:gd name="T19" fmla="*/ 0 60000 65536"/>
                    <a:gd name="T20" fmla="*/ 0 60000 65536"/>
                    <a:gd name="T21" fmla="*/ 0 w 28"/>
                    <a:gd name="T22" fmla="*/ 0 h 79"/>
                    <a:gd name="T23" fmla="*/ 28 w 28"/>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79">
                      <a:moveTo>
                        <a:pt x="12" y="0"/>
                      </a:moveTo>
                      <a:lnTo>
                        <a:pt x="0" y="34"/>
                      </a:lnTo>
                      <a:lnTo>
                        <a:pt x="22" y="79"/>
                      </a:lnTo>
                      <a:lnTo>
                        <a:pt x="28" y="22"/>
                      </a:lnTo>
                      <a:lnTo>
                        <a:pt x="28" y="12"/>
                      </a:lnTo>
                      <a:lnTo>
                        <a:pt x="12" y="0"/>
                      </a:lnTo>
                      <a:close/>
                    </a:path>
                  </a:pathLst>
                </a:custGeom>
                <a:grpFill/>
                <a:ln w="3175">
                  <a:solidFill>
                    <a:srgbClr val="98A2AE">
                      <a:lumMod val="40000"/>
                      <a:lumOff val="60000"/>
                      <a:alpha val="29000"/>
                    </a:srgbClr>
                  </a:solidFill>
                  <a:miter lim="800000"/>
                  <a:headEnd/>
                  <a:tailEnd/>
                </a:ln>
              </p:spPr>
              <p:txBody>
                <a:bodyPr/>
                <a:lstStyle/>
                <a:p>
                  <a:pPr marL="0" marR="0" lvl="0" indent="0" defTabSz="1226579" rtl="0" eaLnBrk="1" fontAlgn="auto" latinLnBrk="0" hangingPunct="1">
                    <a:lnSpc>
                      <a:spcPct val="100000"/>
                    </a:lnSpc>
                    <a:spcBef>
                      <a:spcPts val="0"/>
                    </a:spcBef>
                    <a:spcAft>
                      <a:spcPts val="0"/>
                    </a:spcAft>
                    <a:buClrTx/>
                    <a:buSzTx/>
                    <a:buFontTx/>
                    <a:buNone/>
                    <a:tabLst/>
                    <a:defRPr/>
                  </a:pPr>
                  <a:endParaRPr kumimoji="0" lang="en-US" sz="1610" b="0" i="0" u="none" strike="noStrike" kern="0" cap="none" spc="0" normalizeH="0" baseline="0" noProof="0">
                    <a:ln>
                      <a:noFill/>
                    </a:ln>
                    <a:solidFill>
                      <a:sysClr val="windowText" lastClr="000000"/>
                    </a:solidFill>
                    <a:effectLst/>
                    <a:uLnTx/>
                    <a:uFillTx/>
                    <a:ea typeface="ＭＳ Ｐゴシック"/>
                  </a:endParaRPr>
                </a:p>
              </p:txBody>
            </p:sp>
          </p:grpSp>
        </p:grpSp>
      </p:grpSp>
      <p:sp>
        <p:nvSpPr>
          <p:cNvPr id="5" name="Text Placeholder 42">
            <a:extLst>
              <a:ext uri="{FF2B5EF4-FFF2-40B4-BE49-F238E27FC236}">
                <a16:creationId xmlns:a16="http://schemas.microsoft.com/office/drawing/2014/main" id="{76DE57BA-BED7-669C-DDF7-F0FA1340BC68}"/>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EAEAFFF2-5B07-47BE-094C-DB348777B2BA}"/>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338482205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3 Gradient blue-green 1">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EA6BF65-D85B-485A-82F0-F876EADB4EEF}"/>
              </a:ext>
            </a:extLst>
          </p:cNvPr>
          <p:cNvGraphicFramePr>
            <a:graphicFrameLocks noChangeAspect="1"/>
          </p:cNvGraphicFramePr>
          <p:nvPr userDrawn="1">
            <p:custDataLst>
              <p:tags r:id="rId1"/>
            </p:custDataLst>
            <p:extLst>
              <p:ext uri="{D42A27DB-BD31-4B8C-83A1-F6EECF244321}">
                <p14:modId xmlns:p14="http://schemas.microsoft.com/office/powerpoint/2010/main" val="78180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Object 8" hidden="1">
                        <a:extLst>
                          <a:ext uri="{FF2B5EF4-FFF2-40B4-BE49-F238E27FC236}">
                            <a16:creationId xmlns:a16="http://schemas.microsoft.com/office/drawing/2014/main" id="{DEA6BF65-D85B-485A-82F0-F876EADB4E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8" name="Text Placeholder 42">
            <a:extLst>
              <a:ext uri="{FF2B5EF4-FFF2-40B4-BE49-F238E27FC236}">
                <a16:creationId xmlns:a16="http://schemas.microsoft.com/office/drawing/2014/main" id="{E4E03277-15C4-4359-B053-3F467C69EC0C}"/>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294770656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4 Gradient blue-green 2">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99AD28F2-C841-4DC5-A24D-9530289C96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aphicFrame>
        <p:nvGraphicFramePr>
          <p:cNvPr id="3" name="Object 2" hidden="1">
            <a:extLst>
              <a:ext uri="{FF2B5EF4-FFF2-40B4-BE49-F238E27FC236}">
                <a16:creationId xmlns:a16="http://schemas.microsoft.com/office/drawing/2014/main" id="{902B7DF3-C7B7-4043-8331-4182A8B0C517}"/>
              </a:ext>
            </a:extLst>
          </p:cNvPr>
          <p:cNvGraphicFramePr>
            <a:graphicFrameLocks noChangeAspect="1"/>
          </p:cNvGraphicFramePr>
          <p:nvPr userDrawn="1">
            <p:custDataLst>
              <p:tags r:id="rId1"/>
            </p:custDataLst>
            <p:extLst>
              <p:ext uri="{D42A27DB-BD31-4B8C-83A1-F6EECF244321}">
                <p14:modId xmlns:p14="http://schemas.microsoft.com/office/powerpoint/2010/main" val="2606690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902B7DF3-C7B7-4043-8331-4182A8B0C5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023D1604-67E4-A661-A605-1D7ADAB7FAE8}"/>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3F85230-729B-3B94-D0E8-478A57C8D094}"/>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D4935A47-EEE9-3802-67D1-2658CF750D7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Footer Placeholder 2">
            <a:extLst>
              <a:ext uri="{FF2B5EF4-FFF2-40B4-BE49-F238E27FC236}">
                <a16:creationId xmlns:a16="http://schemas.microsoft.com/office/drawing/2014/main" id="{4B615E3C-BF1F-CD50-3EB2-2D077D1C6607}"/>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8" name="Text Placeholder 42">
            <a:extLst>
              <a:ext uri="{FF2B5EF4-FFF2-40B4-BE49-F238E27FC236}">
                <a16:creationId xmlns:a16="http://schemas.microsoft.com/office/drawing/2014/main" id="{D53E05E6-545A-1A30-5366-7D692C674F76}"/>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3B672A15-3139-AB69-1D40-56880C2620FA}"/>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226417239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4 Gradient blue-green 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13933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6" imgH="296" progId="TCLayout.ActiveDocument.1">
                  <p:embed/>
                </p:oleObj>
              </mc:Choice>
              <mc:Fallback>
                <p:oleObj name="think-cell Slide" r:id="rId4"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26C0DBAD-285D-45D1-9382-147D250C13B0}"/>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8C3D6FB9-5D6D-4AA1-BD5E-0E7BDE931B49}"/>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F97281ED-C326-44ED-8D41-B6DD98CDEE1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D33F5482-C4CB-4939-AB40-CD8848C3F02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42">
            <a:extLst>
              <a:ext uri="{FF2B5EF4-FFF2-40B4-BE49-F238E27FC236}">
                <a16:creationId xmlns:a16="http://schemas.microsoft.com/office/drawing/2014/main" id="{BD1B7222-044C-7D6A-AB02-C824EF0F3B7C}"/>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42">
            <a:extLst>
              <a:ext uri="{FF2B5EF4-FFF2-40B4-BE49-F238E27FC236}">
                <a16:creationId xmlns:a16="http://schemas.microsoft.com/office/drawing/2014/main" id="{24387174-5586-B356-839B-B32B4100A005}"/>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7671972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5 Gradient gree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A7C896-F781-44A4-9AB2-A4689B352CF0}"/>
              </a:ext>
            </a:extLst>
          </p:cNvPr>
          <p:cNvGraphicFramePr>
            <a:graphicFrameLocks noChangeAspect="1"/>
          </p:cNvGraphicFramePr>
          <p:nvPr userDrawn="1">
            <p:custDataLst>
              <p:tags r:id="rId1"/>
            </p:custDataLst>
            <p:extLst>
              <p:ext uri="{D42A27DB-BD31-4B8C-83A1-F6EECF244321}">
                <p14:modId xmlns:p14="http://schemas.microsoft.com/office/powerpoint/2010/main" val="2743932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9" name="Object 8" hidden="1">
                        <a:extLst>
                          <a:ext uri="{FF2B5EF4-FFF2-40B4-BE49-F238E27FC236}">
                            <a16:creationId xmlns:a16="http://schemas.microsoft.com/office/drawing/2014/main" id="{6FA7C896-F781-44A4-9AB2-A4689B352C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10" name="Text Placeholder 42">
            <a:extLst>
              <a:ext uri="{FF2B5EF4-FFF2-40B4-BE49-F238E27FC236}">
                <a16:creationId xmlns:a16="http://schemas.microsoft.com/office/drawing/2014/main" id="{A26D0681-3BEC-6161-AB7B-74978CB574C3}"/>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11" name="Text Placeholder 42">
            <a:extLst>
              <a:ext uri="{FF2B5EF4-FFF2-40B4-BE49-F238E27FC236}">
                <a16:creationId xmlns:a16="http://schemas.microsoft.com/office/drawing/2014/main" id="{25F1DE00-7C4E-13EC-74B5-B86CEE4097A0}"/>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3437039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1.2 Title">
    <p:bg>
      <p:bgPr>
        <a:solidFill>
          <a:schemeClr val="tx2"/>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43984369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6 Gradient blu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127207-FBDD-4EF5-A60B-68DDED46BE59}"/>
              </a:ext>
            </a:extLst>
          </p:cNvPr>
          <p:cNvGraphicFramePr>
            <a:graphicFrameLocks noChangeAspect="1"/>
          </p:cNvGraphicFramePr>
          <p:nvPr userDrawn="1">
            <p:custDataLst>
              <p:tags r:id="rId1"/>
            </p:custDataLst>
            <p:extLst>
              <p:ext uri="{D42A27DB-BD31-4B8C-83A1-F6EECF244321}">
                <p14:modId xmlns:p14="http://schemas.microsoft.com/office/powerpoint/2010/main" val="267864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96" imgH="296" progId="TCLayout.ActiveDocument.1">
                  <p:embed/>
                </p:oleObj>
              </mc:Choice>
              <mc:Fallback>
                <p:oleObj name="think-cell Slide" r:id="rId4" imgW="296" imgH="296" progId="TCLayout.ActiveDocument.1">
                  <p:embed/>
                  <p:pic>
                    <p:nvPicPr>
                      <p:cNvPr id="7" name="Object 6" hidden="1">
                        <a:extLst>
                          <a:ext uri="{FF2B5EF4-FFF2-40B4-BE49-F238E27FC236}">
                            <a16:creationId xmlns:a16="http://schemas.microsoft.com/office/drawing/2014/main" id="{1D127207-FBDD-4EF5-A60B-68DDED46BE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pic>
        <p:nvPicPr>
          <p:cNvPr id="8" name="Graphic 7">
            <a:extLst>
              <a:ext uri="{FF2B5EF4-FFF2-40B4-BE49-F238E27FC236}">
                <a16:creationId xmlns:a16="http://schemas.microsoft.com/office/drawing/2014/main" id="{26C0DBAD-285D-45D1-9382-147D250C13B0}"/>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9" name="TextBox 8">
            <a:extLst>
              <a:ext uri="{FF2B5EF4-FFF2-40B4-BE49-F238E27FC236}">
                <a16:creationId xmlns:a16="http://schemas.microsoft.com/office/drawing/2014/main" id="{8C3D6FB9-5D6D-4AA1-BD5E-0E7BDE931B49}"/>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F97281ED-C326-44ED-8D41-B6DD98CDEE1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D33F5482-C4CB-4939-AB40-CD8848C3F028}"/>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ext Placeholder 42">
            <a:extLst>
              <a:ext uri="{FF2B5EF4-FFF2-40B4-BE49-F238E27FC236}">
                <a16:creationId xmlns:a16="http://schemas.microsoft.com/office/drawing/2014/main" id="{7A4CC739-8154-5908-3986-3F7AF8C524D9}"/>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5" name="Text Placeholder 42">
            <a:extLst>
              <a:ext uri="{FF2B5EF4-FFF2-40B4-BE49-F238E27FC236}">
                <a16:creationId xmlns:a16="http://schemas.microsoft.com/office/drawing/2014/main" id="{61DA6A4A-DBB9-A02C-7610-3065A7513FB3}"/>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260089085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7 Gradient blue-pi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7FA4D4-5969-4CE1-99D8-8BCFD01C2B47}"/>
              </a:ext>
            </a:extLst>
          </p:cNvPr>
          <p:cNvGraphicFramePr>
            <a:graphicFrameLocks noChangeAspect="1"/>
          </p:cNvGraphicFramePr>
          <p:nvPr userDrawn="1">
            <p:custDataLst>
              <p:tags r:id="rId1"/>
            </p:custDataLst>
            <p:extLst>
              <p:ext uri="{D42A27DB-BD31-4B8C-83A1-F6EECF244321}">
                <p14:modId xmlns:p14="http://schemas.microsoft.com/office/powerpoint/2010/main" val="287344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757FA4D4-5969-4CE1-99D8-8BCFD01C2B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8486B7B6-1DF9-3E29-E47B-C266A5A297EE}"/>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2" name="TextBox 1">
            <a:extLst>
              <a:ext uri="{FF2B5EF4-FFF2-40B4-BE49-F238E27FC236}">
                <a16:creationId xmlns:a16="http://schemas.microsoft.com/office/drawing/2014/main" id="{3CE14D48-572B-4FBC-B3BB-EA4CEFD841C6}"/>
              </a:ext>
            </a:extLst>
          </p:cNvPr>
          <p:cNvSpPr txBox="1"/>
          <p:nvPr userDrawn="1"/>
        </p:nvSpPr>
        <p:spPr>
          <a:xfrm>
            <a:off x="680028" y="4858555"/>
            <a:ext cx="631583" cy="123111"/>
          </a:xfrm>
          <a:prstGeom prst="rect">
            <a:avLst/>
          </a:prstGeom>
          <a:noFill/>
        </p:spPr>
        <p:txBody>
          <a:bodyPr wrap="none" lIns="0" tIns="0" rIns="0" bIns="0" anchor="b" anchorCtr="0">
            <a:sp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D0FE3D03-1927-7F22-5A39-25AC5EE297B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5" name="Straight Connector 4">
            <a:extLst>
              <a:ext uri="{FF2B5EF4-FFF2-40B4-BE49-F238E27FC236}">
                <a16:creationId xmlns:a16="http://schemas.microsoft.com/office/drawing/2014/main" id="{DADB5A51-8451-D947-C3F9-CBE6E67EA93C}"/>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B6DDB2AC-023E-1CB2-8A40-C190BDD6FF5A}"/>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9" name="Text Placeholder 42">
            <a:extLst>
              <a:ext uri="{FF2B5EF4-FFF2-40B4-BE49-F238E27FC236}">
                <a16:creationId xmlns:a16="http://schemas.microsoft.com/office/drawing/2014/main" id="{65560C15-1A92-F0DB-DB88-B480CC114DE3}"/>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11" name="Text Placeholder 42">
            <a:extLst>
              <a:ext uri="{FF2B5EF4-FFF2-40B4-BE49-F238E27FC236}">
                <a16:creationId xmlns:a16="http://schemas.microsoft.com/office/drawing/2014/main" id="{60726ADC-3D84-AC27-A401-441EAAC1FC07}"/>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343464290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EC4E8C-B5CC-443A-99FB-079606D83BD5}"/>
              </a:ext>
            </a:extLst>
          </p:cNvPr>
          <p:cNvGraphicFramePr>
            <a:graphicFrameLocks noChangeAspect="1"/>
          </p:cNvGraphicFramePr>
          <p:nvPr userDrawn="1">
            <p:custDataLst>
              <p:tags r:id="rId1"/>
            </p:custDataLst>
            <p:extLst>
              <p:ext uri="{D42A27DB-BD31-4B8C-83A1-F6EECF244321}">
                <p14:modId xmlns:p14="http://schemas.microsoft.com/office/powerpoint/2010/main" val="80045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7" name="Object 6" hidden="1">
                        <a:extLst>
                          <a:ext uri="{FF2B5EF4-FFF2-40B4-BE49-F238E27FC236}">
                            <a16:creationId xmlns:a16="http://schemas.microsoft.com/office/drawing/2014/main" id="{6FEC4E8C-B5CC-443A-99FB-079606D83B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pPr rtl="0"/>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rtl="0">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3" name="Text Placeholder 42">
            <a:extLst>
              <a:ext uri="{FF2B5EF4-FFF2-40B4-BE49-F238E27FC236}">
                <a16:creationId xmlns:a16="http://schemas.microsoft.com/office/drawing/2014/main" id="{A55608D1-CF44-2DDD-0977-A693F9848F72}"/>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9" name="Text Placeholder 42">
            <a:extLst>
              <a:ext uri="{FF2B5EF4-FFF2-40B4-BE49-F238E27FC236}">
                <a16:creationId xmlns:a16="http://schemas.microsoft.com/office/drawing/2014/main" id="{EFF170C0-AE8A-617A-F5C7-A79998AF32AC}"/>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393137862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11 Gradient Orang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A058D554-DD74-481D-8F54-223B049C6B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60"/>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9" y="4858556"/>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sz="10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189"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sp>
        <p:nvSpPr>
          <p:cNvPr id="3" name="Text Placeholder 42">
            <a:extLst>
              <a:ext uri="{FF2B5EF4-FFF2-40B4-BE49-F238E27FC236}">
                <a16:creationId xmlns:a16="http://schemas.microsoft.com/office/drawing/2014/main" id="{EAD4ECFD-2CBE-C2DA-5690-683A5B1DA8BD}"/>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6" name="Text Placeholder 42">
            <a:extLst>
              <a:ext uri="{FF2B5EF4-FFF2-40B4-BE49-F238E27FC236}">
                <a16:creationId xmlns:a16="http://schemas.microsoft.com/office/drawing/2014/main" id="{A316C362-ADC5-16A4-FE1D-4EFC0D92488C}"/>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38318373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3.2 - Title dark">
    <p:bg>
      <p:bgPr>
        <a:solidFill>
          <a:schemeClr val="tx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BC39B26E-924A-E04C-205D-CC553972AED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8" name="TextBox 17">
            <a:extLst>
              <a:ext uri="{FF2B5EF4-FFF2-40B4-BE49-F238E27FC236}">
                <a16:creationId xmlns:a16="http://schemas.microsoft.com/office/drawing/2014/main" id="{B4D6E92B-62A5-89F1-C025-9AFA6FCB33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9" name="Slide Number Placeholder 5">
            <a:extLst>
              <a:ext uri="{FF2B5EF4-FFF2-40B4-BE49-F238E27FC236}">
                <a16:creationId xmlns:a16="http://schemas.microsoft.com/office/drawing/2014/main" id="{F2BA0AE1-3EC1-6929-E965-9C60516B99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20" name="Footer Placeholder 2">
            <a:extLst>
              <a:ext uri="{FF2B5EF4-FFF2-40B4-BE49-F238E27FC236}">
                <a16:creationId xmlns:a16="http://schemas.microsoft.com/office/drawing/2014/main" id="{8CFFAAD9-97A5-7898-E5FF-36F481EB932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cxnSp>
        <p:nvCxnSpPr>
          <p:cNvPr id="2" name="Straight Connector 1">
            <a:extLst>
              <a:ext uri="{FF2B5EF4-FFF2-40B4-BE49-F238E27FC236}">
                <a16:creationId xmlns:a16="http://schemas.microsoft.com/office/drawing/2014/main" id="{209CB677-B3D7-E9DA-E119-15BB41993FA8}"/>
              </a:ext>
            </a:extLst>
          </p:cNvPr>
          <p:cNvCxnSpPr>
            <a:cxnSpLocks/>
          </p:cNvCxnSpPr>
          <p:nvPr userDrawn="1"/>
        </p:nvCxnSpPr>
        <p:spPr>
          <a:xfrm>
            <a:off x="1403610" y="4842900"/>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2">
            <a:extLst>
              <a:ext uri="{FF2B5EF4-FFF2-40B4-BE49-F238E27FC236}">
                <a16:creationId xmlns:a16="http://schemas.microsoft.com/office/drawing/2014/main" id="{30584ACA-C518-BA2D-7405-C08B8BD28058}"/>
              </a:ext>
            </a:extLst>
          </p:cNvPr>
          <p:cNvSpPr>
            <a:spLocks noGrp="1"/>
          </p:cNvSpPr>
          <p:nvPr>
            <p:ph type="body" sz="quarter" idx="12" hasCustomPrompt="1"/>
          </p:nvPr>
        </p:nvSpPr>
        <p:spPr>
          <a:xfrm>
            <a:off x="417600" y="263214"/>
            <a:ext cx="8308800" cy="340654"/>
          </a:xfrm>
          <a:prstGeom prst="rect">
            <a:avLst/>
          </a:prstGeom>
        </p:spPr>
        <p:txBody>
          <a:bodyPr lIns="0" tIns="0" rIns="0" bIns="0"/>
          <a:lstStyle>
            <a:lvl1pPr marL="0" indent="0" rtl="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headline</a:t>
            </a:r>
          </a:p>
        </p:txBody>
      </p:sp>
      <p:sp>
        <p:nvSpPr>
          <p:cNvPr id="7" name="Text Placeholder 42">
            <a:extLst>
              <a:ext uri="{FF2B5EF4-FFF2-40B4-BE49-F238E27FC236}">
                <a16:creationId xmlns:a16="http://schemas.microsoft.com/office/drawing/2014/main" id="{3A29AB70-5776-3E03-127E-14CBAB18FEB0}"/>
              </a:ext>
            </a:extLst>
          </p:cNvPr>
          <p:cNvSpPr>
            <a:spLocks noGrp="1"/>
          </p:cNvSpPr>
          <p:nvPr>
            <p:ph type="body" sz="quarter" idx="13" hasCustomPrompt="1"/>
          </p:nvPr>
        </p:nvSpPr>
        <p:spPr>
          <a:xfrm>
            <a:off x="417600" y="631788"/>
            <a:ext cx="8308800" cy="340654"/>
          </a:xfrm>
          <a:prstGeom prst="rect">
            <a:avLst/>
          </a:prstGeom>
        </p:spPr>
        <p:txBody>
          <a:bodyPr lIns="0" tIns="0" rIns="0" bIns="0"/>
          <a:lstStyle>
            <a:lvl1pPr marL="0" indent="0" rtl="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a:t>Click to edit headline</a:t>
            </a:r>
          </a:p>
        </p:txBody>
      </p:sp>
    </p:spTree>
    <p:extLst>
      <p:ext uri="{BB962C8B-B14F-4D97-AF65-F5344CB8AC3E}">
        <p14:creationId xmlns:p14="http://schemas.microsoft.com/office/powerpoint/2010/main" val="68177633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6G-ANNA_Title">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8D8A317-7FB7-4550-802A-697AF5793A24}"/>
              </a:ext>
            </a:extLst>
          </p:cNvPr>
          <p:cNvSpPr/>
          <p:nvPr userDrawn="1"/>
        </p:nvSpPr>
        <p:spPr>
          <a:xfrm>
            <a:off x="1" y="0"/>
            <a:ext cx="9143999" cy="5143500"/>
          </a:xfrm>
          <a:prstGeom prst="rect">
            <a:avLst/>
          </a:prstGeom>
          <a:solidFill>
            <a:srgbClr val="184696"/>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sz="1800">
              <a:solidFill>
                <a:schemeClr val="accent4"/>
              </a:solidFill>
            </a:endParaRPr>
          </a:p>
        </p:txBody>
      </p:sp>
      <p:pic>
        <p:nvPicPr>
          <p:cNvPr id="25" name="Picture 24" descr="A lighthouse on a hill&#10;&#10;Description automatically generated with medium confidence">
            <a:extLst>
              <a:ext uri="{FF2B5EF4-FFF2-40B4-BE49-F238E27FC236}">
                <a16:creationId xmlns:a16="http://schemas.microsoft.com/office/drawing/2014/main" id="{12F7D06F-B2B1-4115-9BD7-8970AA8904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9" name="Rectangle 18">
            <a:extLst>
              <a:ext uri="{FF2B5EF4-FFF2-40B4-BE49-F238E27FC236}">
                <a16:creationId xmlns:a16="http://schemas.microsoft.com/office/drawing/2014/main" id="{7732B2BC-2A15-4081-A796-78FA66B5FA92}"/>
              </a:ext>
            </a:extLst>
          </p:cNvPr>
          <p:cNvSpPr/>
          <p:nvPr userDrawn="1"/>
        </p:nvSpPr>
        <p:spPr>
          <a:xfrm>
            <a:off x="1" y="1"/>
            <a:ext cx="4838612" cy="5146703"/>
          </a:xfrm>
          <a:prstGeom prst="rect">
            <a:avLst/>
          </a:prstGeom>
          <a:solidFill>
            <a:schemeClr val="tx1">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algn="ctr" fontAlgn="auto">
              <a:spcBef>
                <a:spcPts val="0"/>
              </a:spcBef>
              <a:spcAft>
                <a:spcPts val="0"/>
              </a:spcAft>
            </a:pPr>
            <a:endParaRPr lang="en-US" sz="1800">
              <a:solidFill>
                <a:schemeClr val="accent4"/>
              </a:solidFill>
            </a:endParaRPr>
          </a:p>
        </p:txBody>
      </p:sp>
      <p:sp>
        <p:nvSpPr>
          <p:cNvPr id="20" name="Rectangle 19">
            <a:extLst>
              <a:ext uri="{FF2B5EF4-FFF2-40B4-BE49-F238E27FC236}">
                <a16:creationId xmlns:a16="http://schemas.microsoft.com/office/drawing/2014/main" id="{7A5DC07E-BE56-490F-ACE1-BA9BDF6A16BD}"/>
              </a:ext>
            </a:extLst>
          </p:cNvPr>
          <p:cNvSpPr/>
          <p:nvPr userDrawn="1"/>
        </p:nvSpPr>
        <p:spPr>
          <a:xfrm>
            <a:off x="-88" y="1"/>
            <a:ext cx="4838488" cy="5143499"/>
          </a:xfrm>
          <a:prstGeom prst="rect">
            <a:avLst/>
          </a:prstGeom>
          <a:solidFill>
            <a:schemeClr val="tx2">
              <a:alpha val="51000"/>
            </a:schemeClr>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sp>
        <p:nvSpPr>
          <p:cNvPr id="21" name="Text Placeholder 4">
            <a:extLst>
              <a:ext uri="{FF2B5EF4-FFF2-40B4-BE49-F238E27FC236}">
                <a16:creationId xmlns:a16="http://schemas.microsoft.com/office/drawing/2014/main" id="{972CDEA6-323D-41E5-AD5E-8CEAD4DD55F9}"/>
              </a:ext>
            </a:extLst>
          </p:cNvPr>
          <p:cNvSpPr>
            <a:spLocks noGrp="1"/>
          </p:cNvSpPr>
          <p:nvPr>
            <p:ph type="body" sz="quarter" idx="10" hasCustomPrompt="1"/>
          </p:nvPr>
        </p:nvSpPr>
        <p:spPr>
          <a:xfrm>
            <a:off x="392400" y="1682063"/>
            <a:ext cx="4446000" cy="1320337"/>
          </a:xfrm>
          <a:prstGeom prst="rect">
            <a:avLst/>
          </a:prstGeom>
        </p:spPr>
        <p:txBody>
          <a:bodyPr lIns="0" tIns="0" rIns="0" bIns="0"/>
          <a:lstStyle>
            <a:lvl1pPr marL="0" indent="0">
              <a:buNone/>
              <a:defRPr sz="4000">
                <a:solidFill>
                  <a:schemeClr val="bg1"/>
                </a:solidFill>
                <a:latin typeface="Arial" panose="020B0604020202020204" pitchFamily="34" charset="0"/>
                <a:cs typeface="Arial" panose="020B0604020202020204" pitchFamily="34" charset="0"/>
              </a:defRPr>
            </a:lvl1pPr>
          </a:lstStyle>
          <a:p>
            <a:pPr eaLnBrk="1" hangingPunct="1"/>
            <a:r>
              <a:rPr lang="en-US" noProof="0">
                <a:ea typeface="ヒラギノ角ゴ Pro W3"/>
                <a:cs typeface="ヒラギノ角ゴ Pro W3"/>
              </a:rPr>
              <a:t>Main headline in</a:t>
            </a:r>
            <a:br>
              <a:rPr lang="en-US" noProof="0">
                <a:ea typeface="ヒラギノ角ゴ Pro W3"/>
                <a:cs typeface="ヒラギノ角ゴ Pro W3"/>
              </a:rPr>
            </a:br>
            <a:r>
              <a:rPr lang="en-US" noProof="0">
                <a:ea typeface="ヒラギノ角ゴ Pro W3"/>
                <a:cs typeface="ヒラギノ角ゴ Pro W3"/>
              </a:rPr>
              <a:t>here</a:t>
            </a:r>
          </a:p>
        </p:txBody>
      </p:sp>
      <p:sp>
        <p:nvSpPr>
          <p:cNvPr id="22" name="Content Placeholder 12">
            <a:extLst>
              <a:ext uri="{FF2B5EF4-FFF2-40B4-BE49-F238E27FC236}">
                <a16:creationId xmlns:a16="http://schemas.microsoft.com/office/drawing/2014/main" id="{B97D94C6-1F2F-4556-B4B8-37BF8F5A1A65}"/>
              </a:ext>
            </a:extLst>
          </p:cNvPr>
          <p:cNvSpPr>
            <a:spLocks noGrp="1"/>
          </p:cNvSpPr>
          <p:nvPr>
            <p:ph sz="quarter" idx="13" hasCustomPrompt="1"/>
          </p:nvPr>
        </p:nvSpPr>
        <p:spPr>
          <a:xfrm>
            <a:off x="392400" y="3196800"/>
            <a:ext cx="4446000" cy="1198800"/>
          </a:xfrm>
          <a:prstGeom prst="rect">
            <a:avLst/>
          </a:prstGeom>
        </p:spPr>
        <p:txBody>
          <a:bodyPr lIns="0" tIns="0" rIns="0" bIns="0"/>
          <a:lstStyle>
            <a:lvl1pPr marL="0" indent="0">
              <a:buNone/>
              <a:defRPr sz="1800">
                <a:solidFill>
                  <a:schemeClr val="accent2"/>
                </a:solidFill>
                <a:latin typeface="Arial" panose="020B0604020202020204" pitchFamily="34" charset="0"/>
                <a:cs typeface="Arial" panose="020B0604020202020204" pitchFamily="34" charset="0"/>
              </a:defRPr>
            </a:lvl1pPr>
            <a:lvl2pPr marL="230394" indent="-228594">
              <a:buFont typeface="Arial" panose="020B0604020202020204" pitchFamily="34" charset="0"/>
              <a:buChar char="•"/>
              <a:defRPr sz="1800">
                <a:solidFill>
                  <a:schemeClr val="accent2"/>
                </a:solidFill>
                <a:latin typeface="Arial" panose="020B0604020202020204" pitchFamily="34" charset="0"/>
                <a:cs typeface="Arial" panose="020B0604020202020204" pitchFamily="34" charset="0"/>
              </a:defRPr>
            </a:lvl2pPr>
          </a:lstStyle>
          <a:p>
            <a:pPr lvl="0"/>
            <a:r>
              <a:rPr lang="en-US"/>
              <a:t>Supporting headline in sentence case here </a:t>
            </a:r>
          </a:p>
          <a:p>
            <a:pPr lvl="1"/>
            <a:r>
              <a:rPr lang="en-US"/>
              <a:t>Author/Presenter</a:t>
            </a:r>
          </a:p>
          <a:p>
            <a:pPr lvl="1"/>
            <a:r>
              <a:rPr lang="en-US"/>
              <a:t>DD-MM-YYYY</a:t>
            </a:r>
          </a:p>
        </p:txBody>
      </p:sp>
      <p:sp>
        <p:nvSpPr>
          <p:cNvPr id="9" name="Trapezoid 8">
            <a:extLst>
              <a:ext uri="{FF2B5EF4-FFF2-40B4-BE49-F238E27FC236}">
                <a16:creationId xmlns:a16="http://schemas.microsoft.com/office/drawing/2014/main" id="{7B910D3F-FB60-4675-93E1-D6CC727E3131}"/>
              </a:ext>
            </a:extLst>
          </p:cNvPr>
          <p:cNvSpPr/>
          <p:nvPr userDrawn="1"/>
        </p:nvSpPr>
        <p:spPr>
          <a:xfrm rot="5400000">
            <a:off x="3067653" y="-2670948"/>
            <a:ext cx="1138181" cy="7273487"/>
          </a:xfrm>
          <a:prstGeom prst="trapezoid">
            <a:avLst>
              <a:gd name="adj" fmla="val 42872"/>
            </a:avLst>
          </a:prstGeom>
          <a:solidFill>
            <a:schemeClr val="bg1">
              <a:alpha val="42000"/>
            </a:schemeClr>
          </a:solidFill>
          <a:ln>
            <a:noFill/>
          </a:ln>
          <a:effectLst/>
        </p:spPr>
        <p:style>
          <a:lnRef idx="1">
            <a:schemeClr val="accent1"/>
          </a:lnRef>
          <a:fillRef idx="3">
            <a:schemeClr val="accent1"/>
          </a:fillRef>
          <a:effectRef idx="2">
            <a:schemeClr val="accent1"/>
          </a:effectRef>
          <a:fontRef idx="minor">
            <a:schemeClr val="lt1"/>
          </a:fontRef>
        </p:style>
        <p:txBody>
          <a:bodyPr tIns="67500" bIns="67500" rtlCol="0" anchor="t" anchorCtr="0"/>
          <a:lstStyle/>
          <a:p>
            <a:pPr algn="ctr" fontAlgn="auto">
              <a:spcBef>
                <a:spcPts val="0"/>
              </a:spcBef>
              <a:spcAft>
                <a:spcPts val="0"/>
              </a:spcAft>
            </a:pPr>
            <a:endParaRPr lang="de-DE" sz="1350">
              <a:solidFill>
                <a:schemeClr val="accent4"/>
              </a:solidFill>
            </a:endParaRPr>
          </a:p>
        </p:txBody>
      </p:sp>
      <p:sp>
        <p:nvSpPr>
          <p:cNvPr id="10" name="Trapezoid 9">
            <a:extLst>
              <a:ext uri="{FF2B5EF4-FFF2-40B4-BE49-F238E27FC236}">
                <a16:creationId xmlns:a16="http://schemas.microsoft.com/office/drawing/2014/main" id="{DA108386-BC69-4D2D-9F8D-FE1A79BDA870}"/>
              </a:ext>
            </a:extLst>
          </p:cNvPr>
          <p:cNvSpPr/>
          <p:nvPr userDrawn="1"/>
        </p:nvSpPr>
        <p:spPr>
          <a:xfrm rot="5400000">
            <a:off x="1850109" y="-1453404"/>
            <a:ext cx="1138181" cy="4838399"/>
          </a:xfrm>
          <a:prstGeom prst="trapezoid">
            <a:avLst>
              <a:gd name="adj" fmla="val 2844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67500" bIns="67500" rtlCol="0" anchor="t" anchorCtr="0"/>
          <a:lstStyle/>
          <a:p>
            <a:pPr algn="ctr" fontAlgn="auto">
              <a:spcBef>
                <a:spcPts val="0"/>
              </a:spcBef>
              <a:spcAft>
                <a:spcPts val="0"/>
              </a:spcAft>
            </a:pPr>
            <a:endParaRPr lang="de-DE" sz="1350">
              <a:solidFill>
                <a:schemeClr val="accent4"/>
              </a:solidFill>
            </a:endParaRPr>
          </a:p>
        </p:txBody>
      </p:sp>
      <p:pic>
        <p:nvPicPr>
          <p:cNvPr id="11" name="Picture 2" descr="image">
            <a:extLst>
              <a:ext uri="{FF2B5EF4-FFF2-40B4-BE49-F238E27FC236}">
                <a16:creationId xmlns:a16="http://schemas.microsoft.com/office/drawing/2014/main" id="{543A10A9-567C-4A02-ACE0-9AADA72FD5D9}"/>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25440" y="685355"/>
            <a:ext cx="737654" cy="55569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9A4C4BD-443B-4C8F-B771-7197C9EB0826}"/>
              </a:ext>
            </a:extLst>
          </p:cNvPr>
          <p:cNvSpPr txBox="1"/>
          <p:nvPr userDrawn="1"/>
        </p:nvSpPr>
        <p:spPr>
          <a:xfrm>
            <a:off x="392400" y="685355"/>
            <a:ext cx="2236951" cy="623248"/>
          </a:xfrm>
          <a:prstGeom prst="rect">
            <a:avLst/>
          </a:prstGeom>
          <a:noFill/>
        </p:spPr>
        <p:txBody>
          <a:bodyPr wrap="square" lIns="0" tIns="0" rIns="0" bIns="0" rtlCol="0">
            <a:spAutoFit/>
          </a:bodyPr>
          <a:lstStyle/>
          <a:p>
            <a:r>
              <a:rPr lang="de-DE" sz="4050" b="1"/>
              <a:t>6G-ANNA</a:t>
            </a:r>
            <a:endParaRPr lang="de-DE" sz="4050" b="1">
              <a:latin typeface="+mn-lt"/>
            </a:endParaRPr>
          </a:p>
        </p:txBody>
      </p:sp>
    </p:spTree>
    <p:extLst>
      <p:ext uri="{BB962C8B-B14F-4D97-AF65-F5344CB8AC3E}">
        <p14:creationId xmlns:p14="http://schemas.microsoft.com/office/powerpoint/2010/main" val="97452852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G-ANNA_content">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E20066C-17CE-4D68-AC6C-525F2F6CC8AB}"/>
              </a:ext>
            </a:extLst>
          </p:cNvPr>
          <p:cNvSpPr/>
          <p:nvPr userDrawn="1"/>
        </p:nvSpPr>
        <p:spPr>
          <a:xfrm>
            <a:off x="0" y="0"/>
            <a:ext cx="9144000" cy="5143500"/>
          </a:xfrm>
          <a:prstGeom prst="rect">
            <a:avLst/>
          </a:prstGeom>
          <a:gradFill flip="none" rotWithShape="1">
            <a:gsLst>
              <a:gs pos="0">
                <a:srgbClr val="001135"/>
              </a:gs>
              <a:gs pos="100000">
                <a:schemeClr val="tx1">
                  <a:lumMod val="75000"/>
                </a:schemeClr>
              </a:gs>
            </a:gsLst>
            <a:lin ang="54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pic>
        <p:nvPicPr>
          <p:cNvPr id="9" name="Picture 8" descr="A lighthouse on a hill&#10;&#10;Description automatically generated with medium confidence">
            <a:extLst>
              <a:ext uri="{FF2B5EF4-FFF2-40B4-BE49-F238E27FC236}">
                <a16:creationId xmlns:a16="http://schemas.microsoft.com/office/drawing/2014/main" id="{DFFC9DFD-39FF-43F5-9A26-25659C4CDE6E}"/>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chemeClr val="bg1"/>
                </a:solidFill>
                <a:latin typeface="Arial" panose="020B0604020202020204" pitchFamily="34" charset="0"/>
                <a:cs typeface="Arial" panose="020B0604020202020204" pitchFamily="34" charset="0"/>
              </a:defRPr>
            </a:lvl1pPr>
          </a:lstStyle>
          <a:p>
            <a:pPr lvl="0"/>
            <a:r>
              <a:rPr lang="en-US"/>
              <a:t>Click to edit headline</a:t>
            </a:r>
          </a:p>
        </p:txBody>
      </p:sp>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7744743" cy="309600"/>
          </a:xfrm>
          <a:prstGeom prst="rect">
            <a:avLst/>
          </a:prstGeom>
        </p:spPr>
        <p:txBody>
          <a:bodyPr lIns="0" tIns="0" rIns="0" bIns="0"/>
          <a:lstStyle>
            <a:lvl1pPr marL="0" indent="0">
              <a:buNone/>
              <a:defRPr sz="1600">
                <a:solidFill>
                  <a:schemeClr val="accent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Slide Number Placeholder 5">
            <a:extLst>
              <a:ext uri="{FF2B5EF4-FFF2-40B4-BE49-F238E27FC236}">
                <a16:creationId xmlns:a16="http://schemas.microsoft.com/office/drawing/2014/main" id="{1AE2C9EE-FE67-4C3D-A679-EA8BD8A8FCEF}"/>
              </a:ext>
            </a:extLst>
          </p:cNvPr>
          <p:cNvSpPr txBox="1">
            <a:spLocks/>
          </p:cNvSpPr>
          <p:nvPr userDrawn="1"/>
        </p:nvSpPr>
        <p:spPr>
          <a:xfrm>
            <a:off x="417600" y="4834242"/>
            <a:ext cx="189000" cy="115416"/>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750" smtClean="0">
                <a:solidFill>
                  <a:schemeClr val="bg1"/>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sz="750">
              <a:solidFill>
                <a:schemeClr val="bg1"/>
              </a:solidFill>
              <a:latin typeface="Arial" panose="020B0604020202020204" pitchFamily="34" charset="0"/>
              <a:ea typeface="Nokia Pure Text Light" panose="020B0304040602060303" pitchFamily="34" charset="0"/>
              <a:cs typeface="Arial" panose="020B0604020202020204" pitchFamily="34" charset="0"/>
            </a:endParaRPr>
          </a:p>
        </p:txBody>
      </p:sp>
      <p:pic>
        <p:nvPicPr>
          <p:cNvPr id="14" name="Graphic 13">
            <a:extLst>
              <a:ext uri="{FF2B5EF4-FFF2-40B4-BE49-F238E27FC236}">
                <a16:creationId xmlns:a16="http://schemas.microsoft.com/office/drawing/2014/main" id="{6BD8274C-A5A3-406F-86C5-3A80A21354E2}"/>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32907" y="219646"/>
            <a:ext cx="750691" cy="714509"/>
          </a:xfrm>
          <a:prstGeom prst="rect">
            <a:avLst/>
          </a:prstGeom>
        </p:spPr>
      </p:pic>
    </p:spTree>
    <p:extLst>
      <p:ext uri="{BB962C8B-B14F-4D97-AF65-F5344CB8AC3E}">
        <p14:creationId xmlns:p14="http://schemas.microsoft.com/office/powerpoint/2010/main" val="289317738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6G-ANNA_content_no_subtitl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E20066C-17CE-4D68-AC6C-525F2F6CC8AB}"/>
              </a:ext>
            </a:extLst>
          </p:cNvPr>
          <p:cNvSpPr/>
          <p:nvPr userDrawn="1"/>
        </p:nvSpPr>
        <p:spPr>
          <a:xfrm>
            <a:off x="0" y="0"/>
            <a:ext cx="9144000" cy="5143500"/>
          </a:xfrm>
          <a:prstGeom prst="rect">
            <a:avLst/>
          </a:prstGeom>
          <a:gradFill flip="none" rotWithShape="1">
            <a:gsLst>
              <a:gs pos="0">
                <a:srgbClr val="001135"/>
              </a:gs>
              <a:gs pos="100000">
                <a:schemeClr val="tx1">
                  <a:lumMod val="75000"/>
                </a:schemeClr>
              </a:gs>
            </a:gsLst>
            <a:lin ang="54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pic>
        <p:nvPicPr>
          <p:cNvPr id="9" name="Picture 8" descr="A lighthouse on a hill&#10;&#10;Description automatically generated with medium confidence">
            <a:extLst>
              <a:ext uri="{FF2B5EF4-FFF2-40B4-BE49-F238E27FC236}">
                <a16:creationId xmlns:a16="http://schemas.microsoft.com/office/drawing/2014/main" id="{DFFC9DFD-39FF-43F5-9A26-25659C4CDE6E}"/>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chemeClr val="accent2"/>
                </a:solidFill>
                <a:latin typeface="Arial" panose="020B0604020202020204" pitchFamily="34" charset="0"/>
                <a:cs typeface="Arial" panose="020B0604020202020204" pitchFamily="34" charset="0"/>
              </a:defRPr>
            </a:lvl1pPr>
          </a:lstStyle>
          <a:p>
            <a:pPr lvl="0"/>
            <a:r>
              <a:rPr lang="en-US"/>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Slide Number Placeholder 5">
            <a:extLst>
              <a:ext uri="{FF2B5EF4-FFF2-40B4-BE49-F238E27FC236}">
                <a16:creationId xmlns:a16="http://schemas.microsoft.com/office/drawing/2014/main" id="{1AE2C9EE-FE67-4C3D-A679-EA8BD8A8FCEF}"/>
              </a:ext>
            </a:extLst>
          </p:cNvPr>
          <p:cNvSpPr txBox="1">
            <a:spLocks/>
          </p:cNvSpPr>
          <p:nvPr userDrawn="1"/>
        </p:nvSpPr>
        <p:spPr>
          <a:xfrm>
            <a:off x="417600" y="4834242"/>
            <a:ext cx="189000" cy="115416"/>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750" smtClean="0">
                <a:solidFill>
                  <a:schemeClr val="bg1"/>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sz="750">
              <a:solidFill>
                <a:schemeClr val="bg1"/>
              </a:solidFill>
              <a:latin typeface="Arial" panose="020B0604020202020204" pitchFamily="34" charset="0"/>
              <a:ea typeface="Nokia Pure Text Light" panose="020B0304040602060303" pitchFamily="34" charset="0"/>
              <a:cs typeface="Arial" panose="020B0604020202020204" pitchFamily="34" charset="0"/>
            </a:endParaRPr>
          </a:p>
        </p:txBody>
      </p:sp>
      <p:sp>
        <p:nvSpPr>
          <p:cNvPr id="90" name="Text Placeholder 89">
            <a:extLst>
              <a:ext uri="{FF2B5EF4-FFF2-40B4-BE49-F238E27FC236}">
                <a16:creationId xmlns:a16="http://schemas.microsoft.com/office/drawing/2014/main" id="{3404D03B-1C32-41DC-B291-7F1C3797A576}"/>
              </a:ext>
            </a:extLst>
          </p:cNvPr>
          <p:cNvSpPr>
            <a:spLocks noGrp="1"/>
          </p:cNvSpPr>
          <p:nvPr>
            <p:ph type="body" sz="quarter" idx="14" hasCustomPrompt="1"/>
          </p:nvPr>
        </p:nvSpPr>
        <p:spPr>
          <a:xfrm>
            <a:off x="2389916" y="4827321"/>
            <a:ext cx="4364169" cy="129259"/>
          </a:xfrm>
          <a:prstGeom prst="rect">
            <a:avLst/>
          </a:prstGeom>
        </p:spPr>
        <p:txBody>
          <a:bodyPr anchor="ctr"/>
          <a:lstStyle>
            <a:lvl1pPr marL="0" indent="0" algn="ctr">
              <a:buNone/>
              <a:defRPr sz="750">
                <a:latin typeface="Arial" panose="020B0604020202020204" pitchFamily="34" charset="0"/>
                <a:cs typeface="Arial" panose="020B0604020202020204" pitchFamily="34" charset="0"/>
              </a:defRPr>
            </a:lvl1pPr>
          </a:lstStyle>
          <a:p>
            <a:pPr lvl="0"/>
            <a:r>
              <a:rPr lang="en-US"/>
              <a:t>Footer</a:t>
            </a:r>
          </a:p>
        </p:txBody>
      </p:sp>
      <p:pic>
        <p:nvPicPr>
          <p:cNvPr id="15" name="Graphic 14">
            <a:extLst>
              <a:ext uri="{FF2B5EF4-FFF2-40B4-BE49-F238E27FC236}">
                <a16:creationId xmlns:a16="http://schemas.microsoft.com/office/drawing/2014/main" id="{DC80AC35-0E65-4671-994B-AFBEC9E7BBB8}"/>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32907" y="219646"/>
            <a:ext cx="750691" cy="714509"/>
          </a:xfrm>
          <a:prstGeom prst="rect">
            <a:avLst/>
          </a:prstGeom>
        </p:spPr>
      </p:pic>
    </p:spTree>
    <p:extLst>
      <p:ext uri="{BB962C8B-B14F-4D97-AF65-F5344CB8AC3E}">
        <p14:creationId xmlns:p14="http://schemas.microsoft.com/office/powerpoint/2010/main" val="88365075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6G-ANNA_white_content_no_lighthouse">
    <p:bg>
      <p:bgPr>
        <a:solidFill>
          <a:schemeClr val="bg1"/>
        </a:solidFill>
        <a:effectLst/>
      </p:bgPr>
    </p:bg>
    <p:spTree>
      <p:nvGrpSpPr>
        <p:cNvPr id="1" name=""/>
        <p:cNvGrpSpPr/>
        <p:nvPr/>
      </p:nvGrpSpPr>
      <p:grpSpPr>
        <a:xfrm>
          <a:off x="0" y="0"/>
          <a:ext cx="0" cy="0"/>
          <a:chOff x="0" y="0"/>
          <a:chExt cx="0" cy="0"/>
        </a:xfrm>
      </p:grpSpPr>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rgbClr val="001135"/>
                </a:solidFill>
                <a:latin typeface="Arial" panose="020B0604020202020204" pitchFamily="34" charset="0"/>
                <a:cs typeface="Arial" panose="020B0604020202020204" pitchFamily="34" charset="0"/>
              </a:defRPr>
            </a:lvl1pPr>
          </a:lstStyle>
          <a:p>
            <a:pPr lvl="0"/>
            <a:r>
              <a:rPr lang="en-US"/>
              <a:t>Click to edit headline</a:t>
            </a:r>
          </a:p>
        </p:txBody>
      </p:sp>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7744743" cy="309600"/>
          </a:xfrm>
          <a:prstGeom prst="rect">
            <a:avLst/>
          </a:prstGeom>
        </p:spPr>
        <p:txBody>
          <a:bodyPr lIns="0" tIns="0" rIns="0" bIns="0"/>
          <a:lstStyle>
            <a:lvl1pPr marL="0" indent="0">
              <a:buNone/>
              <a:defRPr sz="1600">
                <a:solidFill>
                  <a:schemeClr val="accent1"/>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Slide Number Placeholder 5">
            <a:extLst>
              <a:ext uri="{FF2B5EF4-FFF2-40B4-BE49-F238E27FC236}">
                <a16:creationId xmlns:a16="http://schemas.microsoft.com/office/drawing/2014/main" id="{1AE2C9EE-FE67-4C3D-A679-EA8BD8A8FCEF}"/>
              </a:ext>
            </a:extLst>
          </p:cNvPr>
          <p:cNvSpPr txBox="1">
            <a:spLocks/>
          </p:cNvSpPr>
          <p:nvPr userDrawn="1"/>
        </p:nvSpPr>
        <p:spPr>
          <a:xfrm>
            <a:off x="417600" y="4834242"/>
            <a:ext cx="189000" cy="115416"/>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750" smtClean="0">
                <a:solidFill>
                  <a:srgbClr val="0E316D"/>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sz="750">
              <a:solidFill>
                <a:srgbClr val="0E316D"/>
              </a:solidFill>
              <a:latin typeface="Arial" panose="020B0604020202020204" pitchFamily="34" charset="0"/>
              <a:ea typeface="Nokia Pure Text Light" panose="020B0304040602060303" pitchFamily="34" charset="0"/>
              <a:cs typeface="Arial" panose="020B0604020202020204" pitchFamily="34" charset="0"/>
            </a:endParaRPr>
          </a:p>
        </p:txBody>
      </p:sp>
      <p:sp>
        <p:nvSpPr>
          <p:cNvPr id="90" name="Text Placeholder 89">
            <a:extLst>
              <a:ext uri="{FF2B5EF4-FFF2-40B4-BE49-F238E27FC236}">
                <a16:creationId xmlns:a16="http://schemas.microsoft.com/office/drawing/2014/main" id="{3404D03B-1C32-41DC-B291-7F1C3797A576}"/>
              </a:ext>
            </a:extLst>
          </p:cNvPr>
          <p:cNvSpPr>
            <a:spLocks noGrp="1"/>
          </p:cNvSpPr>
          <p:nvPr>
            <p:ph type="body" sz="quarter" idx="14" hasCustomPrompt="1"/>
          </p:nvPr>
        </p:nvSpPr>
        <p:spPr>
          <a:xfrm>
            <a:off x="2389916" y="4827321"/>
            <a:ext cx="4364169" cy="129259"/>
          </a:xfrm>
          <a:prstGeom prst="rect">
            <a:avLst/>
          </a:prstGeom>
        </p:spPr>
        <p:txBody>
          <a:bodyPr anchor="ctr"/>
          <a:lstStyle>
            <a:lvl1pPr marL="0" indent="0" algn="ctr">
              <a:buNone/>
              <a:defRPr sz="750">
                <a:solidFill>
                  <a:srgbClr val="0E316D"/>
                </a:solidFill>
                <a:latin typeface="Arial" panose="020B0604020202020204" pitchFamily="34" charset="0"/>
                <a:cs typeface="Arial" panose="020B0604020202020204" pitchFamily="34" charset="0"/>
              </a:defRPr>
            </a:lvl1pPr>
          </a:lstStyle>
          <a:p>
            <a:pPr lvl="0"/>
            <a:r>
              <a:rPr lang="en-US"/>
              <a:t>Footer</a:t>
            </a:r>
          </a:p>
        </p:txBody>
      </p:sp>
      <p:pic>
        <p:nvPicPr>
          <p:cNvPr id="16" name="Graphic 15">
            <a:extLst>
              <a:ext uri="{FF2B5EF4-FFF2-40B4-BE49-F238E27FC236}">
                <a16:creationId xmlns:a16="http://schemas.microsoft.com/office/drawing/2014/main" id="{9A0A9675-48F6-4381-BA5D-482EFDCFAA5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132907" y="219646"/>
            <a:ext cx="750691" cy="714509"/>
          </a:xfrm>
          <a:prstGeom prst="rect">
            <a:avLst/>
          </a:prstGeom>
        </p:spPr>
      </p:pic>
    </p:spTree>
    <p:extLst>
      <p:ext uri="{BB962C8B-B14F-4D97-AF65-F5344CB8AC3E}">
        <p14:creationId xmlns:p14="http://schemas.microsoft.com/office/powerpoint/2010/main" val="319854501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G-ANNA_content_no_lighthous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E20066C-17CE-4D68-AC6C-525F2F6CC8AB}"/>
              </a:ext>
            </a:extLst>
          </p:cNvPr>
          <p:cNvSpPr/>
          <p:nvPr userDrawn="1"/>
        </p:nvSpPr>
        <p:spPr>
          <a:xfrm>
            <a:off x="0" y="0"/>
            <a:ext cx="9144000" cy="5143500"/>
          </a:xfrm>
          <a:prstGeom prst="rect">
            <a:avLst/>
          </a:prstGeom>
          <a:gradFill flip="none" rotWithShape="1">
            <a:gsLst>
              <a:gs pos="0">
                <a:srgbClr val="001135">
                  <a:lumMod val="100000"/>
                </a:srgbClr>
              </a:gs>
              <a:gs pos="100000">
                <a:schemeClr val="tx1">
                  <a:lumMod val="75000"/>
                </a:schemeClr>
              </a:gs>
            </a:gsLst>
            <a:lin ang="54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pic>
        <p:nvPicPr>
          <p:cNvPr id="14" name="Picture 13" descr="A lighthouse on a hill&#10;&#10;Description automatically generated with medium confidence">
            <a:extLst>
              <a:ext uri="{FF2B5EF4-FFF2-40B4-BE49-F238E27FC236}">
                <a16:creationId xmlns:a16="http://schemas.microsoft.com/office/drawing/2014/main" id="{E7EA90B5-DE0E-450A-A3B6-52825660441B}"/>
              </a:ext>
            </a:extLst>
          </p:cNvPr>
          <p:cNvPicPr>
            <a:picLocks noChangeAspect="1"/>
          </p:cNvPicPr>
          <p:nvPr userDrawn="1"/>
        </p:nvPicPr>
        <p:blipFill rotWithShape="1">
          <a:blip r:embed="rId2" cstate="print">
            <a:alphaModFix amt="21000"/>
            <a:extLst>
              <a:ext uri="{28A0092B-C50C-407E-A947-70E740481C1C}">
                <a14:useLocalDpi xmlns:a14="http://schemas.microsoft.com/office/drawing/2010/main" val="0"/>
              </a:ext>
            </a:extLst>
          </a:blip>
          <a:srcRect/>
          <a:stretch/>
        </p:blipFill>
        <p:spPr>
          <a:xfrm>
            <a:off x="0" y="1"/>
            <a:ext cx="9144000" cy="5143500"/>
          </a:xfrm>
          <a:prstGeom prst="rect">
            <a:avLst/>
          </a:prstGeom>
        </p:spPr>
      </p:pic>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chemeClr val="bg1"/>
                </a:solidFill>
                <a:latin typeface="Arial" panose="020B0604020202020204" pitchFamily="34" charset="0"/>
                <a:cs typeface="Arial" panose="020B0604020202020204" pitchFamily="34" charset="0"/>
              </a:defRPr>
            </a:lvl1pPr>
          </a:lstStyle>
          <a:p>
            <a:pPr lvl="0"/>
            <a:r>
              <a:rPr lang="en-US"/>
              <a:t>Click to edit headline</a:t>
            </a:r>
          </a:p>
        </p:txBody>
      </p:sp>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7744743" cy="309600"/>
          </a:xfrm>
          <a:prstGeom prst="rect">
            <a:avLst/>
          </a:prstGeom>
        </p:spPr>
        <p:txBody>
          <a:bodyPr lIns="0" tIns="0" rIns="0" bIns="0"/>
          <a:lstStyle>
            <a:lvl1pPr marL="0" indent="0">
              <a:buNone/>
              <a:defRPr sz="1600">
                <a:solidFill>
                  <a:schemeClr val="accent2"/>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Slide Number Placeholder 5">
            <a:extLst>
              <a:ext uri="{FF2B5EF4-FFF2-40B4-BE49-F238E27FC236}">
                <a16:creationId xmlns:a16="http://schemas.microsoft.com/office/drawing/2014/main" id="{1AE2C9EE-FE67-4C3D-A679-EA8BD8A8FCEF}"/>
              </a:ext>
            </a:extLst>
          </p:cNvPr>
          <p:cNvSpPr txBox="1">
            <a:spLocks/>
          </p:cNvSpPr>
          <p:nvPr userDrawn="1"/>
        </p:nvSpPr>
        <p:spPr>
          <a:xfrm>
            <a:off x="417600" y="4834242"/>
            <a:ext cx="189000" cy="115416"/>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750" smtClean="0">
                <a:solidFill>
                  <a:schemeClr val="bg1"/>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sz="750">
              <a:solidFill>
                <a:schemeClr val="bg1"/>
              </a:solidFill>
              <a:latin typeface="Arial" panose="020B0604020202020204" pitchFamily="34" charset="0"/>
              <a:ea typeface="Nokia Pure Text Light" panose="020B0304040602060303" pitchFamily="34" charset="0"/>
              <a:cs typeface="Arial" panose="020B0604020202020204" pitchFamily="34" charset="0"/>
            </a:endParaRPr>
          </a:p>
        </p:txBody>
      </p:sp>
      <p:sp>
        <p:nvSpPr>
          <p:cNvPr id="90" name="Text Placeholder 89">
            <a:extLst>
              <a:ext uri="{FF2B5EF4-FFF2-40B4-BE49-F238E27FC236}">
                <a16:creationId xmlns:a16="http://schemas.microsoft.com/office/drawing/2014/main" id="{3404D03B-1C32-41DC-B291-7F1C3797A576}"/>
              </a:ext>
            </a:extLst>
          </p:cNvPr>
          <p:cNvSpPr>
            <a:spLocks noGrp="1"/>
          </p:cNvSpPr>
          <p:nvPr>
            <p:ph type="body" sz="quarter" idx="14" hasCustomPrompt="1"/>
          </p:nvPr>
        </p:nvSpPr>
        <p:spPr>
          <a:xfrm>
            <a:off x="2389916" y="4827321"/>
            <a:ext cx="4364169" cy="129259"/>
          </a:xfrm>
          <a:prstGeom prst="rect">
            <a:avLst/>
          </a:prstGeom>
        </p:spPr>
        <p:txBody>
          <a:bodyPr anchor="ctr"/>
          <a:lstStyle>
            <a:lvl1pPr marL="0" indent="0" algn="ctr">
              <a:buNone/>
              <a:defRPr sz="750">
                <a:latin typeface="Arial" panose="020B0604020202020204" pitchFamily="34" charset="0"/>
                <a:cs typeface="Arial" panose="020B0604020202020204" pitchFamily="34" charset="0"/>
              </a:defRPr>
            </a:lvl1pPr>
          </a:lstStyle>
          <a:p>
            <a:pPr lvl="0"/>
            <a:r>
              <a:rPr lang="en-US"/>
              <a:t>Footer</a:t>
            </a:r>
          </a:p>
        </p:txBody>
      </p:sp>
      <p:pic>
        <p:nvPicPr>
          <p:cNvPr id="16" name="Graphic 15">
            <a:extLst>
              <a:ext uri="{FF2B5EF4-FFF2-40B4-BE49-F238E27FC236}">
                <a16:creationId xmlns:a16="http://schemas.microsoft.com/office/drawing/2014/main" id="{93F8FADE-8FF5-489C-A99B-D83361F11EC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32907" y="219646"/>
            <a:ext cx="750691" cy="714509"/>
          </a:xfrm>
          <a:prstGeom prst="rect">
            <a:avLst/>
          </a:prstGeom>
        </p:spPr>
      </p:pic>
    </p:spTree>
    <p:extLst>
      <p:ext uri="{BB962C8B-B14F-4D97-AF65-F5344CB8AC3E}">
        <p14:creationId xmlns:p14="http://schemas.microsoft.com/office/powerpoint/2010/main" val="2759487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1.2 Title">
    <p:bg>
      <p:bgPr>
        <a:solidFill>
          <a:schemeClr val="tx2"/>
        </a:solidFill>
        <a:effectLst/>
      </p:bgPr>
    </p:bg>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BA013C72-05A6-BC67-924F-AD55DE815D0C}"/>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168674685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6G-ANNA_content_no_lighthouse_no_subtitle">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E20066C-17CE-4D68-AC6C-525F2F6CC8AB}"/>
              </a:ext>
            </a:extLst>
          </p:cNvPr>
          <p:cNvSpPr/>
          <p:nvPr userDrawn="1"/>
        </p:nvSpPr>
        <p:spPr>
          <a:xfrm>
            <a:off x="0" y="0"/>
            <a:ext cx="9144000" cy="5143500"/>
          </a:xfrm>
          <a:prstGeom prst="rect">
            <a:avLst/>
          </a:prstGeom>
          <a:gradFill flip="none" rotWithShape="1">
            <a:gsLst>
              <a:gs pos="0">
                <a:srgbClr val="001135">
                  <a:lumMod val="100000"/>
                </a:srgbClr>
              </a:gs>
              <a:gs pos="100000">
                <a:schemeClr val="tx1">
                  <a:lumMod val="75000"/>
                </a:schemeClr>
              </a:gs>
            </a:gsLst>
            <a:lin ang="54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pic>
        <p:nvPicPr>
          <p:cNvPr id="14" name="Picture 13" descr="A lighthouse on a hill&#10;&#10;Description automatically generated with medium confidence">
            <a:extLst>
              <a:ext uri="{FF2B5EF4-FFF2-40B4-BE49-F238E27FC236}">
                <a16:creationId xmlns:a16="http://schemas.microsoft.com/office/drawing/2014/main" id="{E7EA90B5-DE0E-450A-A3B6-52825660441B}"/>
              </a:ext>
            </a:extLst>
          </p:cNvPr>
          <p:cNvPicPr>
            <a:picLocks noChangeAspect="1"/>
          </p:cNvPicPr>
          <p:nvPr userDrawn="1"/>
        </p:nvPicPr>
        <p:blipFill rotWithShape="1">
          <a:blip r:embed="rId2" cstate="print">
            <a:alphaModFix amt="21000"/>
            <a:extLst>
              <a:ext uri="{28A0092B-C50C-407E-A947-70E740481C1C}">
                <a14:useLocalDpi xmlns:a14="http://schemas.microsoft.com/office/drawing/2010/main" val="0"/>
              </a:ext>
            </a:extLst>
          </a:blip>
          <a:srcRect/>
          <a:stretch/>
        </p:blipFill>
        <p:spPr>
          <a:xfrm>
            <a:off x="0" y="1"/>
            <a:ext cx="9144000" cy="5143500"/>
          </a:xfrm>
          <a:prstGeom prst="rect">
            <a:avLst/>
          </a:prstGeom>
        </p:spPr>
      </p:pic>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chemeClr val="accent2"/>
                </a:solidFill>
                <a:latin typeface="Arial" panose="020B0604020202020204" pitchFamily="34" charset="0"/>
                <a:cs typeface="Arial" panose="020B0604020202020204" pitchFamily="34" charset="0"/>
              </a:defRPr>
            </a:lvl1pPr>
          </a:lstStyle>
          <a:p>
            <a:pPr lvl="0"/>
            <a:r>
              <a:rPr lang="en-US"/>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7" name="Slide Number Placeholder 5">
            <a:extLst>
              <a:ext uri="{FF2B5EF4-FFF2-40B4-BE49-F238E27FC236}">
                <a16:creationId xmlns:a16="http://schemas.microsoft.com/office/drawing/2014/main" id="{1AE2C9EE-FE67-4C3D-A679-EA8BD8A8FCEF}"/>
              </a:ext>
            </a:extLst>
          </p:cNvPr>
          <p:cNvSpPr txBox="1">
            <a:spLocks/>
          </p:cNvSpPr>
          <p:nvPr userDrawn="1"/>
        </p:nvSpPr>
        <p:spPr>
          <a:xfrm>
            <a:off x="417600" y="4834242"/>
            <a:ext cx="189000" cy="115416"/>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750" smtClean="0">
                <a:solidFill>
                  <a:schemeClr val="bg1"/>
                </a:solidFill>
                <a:latin typeface="Arial" panose="020B0604020202020204" pitchFamily="34" charset="0"/>
                <a:ea typeface="Nokia Pure Text Light" panose="020B0304040602060303" pitchFamily="34" charset="0"/>
                <a:cs typeface="Arial" panose="020B0604020202020204" pitchFamily="34" charset="0"/>
              </a:rPr>
              <a:pPr>
                <a:defRPr/>
              </a:pPr>
              <a:t>‹#›</a:t>
            </a:fld>
            <a:endParaRPr lang="en-US" sz="750">
              <a:solidFill>
                <a:schemeClr val="bg1"/>
              </a:solidFill>
              <a:latin typeface="Arial" panose="020B0604020202020204" pitchFamily="34" charset="0"/>
              <a:ea typeface="Nokia Pure Text Light" panose="020B0304040602060303" pitchFamily="34" charset="0"/>
              <a:cs typeface="Arial" panose="020B0604020202020204" pitchFamily="34" charset="0"/>
            </a:endParaRPr>
          </a:p>
        </p:txBody>
      </p:sp>
      <p:sp>
        <p:nvSpPr>
          <p:cNvPr id="90" name="Text Placeholder 89">
            <a:extLst>
              <a:ext uri="{FF2B5EF4-FFF2-40B4-BE49-F238E27FC236}">
                <a16:creationId xmlns:a16="http://schemas.microsoft.com/office/drawing/2014/main" id="{3404D03B-1C32-41DC-B291-7F1C3797A576}"/>
              </a:ext>
            </a:extLst>
          </p:cNvPr>
          <p:cNvSpPr>
            <a:spLocks noGrp="1"/>
          </p:cNvSpPr>
          <p:nvPr>
            <p:ph type="body" sz="quarter" idx="14" hasCustomPrompt="1"/>
          </p:nvPr>
        </p:nvSpPr>
        <p:spPr>
          <a:xfrm>
            <a:off x="2389916" y="4827321"/>
            <a:ext cx="4364169" cy="129259"/>
          </a:xfrm>
          <a:prstGeom prst="rect">
            <a:avLst/>
          </a:prstGeom>
        </p:spPr>
        <p:txBody>
          <a:bodyPr anchor="ctr"/>
          <a:lstStyle>
            <a:lvl1pPr marL="0" indent="0" algn="ctr">
              <a:buNone/>
              <a:defRPr sz="750">
                <a:latin typeface="Arial" panose="020B0604020202020204" pitchFamily="34" charset="0"/>
                <a:cs typeface="Arial" panose="020B0604020202020204" pitchFamily="34" charset="0"/>
              </a:defRPr>
            </a:lvl1pPr>
          </a:lstStyle>
          <a:p>
            <a:pPr lvl="0"/>
            <a:r>
              <a:rPr lang="en-US"/>
              <a:t>Footer</a:t>
            </a:r>
          </a:p>
        </p:txBody>
      </p:sp>
      <p:pic>
        <p:nvPicPr>
          <p:cNvPr id="10" name="Graphic 9">
            <a:extLst>
              <a:ext uri="{FF2B5EF4-FFF2-40B4-BE49-F238E27FC236}">
                <a16:creationId xmlns:a16="http://schemas.microsoft.com/office/drawing/2014/main" id="{4BFBCF68-9639-4F83-A118-6BCB5F3351CA}"/>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32907" y="219646"/>
            <a:ext cx="750691" cy="714509"/>
          </a:xfrm>
          <a:prstGeom prst="rect">
            <a:avLst/>
          </a:prstGeom>
        </p:spPr>
      </p:pic>
    </p:spTree>
    <p:extLst>
      <p:ext uri="{BB962C8B-B14F-4D97-AF65-F5344CB8AC3E}">
        <p14:creationId xmlns:p14="http://schemas.microsoft.com/office/powerpoint/2010/main" val="47463021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_6G-ANNA_content">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E20066C-17CE-4D68-AC6C-525F2F6CC8AB}"/>
              </a:ext>
            </a:extLst>
          </p:cNvPr>
          <p:cNvSpPr/>
          <p:nvPr userDrawn="1"/>
        </p:nvSpPr>
        <p:spPr>
          <a:xfrm>
            <a:off x="0" y="0"/>
            <a:ext cx="9144000" cy="5143500"/>
          </a:xfrm>
          <a:prstGeom prst="rect">
            <a:avLst/>
          </a:prstGeom>
          <a:gradFill flip="none" rotWithShape="1">
            <a:gsLst>
              <a:gs pos="0">
                <a:srgbClr val="001135"/>
              </a:gs>
              <a:gs pos="100000">
                <a:schemeClr val="tx1">
                  <a:lumMod val="75000"/>
                </a:schemeClr>
              </a:gs>
            </a:gsLst>
            <a:lin ang="5400000" scaled="1"/>
            <a:tileRect/>
          </a:gra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a:solidFill>
                <a:schemeClr val="bg1"/>
              </a:solidFill>
              <a:latin typeface="Nokia Pure Text Light" panose="020B0403020202020204" pitchFamily="34" charset="0"/>
              <a:ea typeface="Nokia Pure Text Light" panose="020B0403020202020204" pitchFamily="34" charset="0"/>
            </a:endParaRPr>
          </a:p>
        </p:txBody>
      </p:sp>
      <p:pic>
        <p:nvPicPr>
          <p:cNvPr id="9" name="Picture 8" descr="A lighthouse on a hill&#10;&#10;Description automatically generated with medium confidence">
            <a:extLst>
              <a:ext uri="{FF2B5EF4-FFF2-40B4-BE49-F238E27FC236}">
                <a16:creationId xmlns:a16="http://schemas.microsoft.com/office/drawing/2014/main" id="{DFFC9DFD-39FF-43F5-9A26-25659C4CDE6E}"/>
              </a:ext>
            </a:extLst>
          </p:cNvPr>
          <p:cNvPicPr>
            <a:picLocks noChangeAspect="1"/>
          </p:cNvPicPr>
          <p:nvPr userDrawn="1"/>
        </p:nvPicPr>
        <p:blipFill>
          <a:blip r:embed="rId2">
            <a:alphaModFix amt="25000"/>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7744743" cy="309600"/>
          </a:xfrm>
          <a:prstGeom prst="rect">
            <a:avLst/>
          </a:prstGeom>
        </p:spPr>
        <p:txBody>
          <a:bodyPr lIns="0" tIns="0" rIns="0" bIns="0"/>
          <a:lstStyle>
            <a:lvl1pPr marL="0" indent="0">
              <a:buNone/>
              <a:defRPr sz="2000" baseline="0">
                <a:solidFill>
                  <a:schemeClr val="bg1"/>
                </a:solidFill>
                <a:latin typeface="Arial" panose="020B0604020202020204" pitchFamily="34" charset="0"/>
                <a:cs typeface="Arial" panose="020B0604020202020204" pitchFamily="34" charset="0"/>
              </a:defRPr>
            </a:lvl1pPr>
          </a:lstStyle>
          <a:p>
            <a:pPr lvl="0"/>
            <a:r>
              <a:rPr lang="en-US"/>
              <a:t>Click to edit headline</a:t>
            </a:r>
          </a:p>
        </p:txBody>
      </p:sp>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7744743" cy="309600"/>
          </a:xfrm>
          <a:prstGeom prst="rect">
            <a:avLst/>
          </a:prstGeom>
        </p:spPr>
        <p:txBody>
          <a:bodyPr lIns="0" tIns="0" rIns="0" bIns="0"/>
          <a:lstStyle>
            <a:lvl1pPr marL="0" indent="0">
              <a:buNone/>
              <a:defRPr sz="1600">
                <a:solidFill>
                  <a:schemeClr val="accent3">
                    <a:lumMod val="60000"/>
                    <a:lumOff val="40000"/>
                  </a:schemeClr>
                </a:solidFill>
                <a:latin typeface="Arial" panose="020B0604020202020204" pitchFamily="34" charset="0"/>
                <a:cs typeface="Arial" panose="020B06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a:t>Click to edit secondary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Arial" panose="020B0604020202020204" pitchFamily="34" charset="0"/>
                <a:ea typeface="Nokia Pure Text Light" panose="020B0403020202020204" pitchFamily="34" charset="0"/>
                <a:cs typeface="Arial" panose="020B0604020202020204" pitchFamily="34" charset="0"/>
              </a:defRPr>
            </a:lvl1pPr>
            <a:lvl2pPr marL="230394" indent="0">
              <a:spcBef>
                <a:spcPts val="0"/>
              </a:spcBef>
              <a:spcAft>
                <a:spcPts val="600"/>
              </a:spcAft>
              <a:buNone/>
              <a:defRPr sz="1400">
                <a:solidFill>
                  <a:schemeClr val="bg1"/>
                </a:solidFill>
                <a:latin typeface="Arial" panose="020B0604020202020204" pitchFamily="34" charset="0"/>
                <a:ea typeface="Nokia Pure Text Light" panose="020B0403020202020204" pitchFamily="34" charset="0"/>
                <a:cs typeface="Arial" panose="020B0604020202020204" pitchFamily="34" charset="0"/>
              </a:defRPr>
            </a:lvl2pPr>
            <a:lvl3pPr marL="462589" indent="0">
              <a:spcBef>
                <a:spcPts val="0"/>
              </a:spcBef>
              <a:spcAft>
                <a:spcPts val="600"/>
              </a:spcAft>
              <a:buNone/>
              <a:defRPr sz="1200">
                <a:solidFill>
                  <a:schemeClr val="bg1"/>
                </a:solidFill>
                <a:latin typeface="Arial" panose="020B0604020202020204" pitchFamily="34" charset="0"/>
                <a:ea typeface="Nokia Pure Text Light" panose="020B0403020202020204" pitchFamily="34" charset="0"/>
                <a:cs typeface="Arial" panose="020B0604020202020204" pitchFamily="34" charset="0"/>
              </a:defRPr>
            </a:lvl3pPr>
            <a:lvl4pPr marL="692983" indent="0">
              <a:spcBef>
                <a:spcPts val="0"/>
              </a:spcBef>
              <a:spcAft>
                <a:spcPts val="600"/>
              </a:spcAft>
              <a:buNone/>
              <a:defRPr sz="1000">
                <a:solidFill>
                  <a:schemeClr val="bg1"/>
                </a:solidFill>
                <a:latin typeface="Arial" panose="020B0604020202020204" pitchFamily="34" charset="0"/>
                <a:ea typeface="Nokia Pure Text Light" panose="020B0403020202020204" pitchFamily="34" charset="0"/>
                <a:cs typeface="Arial" panose="020B0604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Arial" panose="020B0604020202020204" pitchFamily="34" charset="0"/>
                <a:ea typeface="Nokia Pure Text Light" panose="020B0403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Logo&#10;&#10;Description automatically generated">
            <a:extLst>
              <a:ext uri="{FF2B5EF4-FFF2-40B4-BE49-F238E27FC236}">
                <a16:creationId xmlns:a16="http://schemas.microsoft.com/office/drawing/2014/main" id="{C3ED6BF6-89EE-49C6-AA99-1B3FEA541D9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66900" y="294300"/>
            <a:ext cx="636280" cy="605700"/>
          </a:xfrm>
          <a:prstGeom prst="rect">
            <a:avLst/>
          </a:prstGeom>
        </p:spPr>
      </p:pic>
    </p:spTree>
    <p:extLst>
      <p:ext uri="{BB962C8B-B14F-4D97-AF65-F5344CB8AC3E}">
        <p14:creationId xmlns:p14="http://schemas.microsoft.com/office/powerpoint/2010/main" val="3865516966"/>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1.6 Half imag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BC98A014-7BCB-58F3-B1D1-D4FD8EC7EB8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00F343F-6D93-CB75-9580-B22F74F2267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9C790EE6-1AD1-02A2-97B8-A6005C99629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7AA931E6-4B7F-669F-C445-1B4D50411BE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195009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2" name="Footer Placeholder 2">
            <a:extLst>
              <a:ext uri="{FF2B5EF4-FFF2-40B4-BE49-F238E27FC236}">
                <a16:creationId xmlns:a16="http://schemas.microsoft.com/office/drawing/2014/main" id="{D1E6C875-6A56-ECD4-AA48-0284B4A6530D}"/>
              </a:ext>
            </a:extLst>
          </p:cNvPr>
          <p:cNvSpPr>
            <a:spLocks noGrp="1"/>
          </p:cNvSpPr>
          <p:nvPr>
            <p:ph type="ftr" sz="quarter" idx="3"/>
          </p:nvPr>
        </p:nvSpPr>
        <p:spPr>
          <a:xfrm>
            <a:off x="1504610" y="4873695"/>
            <a:ext cx="288000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9058EB71-1D91-BEB8-274C-75E76F9ED6FF}"/>
              </a:ext>
            </a:extLst>
          </p:cNvPr>
          <p:cNvSpPr txBox="1"/>
          <p:nvPr userDrawn="1"/>
        </p:nvSpPr>
        <p:spPr>
          <a:xfrm>
            <a:off x="680028" y="4858555"/>
            <a:ext cx="631583" cy="123111"/>
          </a:xfrm>
          <a:prstGeom prst="rect">
            <a:avLst/>
          </a:prstGeom>
          <a:noFill/>
        </p:spPr>
        <p:txBody>
          <a:bodyPr wrap="none" lIns="0" tIns="0" rIns="0" bIns="0" anchor="b" anchorCtr="0">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97C636AD-ADD5-F240-117B-08D310FF569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7FC8707-B3DD-AA96-72B6-571C83A1828E}"/>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1767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1.6 Half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pic>
        <p:nvPicPr>
          <p:cNvPr id="2" name="Graphic 1">
            <a:extLst>
              <a:ext uri="{FF2B5EF4-FFF2-40B4-BE49-F238E27FC236}">
                <a16:creationId xmlns:a16="http://schemas.microsoft.com/office/drawing/2014/main" id="{459A0509-67CF-F982-C358-C433F16CD83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81B8F5FD-3C1E-ED2B-FEED-204E697F92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DFE05CD-640E-D8C4-CB9E-EDE52D29E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D759BC8-C107-9B15-676E-AEADF18E71A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F53CB0FD-5D02-760B-C180-7C3CC3C5DD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7586898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pic>
        <p:nvPicPr>
          <p:cNvPr id="7" name="Graphic 6">
            <a:extLst>
              <a:ext uri="{FF2B5EF4-FFF2-40B4-BE49-F238E27FC236}">
                <a16:creationId xmlns:a16="http://schemas.microsoft.com/office/drawing/2014/main" id="{FC6622D9-8C8C-7A92-9836-8782F4AE736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5884C8A4-6AD2-B11C-DB11-02D4D662D7E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487328-2697-279F-E20D-91C4C573F75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BFC15A2F-1CD7-4840-2A5F-B6E52DFFB1A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4B3AB92F-F3C9-83A8-7063-25752C64EEF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2945480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0" name="Graphic 3">
            <a:extLst>
              <a:ext uri="{FF2B5EF4-FFF2-40B4-BE49-F238E27FC236}">
                <a16:creationId xmlns:a16="http://schemas.microsoft.com/office/drawing/2014/main" id="{49D9392C-9E29-427F-3C29-C64146E898C7}"/>
              </a:ext>
            </a:extLst>
          </p:cNvPr>
          <p:cNvGrpSpPr/>
          <p:nvPr userDrawn="1"/>
        </p:nvGrpSpPr>
        <p:grpSpPr>
          <a:xfrm>
            <a:off x="1237478" y="4482674"/>
            <a:ext cx="1363492" cy="307063"/>
            <a:chOff x="469958" y="1647414"/>
            <a:chExt cx="8205029" cy="1847802"/>
          </a:xfrm>
          <a:solidFill>
            <a:schemeClr val="bg1"/>
          </a:solidFill>
        </p:grpSpPr>
        <p:sp>
          <p:nvSpPr>
            <p:cNvPr id="11" name="Freeform 33">
              <a:extLst>
                <a:ext uri="{FF2B5EF4-FFF2-40B4-BE49-F238E27FC236}">
                  <a16:creationId xmlns:a16="http://schemas.microsoft.com/office/drawing/2014/main" id="{86483177-9ABF-3F5C-ED1D-16C01EEE37C3}"/>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97C96119-D9F7-8022-5694-A13E7950B52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247CB589-C660-36A6-BF29-1327034A981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2B915696-0B26-9206-B2E7-93708805BDBC}"/>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A3A0836-5277-7254-E598-6DE9FA1A526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659763D9-588F-2473-91CB-B8C347B7218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E9BC003D-0EF9-EF09-FA3B-B06705810FC8}"/>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753EC447-D430-EA30-E1F1-75D216432106}"/>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550963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752AD69E-8972-FFEB-3CDF-810FC2C15BE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6FD5FAA-4E42-2A01-7A0D-9D47214A39C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43C41B3-444A-B935-7F1C-44CC756EF99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DFE4EE1-1B23-D0EA-39ED-CDDC6ECFE4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C726386B-D9AC-0FCA-9F12-0FA32276F2A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957089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AC803887-2AFC-DF73-DE60-1BE27DDE158C}"/>
              </a:ext>
            </a:extLst>
          </p:cNvPr>
          <p:cNvGrpSpPr/>
          <p:nvPr userDrawn="1"/>
        </p:nvGrpSpPr>
        <p:grpSpPr>
          <a:xfrm>
            <a:off x="1237478" y="4482674"/>
            <a:ext cx="1363492" cy="307063"/>
            <a:chOff x="469958" y="1647414"/>
            <a:chExt cx="8205029" cy="1847802"/>
          </a:xfrm>
          <a:solidFill>
            <a:schemeClr val="bg1"/>
          </a:solidFill>
        </p:grpSpPr>
        <p:sp>
          <p:nvSpPr>
            <p:cNvPr id="8" name="Freeform 33">
              <a:extLst>
                <a:ext uri="{FF2B5EF4-FFF2-40B4-BE49-F238E27FC236}">
                  <a16:creationId xmlns:a16="http://schemas.microsoft.com/office/drawing/2014/main" id="{FB007C44-CA5E-747F-537B-FA8B422F6EF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4">
              <a:extLst>
                <a:ext uri="{FF2B5EF4-FFF2-40B4-BE49-F238E27FC236}">
                  <a16:creationId xmlns:a16="http://schemas.microsoft.com/office/drawing/2014/main" id="{ACD5E94E-82F7-2222-8DA7-BF2F4217D47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3" name="Freeform 35">
              <a:extLst>
                <a:ext uri="{FF2B5EF4-FFF2-40B4-BE49-F238E27FC236}">
                  <a16:creationId xmlns:a16="http://schemas.microsoft.com/office/drawing/2014/main" id="{3422F086-3538-B59C-A13B-E07C6B18072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6">
              <a:extLst>
                <a:ext uri="{FF2B5EF4-FFF2-40B4-BE49-F238E27FC236}">
                  <a16:creationId xmlns:a16="http://schemas.microsoft.com/office/drawing/2014/main" id="{64270631-5CE7-99C0-6E82-FDECFC1D363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5" name="Freeform 37">
              <a:extLst>
                <a:ext uri="{FF2B5EF4-FFF2-40B4-BE49-F238E27FC236}">
                  <a16:creationId xmlns:a16="http://schemas.microsoft.com/office/drawing/2014/main" id="{AEC4CD95-FA07-887B-3375-C4368A44AF15}"/>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853E137B-4AA1-0543-1336-DFC6E4FFB011}"/>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64A66DCC-053F-B59E-D123-FE02866DE14E}"/>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D444D486-4F66-A858-1E27-52EA0097BAEE}"/>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FD4ACE8F-B23A-798D-9D92-BC5D1372B743}"/>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19109734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12" name="Graphic 3">
            <a:extLst>
              <a:ext uri="{FF2B5EF4-FFF2-40B4-BE49-F238E27FC236}">
                <a16:creationId xmlns:a16="http://schemas.microsoft.com/office/drawing/2014/main" id="{BBCFFB55-AEE0-B60F-9245-9C27632712D3}"/>
              </a:ext>
            </a:extLst>
          </p:cNvPr>
          <p:cNvGrpSpPr/>
          <p:nvPr userDrawn="1"/>
        </p:nvGrpSpPr>
        <p:grpSpPr>
          <a:xfrm>
            <a:off x="1237478" y="4482674"/>
            <a:ext cx="1363492" cy="307063"/>
            <a:chOff x="469958" y="1647414"/>
            <a:chExt cx="8205029" cy="1847802"/>
          </a:xfrm>
          <a:solidFill>
            <a:schemeClr val="bg1"/>
          </a:solidFill>
        </p:grpSpPr>
        <p:sp>
          <p:nvSpPr>
            <p:cNvPr id="13" name="Freeform 33">
              <a:extLst>
                <a:ext uri="{FF2B5EF4-FFF2-40B4-BE49-F238E27FC236}">
                  <a16:creationId xmlns:a16="http://schemas.microsoft.com/office/drawing/2014/main" id="{488E8824-AD70-39E9-BE21-40A428AA16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4" name="Freeform 34">
              <a:extLst>
                <a:ext uri="{FF2B5EF4-FFF2-40B4-BE49-F238E27FC236}">
                  <a16:creationId xmlns:a16="http://schemas.microsoft.com/office/drawing/2014/main" id="{CAC7C88C-6569-86EB-A912-A81A3D3D323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5" name="Freeform 35">
              <a:extLst>
                <a:ext uri="{FF2B5EF4-FFF2-40B4-BE49-F238E27FC236}">
                  <a16:creationId xmlns:a16="http://schemas.microsoft.com/office/drawing/2014/main" id="{631B0B37-63CB-7184-5451-7161305EE5D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6" name="Freeform 36">
              <a:extLst>
                <a:ext uri="{FF2B5EF4-FFF2-40B4-BE49-F238E27FC236}">
                  <a16:creationId xmlns:a16="http://schemas.microsoft.com/office/drawing/2014/main" id="{7CABF032-2DB3-FBD2-FA1D-C42334098181}"/>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7" name="Freeform 37">
              <a:extLst>
                <a:ext uri="{FF2B5EF4-FFF2-40B4-BE49-F238E27FC236}">
                  <a16:creationId xmlns:a16="http://schemas.microsoft.com/office/drawing/2014/main" id="{93CE2008-A2FB-AA6A-EE55-3A2E2A88572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16C6526-B799-7D3B-3355-24FCAF3C0E0C}"/>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F8A50C4-0B90-3430-16AC-9B9A6559114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F2A9AEB3-FBA4-4EE3-A02B-9BF60D2824E6}"/>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DD3CEBA2-006C-A925-B52F-0D0CA4CB819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41548159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6" name="Graphic 3">
            <a:extLst>
              <a:ext uri="{FF2B5EF4-FFF2-40B4-BE49-F238E27FC236}">
                <a16:creationId xmlns:a16="http://schemas.microsoft.com/office/drawing/2014/main" id="{7ADBC276-24FC-31B1-198D-D0A0EB5188BB}"/>
              </a:ext>
            </a:extLst>
          </p:cNvPr>
          <p:cNvGrpSpPr/>
          <p:nvPr userDrawn="1"/>
        </p:nvGrpSpPr>
        <p:grpSpPr>
          <a:xfrm>
            <a:off x="6981148" y="2418218"/>
            <a:ext cx="1363492" cy="307063"/>
            <a:chOff x="469958" y="1647414"/>
            <a:chExt cx="8205029" cy="1847802"/>
          </a:xfrm>
          <a:solidFill>
            <a:schemeClr val="bg1"/>
          </a:solidFill>
        </p:grpSpPr>
        <p:sp>
          <p:nvSpPr>
            <p:cNvPr id="7" name="Freeform 24">
              <a:extLst>
                <a:ext uri="{FF2B5EF4-FFF2-40B4-BE49-F238E27FC236}">
                  <a16:creationId xmlns:a16="http://schemas.microsoft.com/office/drawing/2014/main" id="{CDDE8834-7F71-A488-29A8-540395324479}"/>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8" name="Freeform 25">
              <a:extLst>
                <a:ext uri="{FF2B5EF4-FFF2-40B4-BE49-F238E27FC236}">
                  <a16:creationId xmlns:a16="http://schemas.microsoft.com/office/drawing/2014/main" id="{FEFA04F6-2C3F-3E38-9E08-D6990D946A8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9" name="Freeform 26">
              <a:extLst>
                <a:ext uri="{FF2B5EF4-FFF2-40B4-BE49-F238E27FC236}">
                  <a16:creationId xmlns:a16="http://schemas.microsoft.com/office/drawing/2014/main" id="{54253727-9053-862A-19CB-32DD1616812D}"/>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2" name="Freeform 27">
              <a:extLst>
                <a:ext uri="{FF2B5EF4-FFF2-40B4-BE49-F238E27FC236}">
                  <a16:creationId xmlns:a16="http://schemas.microsoft.com/office/drawing/2014/main" id="{6E5204B2-3785-90DB-45F2-F73CC4975954}"/>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3" name="Freeform 28">
              <a:extLst>
                <a:ext uri="{FF2B5EF4-FFF2-40B4-BE49-F238E27FC236}">
                  <a16:creationId xmlns:a16="http://schemas.microsoft.com/office/drawing/2014/main" id="{95BC05DD-4D63-F05A-843F-EE491020FFD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9DC94188-095E-2B15-B1C9-BFEA9CD8AD5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40B3BB8B-340F-1B2C-CFDB-82FD55A3DE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43C0A07D-57CA-BFF4-F4D9-3C2FC68A391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C2925E9-CEC5-C2C9-18E8-E9BC48F8A75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3533113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7" name="Graphic 3">
            <a:extLst>
              <a:ext uri="{FF2B5EF4-FFF2-40B4-BE49-F238E27FC236}">
                <a16:creationId xmlns:a16="http://schemas.microsoft.com/office/drawing/2014/main" id="{7D655505-6963-6602-F9EA-4C3B3BA5DCB7}"/>
              </a:ext>
            </a:extLst>
          </p:cNvPr>
          <p:cNvGrpSpPr/>
          <p:nvPr userDrawn="1"/>
        </p:nvGrpSpPr>
        <p:grpSpPr>
          <a:xfrm>
            <a:off x="6981148" y="2418218"/>
            <a:ext cx="1363492" cy="307063"/>
            <a:chOff x="469958" y="1647414"/>
            <a:chExt cx="8205029" cy="1847802"/>
          </a:xfrm>
          <a:solidFill>
            <a:schemeClr val="bg1"/>
          </a:solidFill>
        </p:grpSpPr>
        <p:sp>
          <p:nvSpPr>
            <p:cNvPr id="8" name="Freeform 24">
              <a:extLst>
                <a:ext uri="{FF2B5EF4-FFF2-40B4-BE49-F238E27FC236}">
                  <a16:creationId xmlns:a16="http://schemas.microsoft.com/office/drawing/2014/main" id="{7D3C8143-8E12-BEA4-801E-C540B573C9A5}"/>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12" name="Freeform 25">
              <a:extLst>
                <a:ext uri="{FF2B5EF4-FFF2-40B4-BE49-F238E27FC236}">
                  <a16:creationId xmlns:a16="http://schemas.microsoft.com/office/drawing/2014/main" id="{08DD0EEC-3388-7E9D-C475-8C7C6448AEF5}"/>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13" name="Freeform 26">
              <a:extLst>
                <a:ext uri="{FF2B5EF4-FFF2-40B4-BE49-F238E27FC236}">
                  <a16:creationId xmlns:a16="http://schemas.microsoft.com/office/drawing/2014/main" id="{46AF7602-77C1-4DB0-5B0C-443AE4CE7F6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14" name="Freeform 27">
              <a:extLst>
                <a:ext uri="{FF2B5EF4-FFF2-40B4-BE49-F238E27FC236}">
                  <a16:creationId xmlns:a16="http://schemas.microsoft.com/office/drawing/2014/main" id="{CE410BEC-795B-5241-F0C2-EA9498D9FABB}"/>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15" name="Freeform 28">
              <a:extLst>
                <a:ext uri="{FF2B5EF4-FFF2-40B4-BE49-F238E27FC236}">
                  <a16:creationId xmlns:a16="http://schemas.microsoft.com/office/drawing/2014/main" id="{A382B77D-424C-AD2C-03A1-02E188F12FF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4390347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6" name="Graphic 3">
            <a:extLst>
              <a:ext uri="{FF2B5EF4-FFF2-40B4-BE49-F238E27FC236}">
                <a16:creationId xmlns:a16="http://schemas.microsoft.com/office/drawing/2014/main" id="{5A3F8AE7-69F1-0171-3222-4CFFCDB4F568}"/>
              </a:ext>
            </a:extLst>
          </p:cNvPr>
          <p:cNvGrpSpPr/>
          <p:nvPr userDrawn="1"/>
        </p:nvGrpSpPr>
        <p:grpSpPr>
          <a:xfrm>
            <a:off x="7055828" y="2418218"/>
            <a:ext cx="1363492" cy="307063"/>
            <a:chOff x="469958" y="1647414"/>
            <a:chExt cx="8205029" cy="1847802"/>
          </a:xfrm>
          <a:solidFill>
            <a:schemeClr val="bg1"/>
          </a:solidFill>
        </p:grpSpPr>
        <p:sp>
          <p:nvSpPr>
            <p:cNvPr id="7" name="Freeform 25">
              <a:extLst>
                <a:ext uri="{FF2B5EF4-FFF2-40B4-BE49-F238E27FC236}">
                  <a16:creationId xmlns:a16="http://schemas.microsoft.com/office/drawing/2014/main" id="{0DE2A214-8055-F089-C6C4-415D2FEE4242}"/>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8" name="Freeform 31">
              <a:extLst>
                <a:ext uri="{FF2B5EF4-FFF2-40B4-BE49-F238E27FC236}">
                  <a16:creationId xmlns:a16="http://schemas.microsoft.com/office/drawing/2014/main" id="{E7E7B380-ABE2-70DF-A29A-E3B4A181FA12}"/>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2">
              <a:extLst>
                <a:ext uri="{FF2B5EF4-FFF2-40B4-BE49-F238E27FC236}">
                  <a16:creationId xmlns:a16="http://schemas.microsoft.com/office/drawing/2014/main" id="{ED784E94-97A9-B627-1E07-7CAEF44EE8A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31E44308-7765-3146-1869-04D3DA41235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5E9E56FD-C856-3054-AB6B-A80BA7D6C55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DF372165-1480-FF4B-FD8E-0169E8CD195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04E2F18-4E2A-EDFF-55AE-85920A343F20}"/>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B7433D11-0578-F766-1515-93267A2499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4655816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C00323-002C-481E-B744-51D047AFBC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50189"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66295" y="3051681"/>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47BEB086-B161-40ED-B2E3-DDF397278FA8}"/>
              </a:ext>
            </a:extLst>
          </p:cNvPr>
          <p:cNvGrpSpPr/>
          <p:nvPr userDrawn="1"/>
        </p:nvGrpSpPr>
        <p:grpSpPr>
          <a:xfrm>
            <a:off x="482845" y="437667"/>
            <a:ext cx="1363492" cy="307063"/>
            <a:chOff x="469958" y="1647414"/>
            <a:chExt cx="8205029" cy="1847802"/>
          </a:xfrm>
          <a:solidFill>
            <a:schemeClr val="bg1"/>
          </a:solidFill>
        </p:grpSpPr>
        <p:sp>
          <p:nvSpPr>
            <p:cNvPr id="8" name="Freeform 25">
              <a:extLst>
                <a:ext uri="{FF2B5EF4-FFF2-40B4-BE49-F238E27FC236}">
                  <a16:creationId xmlns:a16="http://schemas.microsoft.com/office/drawing/2014/main" id="{635D1FEE-8FAA-6AFD-E821-344C363F2C2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936726D0-2423-B7DC-41C5-A3E0D3C9275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17257835-1368-81AC-1BB9-5374BD6AEA7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28AB2999-1929-69AE-F4B8-38F9B81ECF7A}"/>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AC62732A-D69F-1BDC-8778-1D5E71576F10}"/>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Public</a:t>
            </a:r>
          </a:p>
        </p:txBody>
      </p:sp>
    </p:spTree>
    <p:extLst>
      <p:ext uri="{BB962C8B-B14F-4D97-AF65-F5344CB8AC3E}">
        <p14:creationId xmlns:p14="http://schemas.microsoft.com/office/powerpoint/2010/main" val="11894542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8" name="Graphic 3">
            <a:extLst>
              <a:ext uri="{FF2B5EF4-FFF2-40B4-BE49-F238E27FC236}">
                <a16:creationId xmlns:a16="http://schemas.microsoft.com/office/drawing/2014/main" id="{02491239-1144-EB94-E007-F05D770D71DA}"/>
              </a:ext>
            </a:extLst>
          </p:cNvPr>
          <p:cNvGrpSpPr/>
          <p:nvPr userDrawn="1"/>
        </p:nvGrpSpPr>
        <p:grpSpPr>
          <a:xfrm>
            <a:off x="7055828" y="2418218"/>
            <a:ext cx="1363492" cy="307063"/>
            <a:chOff x="469958" y="1647414"/>
            <a:chExt cx="8205029" cy="1847802"/>
          </a:xfrm>
          <a:solidFill>
            <a:schemeClr val="bg1"/>
          </a:solidFill>
        </p:grpSpPr>
        <p:sp>
          <p:nvSpPr>
            <p:cNvPr id="9" name="Freeform 25">
              <a:extLst>
                <a:ext uri="{FF2B5EF4-FFF2-40B4-BE49-F238E27FC236}">
                  <a16:creationId xmlns:a16="http://schemas.microsoft.com/office/drawing/2014/main" id="{2FDE4536-B74E-FB0B-5701-EE95568054DA}"/>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1">
              <a:extLst>
                <a:ext uri="{FF2B5EF4-FFF2-40B4-BE49-F238E27FC236}">
                  <a16:creationId xmlns:a16="http://schemas.microsoft.com/office/drawing/2014/main" id="{DC504B4C-4BF0-DF13-D647-0C718DF4AD96}"/>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2">
              <a:extLst>
                <a:ext uri="{FF2B5EF4-FFF2-40B4-BE49-F238E27FC236}">
                  <a16:creationId xmlns:a16="http://schemas.microsoft.com/office/drawing/2014/main" id="{F3BB0087-C253-F0E4-3F52-1A53B4AFA975}"/>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2" name="Freeform 33">
              <a:extLst>
                <a:ext uri="{FF2B5EF4-FFF2-40B4-BE49-F238E27FC236}">
                  <a16:creationId xmlns:a16="http://schemas.microsoft.com/office/drawing/2014/main" id="{3025D71C-0D10-5220-5980-B17FC068151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3" name="Freeform 34">
              <a:extLst>
                <a:ext uri="{FF2B5EF4-FFF2-40B4-BE49-F238E27FC236}">
                  <a16:creationId xmlns:a16="http://schemas.microsoft.com/office/drawing/2014/main" id="{64514CD7-9102-9552-6763-AB0337AAA7ED}"/>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3" name="TextBox 2">
            <a:extLst>
              <a:ext uri="{FF2B5EF4-FFF2-40B4-BE49-F238E27FC236}">
                <a16:creationId xmlns:a16="http://schemas.microsoft.com/office/drawing/2014/main" id="{D596CCAF-CFD0-78BA-B2DE-D4AAECC80E0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83A073E-6395-AB52-363B-C387025E75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2EA63C6-5343-F79F-D184-6FE2E97A361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5B14FF50-A296-F5AE-C68C-5D0294FDC1A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2955738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White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8798"/>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grpSp>
        <p:nvGrpSpPr>
          <p:cNvPr id="7" name="Graphic 3">
            <a:extLst>
              <a:ext uri="{FF2B5EF4-FFF2-40B4-BE49-F238E27FC236}">
                <a16:creationId xmlns:a16="http://schemas.microsoft.com/office/drawing/2014/main" id="{57ADD6F0-8A1D-2465-892B-42BFF999186F}"/>
              </a:ext>
            </a:extLst>
          </p:cNvPr>
          <p:cNvGrpSpPr/>
          <p:nvPr userDrawn="1"/>
        </p:nvGrpSpPr>
        <p:grpSpPr>
          <a:xfrm>
            <a:off x="7055828" y="2418218"/>
            <a:ext cx="1363492" cy="307063"/>
            <a:chOff x="469958" y="1647414"/>
            <a:chExt cx="8205029" cy="1847802"/>
          </a:xfrm>
          <a:solidFill>
            <a:schemeClr val="accent1"/>
          </a:solidFill>
        </p:grpSpPr>
        <p:sp>
          <p:nvSpPr>
            <p:cNvPr id="8" name="Freeform 25">
              <a:extLst>
                <a:ext uri="{FF2B5EF4-FFF2-40B4-BE49-F238E27FC236}">
                  <a16:creationId xmlns:a16="http://schemas.microsoft.com/office/drawing/2014/main" id="{6AF9626B-4B6B-456F-A237-FCACC9E9F30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solidFill>
                  <a:schemeClr val="tx2"/>
                </a:solidFill>
              </a:endParaRPr>
            </a:p>
          </p:txBody>
        </p:sp>
        <p:sp>
          <p:nvSpPr>
            <p:cNvPr id="9" name="Freeform 31">
              <a:extLst>
                <a:ext uri="{FF2B5EF4-FFF2-40B4-BE49-F238E27FC236}">
                  <a16:creationId xmlns:a16="http://schemas.microsoft.com/office/drawing/2014/main" id="{B6CEEA85-DD26-876A-A848-DA5F4C628A1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solidFill>
                  <a:schemeClr val="tx2"/>
                </a:solidFill>
              </a:endParaRPr>
            </a:p>
          </p:txBody>
        </p:sp>
        <p:sp>
          <p:nvSpPr>
            <p:cNvPr id="10" name="Freeform 32">
              <a:extLst>
                <a:ext uri="{FF2B5EF4-FFF2-40B4-BE49-F238E27FC236}">
                  <a16:creationId xmlns:a16="http://schemas.microsoft.com/office/drawing/2014/main" id="{08925FD2-D79C-256F-326A-4097D8380192}"/>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solidFill>
                  <a:schemeClr val="tx2"/>
                </a:solidFill>
              </a:endParaRPr>
            </a:p>
          </p:txBody>
        </p:sp>
        <p:sp>
          <p:nvSpPr>
            <p:cNvPr id="11" name="Freeform 33">
              <a:extLst>
                <a:ext uri="{FF2B5EF4-FFF2-40B4-BE49-F238E27FC236}">
                  <a16:creationId xmlns:a16="http://schemas.microsoft.com/office/drawing/2014/main" id="{AB3AAD83-D7CB-81CB-67DB-D1DD2E032AA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solidFill>
                  <a:schemeClr val="tx2"/>
                </a:solidFill>
              </a:endParaRPr>
            </a:p>
          </p:txBody>
        </p:sp>
        <p:sp>
          <p:nvSpPr>
            <p:cNvPr id="12" name="Freeform 34">
              <a:extLst>
                <a:ext uri="{FF2B5EF4-FFF2-40B4-BE49-F238E27FC236}">
                  <a16:creationId xmlns:a16="http://schemas.microsoft.com/office/drawing/2014/main" id="{3A1A359F-B85E-95ED-4488-9B71BC1306AF}"/>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solidFill>
                  <a:schemeClr val="tx2"/>
                </a:solidFill>
              </a:endParaRPr>
            </a:p>
          </p:txBody>
        </p:sp>
      </p:gr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2661600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Text Placeholder 42">
            <a:extLst>
              <a:ext uri="{FF2B5EF4-FFF2-40B4-BE49-F238E27FC236}">
                <a16:creationId xmlns:a16="http://schemas.microsoft.com/office/drawing/2014/main" id="{BE7F6530-2B80-C2AA-C92D-861D7E8FD530}"/>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9E92399-CC16-9177-2657-E4899DE3837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3E33991A-B775-F150-1F53-A41B2C8F75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8315759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5" name="Text Placeholder 42">
            <a:extLst>
              <a:ext uri="{FF2B5EF4-FFF2-40B4-BE49-F238E27FC236}">
                <a16:creationId xmlns:a16="http://schemas.microsoft.com/office/drawing/2014/main" id="{513AFDC9-7EA7-195A-AC21-49A03E74AF4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5F57FFFB-CCE3-C058-3729-4EDEEE5E646D}"/>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CEEAF690-F016-5F35-1D32-4ED93EF516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825720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Graphic 2">
            <a:extLst>
              <a:ext uri="{FF2B5EF4-FFF2-40B4-BE49-F238E27FC236}">
                <a16:creationId xmlns:a16="http://schemas.microsoft.com/office/drawing/2014/main" id="{3772E5D1-F4A4-5034-E057-717754E354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86B13C58-337C-7F31-E842-1040B36F0D2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0257226-AE3E-3B65-71BB-8A6565585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FC74384-DD2A-533D-796C-EFFF39625FF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ACB227E-CF72-2719-133F-6CBEB353488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5810542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522A1BAB-7805-96E3-BA5B-3E8B26D8AA37}"/>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AB3FE475-1931-B109-EFE4-3720BF54E14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23709798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0DABAD96-0284-76FF-D804-48E7FFCA08F5}"/>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83B5421E-4ADD-A198-F29A-1E6995BF5763}"/>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328056082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Orange red">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734BF0FE-66B0-30DC-7C7E-0C60AC6208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 Placeholder 42">
            <a:extLst>
              <a:ext uri="{FF2B5EF4-FFF2-40B4-BE49-F238E27FC236}">
                <a16:creationId xmlns:a16="http://schemas.microsoft.com/office/drawing/2014/main" id="{915CB6A6-17E7-3E33-E841-80BBD7036B36}"/>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F11B8FE6-8F1C-8435-F33C-EE04C6A6A164}"/>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3" name="TextBox 2">
            <a:extLst>
              <a:ext uri="{FF2B5EF4-FFF2-40B4-BE49-F238E27FC236}">
                <a16:creationId xmlns:a16="http://schemas.microsoft.com/office/drawing/2014/main" id="{84ADD582-662A-968D-5C24-5CA64213D2B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5F3FD1C-6350-9A05-9CDB-7BB8B8E7A00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12A125E-82E9-339B-8DD3-4F99BEB92E0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17D3F80D-5C28-6DFD-0EBA-3C78C0C423C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40429169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Blue green">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98BFE0-FEAC-1333-6BF5-7907903B2D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EF5C81FB-4A41-2E38-2638-F82CC70C7B5B}"/>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
        <p:nvSpPr>
          <p:cNvPr id="4" name="TextBox 3">
            <a:extLst>
              <a:ext uri="{FF2B5EF4-FFF2-40B4-BE49-F238E27FC236}">
                <a16:creationId xmlns:a16="http://schemas.microsoft.com/office/drawing/2014/main" id="{A5713A89-53EE-064B-A22B-BEF22E8A423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2CE94F9F-2BD2-F9A5-9E54-07CF4258A96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2CF6175-9699-E7CE-E715-F09EA01BC75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94D4D419-E0F3-2260-2C17-B30C90428F2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Tree>
    <p:extLst>
      <p:ext uri="{BB962C8B-B14F-4D97-AF65-F5344CB8AC3E}">
        <p14:creationId xmlns:p14="http://schemas.microsoft.com/office/powerpoint/2010/main" val="1351021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Blu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1ACC9534-D4F4-B471-C3A8-8380F72B349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7" name="TextBox 6">
            <a:extLst>
              <a:ext uri="{FF2B5EF4-FFF2-40B4-BE49-F238E27FC236}">
                <a16:creationId xmlns:a16="http://schemas.microsoft.com/office/drawing/2014/main" id="{8B02A8A8-2DC6-BFA7-0597-B3A0E2C7AC23}"/>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BD8CED17-0DB9-2715-7150-DBF236275C4B}"/>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FA158F57-86DC-B003-644B-93267585159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396E0D0B-5511-E73A-4166-3C440265E909}"/>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dirty="0"/>
              <a:t>Change document classification and / or document ID</a:t>
            </a:r>
          </a:p>
        </p:txBody>
      </p:sp>
      <p:sp>
        <p:nvSpPr>
          <p:cNvPr id="3" name="Text Placeholder 42">
            <a:extLst>
              <a:ext uri="{FF2B5EF4-FFF2-40B4-BE49-F238E27FC236}">
                <a16:creationId xmlns:a16="http://schemas.microsoft.com/office/drawing/2014/main" id="{62755F71-C8DF-BEE3-C54C-12DECC4F9773}"/>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4400" baseline="0">
                <a:solidFill>
                  <a:schemeClr val="bg1"/>
                </a:solidFill>
                <a:latin typeface="Nokia Pure Headline Light" panose="020B0304020202020204" pitchFamily="34" charset="0"/>
              </a:defRPr>
            </a:lvl1pPr>
          </a:lstStyle>
          <a:p>
            <a:pPr lvl="0"/>
            <a:r>
              <a:rPr lang="en-US" noProof="0"/>
              <a:t>Divider pages </a:t>
            </a:r>
            <a:br>
              <a:rPr lang="en-US" noProof="0"/>
            </a:br>
            <a:r>
              <a:rPr lang="en-US" noProof="0"/>
              <a:t>or large quotes</a:t>
            </a:r>
          </a:p>
        </p:txBody>
      </p:sp>
      <p:pic>
        <p:nvPicPr>
          <p:cNvPr id="2" name="Graphic 1">
            <a:extLst>
              <a:ext uri="{FF2B5EF4-FFF2-40B4-BE49-F238E27FC236}">
                <a16:creationId xmlns:a16="http://schemas.microsoft.com/office/drawing/2014/main" id="{3761BFBE-2F2E-2C4F-848A-E85051698111}"/>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52320" y="4740459"/>
            <a:ext cx="972000" cy="219014"/>
          </a:xfrm>
          <a:prstGeom prst="rect">
            <a:avLst/>
          </a:prstGeom>
        </p:spPr>
      </p:pic>
    </p:spTree>
    <p:extLst>
      <p:ext uri="{BB962C8B-B14F-4D97-AF65-F5344CB8AC3E}">
        <p14:creationId xmlns:p14="http://schemas.microsoft.com/office/powerpoint/2010/main" val="34138688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 Green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0EF89375-E21D-F63F-06A8-C59355F125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BD7979C-B9C6-8A09-B241-FD1FED4BAC89}"/>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7B0CAF0-3BC0-2F0C-A2D6-BD2777136ABD}"/>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DFE11313-A28D-C9D5-388D-F3DCE472D73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5423B194-3C18-4ED2-C954-ADB91F99CDD9}"/>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A46B4C4-EAE8-DC64-8EE7-085376B9F0C3}"/>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68AEA7C-4869-2294-8EAF-A87420CD4743}"/>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84901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 Blue pink">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39F40A4-C4FE-CE81-4DDE-1096BF05B1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04350EF6-70D2-8CA6-C8B4-23AD48C51B92}"/>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E3C5F24B-DEBE-91F4-60EF-98DB9598FC4B}"/>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430F02E-A1F8-79E9-1749-B79A96144EDF}"/>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FABBDCAD-55AC-A504-7AB9-9EA8B4E0982A}"/>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3870B6CA-17E5-8094-AABA-A4EB4CF4DD7D}"/>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B471460-440F-63D0-B43A-D4E98094F4B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536942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 Pink">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21011232-FEC1-556E-5D81-2627C46F6D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E305D3B8-631A-ECF6-F436-B2BCDEC1D146}"/>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5AA4292-461B-4E6C-D0DF-22D79FF5659C}"/>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E83B83EF-F13E-0C9F-A72E-1028FFB5C1A3}"/>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7583F4ED-E4FB-BC79-63D6-917602298C36}"/>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7AF8DF3-63F0-80CE-4E26-5256A0E0248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D0AD8F7-2131-0B88-1728-D3CA421A2D28}"/>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8426698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Blue purple">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3465075C-3A04-8F21-2D96-F11146239A8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A77D7537-AB6E-150C-8EAC-2488703A5501}"/>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B6DD48B6-4C1B-73D2-03B9-15D30FCE5E9E}"/>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64D70B58-DDCB-C449-2352-59773ED88AE4}"/>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609F40CE-5FD9-0148-24E8-B471F0E808BF}"/>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921AF8C9-7D93-7437-46E4-70C04BC1FCD9}"/>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A4086F6C-E115-654F-39E3-04AE3FA5602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8706412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 Orange red">
    <p:bg>
      <p:bgPr>
        <a:solidFill>
          <a:schemeClr val="tx1"/>
        </a:solidFill>
        <a:effectLst/>
      </p:bgPr>
    </p:bg>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AC7C13A4-489B-3211-82FF-868A0A256E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7490672C-BECC-A8CE-2FB2-AF9FB16315DB}"/>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A3EA2D57-26D4-3FE7-0AD1-EEED4BE8BED6}"/>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3244009B-B9FA-D5C6-D5E3-5563DC7638F9}"/>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2FD42FBA-921E-BB93-CEB5-51CAED5F599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DADC54FF-C0E3-D235-2C4E-2FB66C6E9ED7}"/>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8E3A682F-0F88-48F0-97B1-60B5B2477F9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1511565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1" name="TextBox 10">
            <a:extLst>
              <a:ext uri="{FF2B5EF4-FFF2-40B4-BE49-F238E27FC236}">
                <a16:creationId xmlns:a16="http://schemas.microsoft.com/office/drawing/2014/main" id="{CAA37820-182D-1EB7-AF8B-A6B34F63F68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CE2E5BE2-B331-A0C0-8C3D-3B644FF16CA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C4471E01-4B5D-597C-1AAD-279941B82E1C}"/>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177C34D5-50E3-692A-4113-A20C2953002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30136354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 Blue green">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3A71822B-C712-A4E6-919B-405BA7F21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113608E-22FD-657F-8D07-CD39EC97958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DA917A93-F7DB-3A50-D98B-8185FF15DE00}"/>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08D8095F-7FCC-5669-F881-F66619242228}"/>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A8F3D3FE-D0C9-59C1-F189-DA228D51A05B}"/>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7F167DEA-E276-FD24-54AA-B4A09328CCE6}"/>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5BDAA131-A001-A420-C695-237DBC402651}"/>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1289778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 Blu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408FFEE3-9429-FB20-94DA-036B3BA28A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grpSp>
        <p:nvGrpSpPr>
          <p:cNvPr id="3" name="Graphic 3">
            <a:extLst>
              <a:ext uri="{FF2B5EF4-FFF2-40B4-BE49-F238E27FC236}">
                <a16:creationId xmlns:a16="http://schemas.microsoft.com/office/drawing/2014/main" id="{FF97AAA9-D469-5AE4-F90F-9020A3DDBE0A}"/>
              </a:ext>
            </a:extLst>
          </p:cNvPr>
          <p:cNvGrpSpPr/>
          <p:nvPr userDrawn="1"/>
        </p:nvGrpSpPr>
        <p:grpSpPr>
          <a:xfrm>
            <a:off x="1833317" y="1954988"/>
            <a:ext cx="5477366" cy="1233523"/>
            <a:chOff x="469958" y="1647414"/>
            <a:chExt cx="8205029" cy="1847802"/>
          </a:xfrm>
          <a:solidFill>
            <a:schemeClr val="bg1"/>
          </a:solidFill>
        </p:grpSpPr>
        <p:sp>
          <p:nvSpPr>
            <p:cNvPr id="4" name="Freeform 10">
              <a:extLst>
                <a:ext uri="{FF2B5EF4-FFF2-40B4-BE49-F238E27FC236}">
                  <a16:creationId xmlns:a16="http://schemas.microsoft.com/office/drawing/2014/main" id="{C2E78338-BF1F-47F8-574E-5A79325DD1F8}"/>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5" name="Freeform 11">
              <a:extLst>
                <a:ext uri="{FF2B5EF4-FFF2-40B4-BE49-F238E27FC236}">
                  <a16:creationId xmlns:a16="http://schemas.microsoft.com/office/drawing/2014/main" id="{BEABEE7F-B8A9-CDE0-CB0E-B91BA834B8F1}"/>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6" name="Freeform 12">
              <a:extLst>
                <a:ext uri="{FF2B5EF4-FFF2-40B4-BE49-F238E27FC236}">
                  <a16:creationId xmlns:a16="http://schemas.microsoft.com/office/drawing/2014/main" id="{42EAFBE4-3E55-88EC-6263-AA83BE68E7C0}"/>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7" name="Freeform 13">
              <a:extLst>
                <a:ext uri="{FF2B5EF4-FFF2-40B4-BE49-F238E27FC236}">
                  <a16:creationId xmlns:a16="http://schemas.microsoft.com/office/drawing/2014/main" id="{55877F46-FE15-EE6B-7255-F5187038A7A8}"/>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8" name="Freeform 14">
              <a:extLst>
                <a:ext uri="{FF2B5EF4-FFF2-40B4-BE49-F238E27FC236}">
                  <a16:creationId xmlns:a16="http://schemas.microsoft.com/office/drawing/2014/main" id="{F62DDA2E-E23F-3C1F-FBA8-13E4AE5F3526}"/>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3380662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1 White end slide">
    <p:bg>
      <p:bgPr>
        <a:solidFill>
          <a:schemeClr val="bg1"/>
        </a:solidFill>
        <a:effectLst/>
      </p:bgPr>
    </p:bg>
    <p:spTree>
      <p:nvGrpSpPr>
        <p:cNvPr id="1" name=""/>
        <p:cNvGrpSpPr/>
        <p:nvPr/>
      </p:nvGrpSpPr>
      <p:grpSpPr>
        <a:xfrm>
          <a:off x="0" y="0"/>
          <a:ext cx="0" cy="0"/>
          <a:chOff x="0" y="0"/>
          <a:chExt cx="0" cy="0"/>
        </a:xfrm>
      </p:grpSpPr>
      <p:grpSp>
        <p:nvGrpSpPr>
          <p:cNvPr id="2" name="Graphic 3">
            <a:extLst>
              <a:ext uri="{FF2B5EF4-FFF2-40B4-BE49-F238E27FC236}">
                <a16:creationId xmlns:a16="http://schemas.microsoft.com/office/drawing/2014/main" id="{46DC4F6B-8D28-1514-E83F-9C8BC35CC881}"/>
              </a:ext>
            </a:extLst>
          </p:cNvPr>
          <p:cNvGrpSpPr/>
          <p:nvPr userDrawn="1"/>
        </p:nvGrpSpPr>
        <p:grpSpPr>
          <a:xfrm>
            <a:off x="1833317" y="1954988"/>
            <a:ext cx="5477366" cy="1233523"/>
            <a:chOff x="469958" y="1647414"/>
            <a:chExt cx="8205029" cy="1847802"/>
          </a:xfrm>
          <a:solidFill>
            <a:schemeClr val="accent1"/>
          </a:solidFill>
        </p:grpSpPr>
        <p:sp>
          <p:nvSpPr>
            <p:cNvPr id="3" name="Freeform 10">
              <a:extLst>
                <a:ext uri="{FF2B5EF4-FFF2-40B4-BE49-F238E27FC236}">
                  <a16:creationId xmlns:a16="http://schemas.microsoft.com/office/drawing/2014/main" id="{528AAC0C-F8F7-997C-49C5-2DDCFFEF4C2F}"/>
                </a:ext>
              </a:extLst>
            </p:cNvPr>
            <p:cNvSpPr/>
            <p:nvPr/>
          </p:nvSpPr>
          <p:spPr>
            <a:xfrm>
              <a:off x="6648498" y="1648478"/>
              <a:ext cx="2026489" cy="1793370"/>
            </a:xfrm>
            <a:custGeom>
              <a:avLst/>
              <a:gdLst>
                <a:gd name="connsiteX0" fmla="*/ 1019683 w 2026489"/>
                <a:gd name="connsiteY0" fmla="*/ 11431 h 1793370"/>
                <a:gd name="connsiteX1" fmla="*/ 1013215 w 2026489"/>
                <a:gd name="connsiteY1" fmla="*/ 0 h 1793370"/>
                <a:gd name="connsiteX2" fmla="*/ 864805 w 2026489"/>
                <a:gd name="connsiteY2" fmla="*/ 264656 h 1793370"/>
                <a:gd name="connsiteX3" fmla="*/ 1366453 w 2026489"/>
                <a:gd name="connsiteY3" fmla="*/ 1150009 h 1793370"/>
                <a:gd name="connsiteX4" fmla="*/ 362940 w 2026489"/>
                <a:gd name="connsiteY4" fmla="*/ 1150009 h 1793370"/>
                <a:gd name="connsiteX5" fmla="*/ 0 w 2026489"/>
                <a:gd name="connsiteY5" fmla="*/ 1793331 h 1793370"/>
                <a:gd name="connsiteX6" fmla="*/ 299127 w 2026489"/>
                <a:gd name="connsiteY6" fmla="*/ 1793370 h 1793370"/>
                <a:gd name="connsiteX7" fmla="*/ 517917 w 2026489"/>
                <a:gd name="connsiteY7" fmla="*/ 1406250 h 1793370"/>
                <a:gd name="connsiteX8" fmla="*/ 1508375 w 2026489"/>
                <a:gd name="connsiteY8" fmla="*/ 1406250 h 1793370"/>
                <a:gd name="connsiteX9" fmla="*/ 1727480 w 2026489"/>
                <a:gd name="connsiteY9" fmla="*/ 1793370 h 1793370"/>
                <a:gd name="connsiteX10" fmla="*/ 2026490 w 2026489"/>
                <a:gd name="connsiteY10" fmla="*/ 1793331 h 1793370"/>
                <a:gd name="connsiteX11" fmla="*/ 1019683 w 2026489"/>
                <a:gd name="connsiteY11" fmla="*/ 11431 h 17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6489" h="1793370">
                  <a:moveTo>
                    <a:pt x="1019683" y="11431"/>
                  </a:moveTo>
                  <a:lnTo>
                    <a:pt x="1013215" y="0"/>
                  </a:lnTo>
                  <a:lnTo>
                    <a:pt x="864805" y="264656"/>
                  </a:lnTo>
                  <a:lnTo>
                    <a:pt x="1366453" y="1150009"/>
                  </a:lnTo>
                  <a:lnTo>
                    <a:pt x="362940" y="1150009"/>
                  </a:lnTo>
                  <a:lnTo>
                    <a:pt x="0" y="1793331"/>
                  </a:lnTo>
                  <a:lnTo>
                    <a:pt x="299127" y="1793370"/>
                  </a:lnTo>
                  <a:lnTo>
                    <a:pt x="517917" y="1406250"/>
                  </a:lnTo>
                  <a:lnTo>
                    <a:pt x="1508375" y="1406250"/>
                  </a:lnTo>
                  <a:lnTo>
                    <a:pt x="1727480" y="1793370"/>
                  </a:lnTo>
                  <a:lnTo>
                    <a:pt x="2026490" y="1793331"/>
                  </a:lnTo>
                  <a:lnTo>
                    <a:pt x="1019683" y="11431"/>
                  </a:lnTo>
                  <a:close/>
                </a:path>
              </a:pathLst>
            </a:custGeom>
            <a:grpFill/>
            <a:ln w="1972" cap="flat">
              <a:noFill/>
              <a:prstDash val="solid"/>
              <a:miter/>
            </a:ln>
          </p:spPr>
          <p:txBody>
            <a:bodyPr rtlCol="0" anchor="ctr"/>
            <a:lstStyle/>
            <a:p>
              <a:endParaRPr lang="en-US"/>
            </a:p>
          </p:txBody>
        </p:sp>
        <p:sp>
          <p:nvSpPr>
            <p:cNvPr id="4" name="Freeform 11">
              <a:extLst>
                <a:ext uri="{FF2B5EF4-FFF2-40B4-BE49-F238E27FC236}">
                  <a16:creationId xmlns:a16="http://schemas.microsoft.com/office/drawing/2014/main" id="{709A296F-6430-7EEE-74D0-2B39CDE8E8CE}"/>
                </a:ext>
              </a:extLst>
            </p:cNvPr>
            <p:cNvSpPr/>
            <p:nvPr/>
          </p:nvSpPr>
          <p:spPr>
            <a:xfrm>
              <a:off x="6141802" y="1706399"/>
              <a:ext cx="271953" cy="1735409"/>
            </a:xfrm>
            <a:custGeom>
              <a:avLst/>
              <a:gdLst>
                <a:gd name="connsiteX0" fmla="*/ 39 w 271953"/>
                <a:gd name="connsiteY0" fmla="*/ 0 h 1735409"/>
                <a:gd name="connsiteX1" fmla="*/ 0 w 271953"/>
                <a:gd name="connsiteY1" fmla="*/ 1735409 h 1735409"/>
                <a:gd name="connsiteX2" fmla="*/ 271934 w 271953"/>
                <a:gd name="connsiteY2" fmla="*/ 1735409 h 1735409"/>
                <a:gd name="connsiteX3" fmla="*/ 271953 w 271953"/>
                <a:gd name="connsiteY3" fmla="*/ 218776 h 1735409"/>
                <a:gd name="connsiteX4" fmla="*/ 271953 w 271953"/>
                <a:gd name="connsiteY4" fmla="*/ 0 h 1735409"/>
                <a:gd name="connsiteX5" fmla="*/ 39 w 271953"/>
                <a:gd name="connsiteY5" fmla="*/ 0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1953" h="1735409">
                  <a:moveTo>
                    <a:pt x="39" y="0"/>
                  </a:moveTo>
                  <a:lnTo>
                    <a:pt x="0" y="1735409"/>
                  </a:lnTo>
                  <a:lnTo>
                    <a:pt x="271934" y="1735409"/>
                  </a:lnTo>
                  <a:lnTo>
                    <a:pt x="271953" y="218776"/>
                  </a:lnTo>
                  <a:lnTo>
                    <a:pt x="271953" y="0"/>
                  </a:lnTo>
                  <a:lnTo>
                    <a:pt x="39" y="0"/>
                  </a:lnTo>
                  <a:close/>
                </a:path>
              </a:pathLst>
            </a:custGeom>
            <a:grpFill/>
            <a:ln w="1972" cap="flat">
              <a:noFill/>
              <a:prstDash val="solid"/>
              <a:miter/>
            </a:ln>
          </p:spPr>
          <p:txBody>
            <a:bodyPr rtlCol="0" anchor="ctr"/>
            <a:lstStyle/>
            <a:p>
              <a:endParaRPr lang="en-US"/>
            </a:p>
          </p:txBody>
        </p:sp>
        <p:sp>
          <p:nvSpPr>
            <p:cNvPr id="5" name="Freeform 12">
              <a:extLst>
                <a:ext uri="{FF2B5EF4-FFF2-40B4-BE49-F238E27FC236}">
                  <a16:creationId xmlns:a16="http://schemas.microsoft.com/office/drawing/2014/main" id="{98732BD3-7687-3964-C382-BE79A1668857}"/>
                </a:ext>
              </a:extLst>
            </p:cNvPr>
            <p:cNvSpPr/>
            <p:nvPr/>
          </p:nvSpPr>
          <p:spPr>
            <a:xfrm>
              <a:off x="4382809" y="1706399"/>
              <a:ext cx="1429220" cy="1735409"/>
            </a:xfrm>
            <a:custGeom>
              <a:avLst/>
              <a:gdLst>
                <a:gd name="connsiteX0" fmla="*/ 403030 w 1429220"/>
                <a:gd name="connsiteY0" fmla="*/ 867715 h 1735409"/>
                <a:gd name="connsiteX1" fmla="*/ 1429102 w 1429220"/>
                <a:gd name="connsiteY1" fmla="*/ 0 h 1735409"/>
                <a:gd name="connsiteX2" fmla="*/ 1026072 w 1429220"/>
                <a:gd name="connsiteY2" fmla="*/ 0 h 1735409"/>
                <a:gd name="connsiteX3" fmla="*/ 6665 w 1429220"/>
                <a:gd name="connsiteY3" fmla="*/ 862058 h 1735409"/>
                <a:gd name="connsiteX4" fmla="*/ 0 w 1429220"/>
                <a:gd name="connsiteY4" fmla="*/ 867715 h 1735409"/>
                <a:gd name="connsiteX5" fmla="*/ 1024022 w 1429220"/>
                <a:gd name="connsiteY5" fmla="*/ 1733655 h 1735409"/>
                <a:gd name="connsiteX6" fmla="*/ 1026072 w 1429220"/>
                <a:gd name="connsiteY6" fmla="*/ 1735409 h 1735409"/>
                <a:gd name="connsiteX7" fmla="*/ 1429221 w 1429220"/>
                <a:gd name="connsiteY7" fmla="*/ 1735409 h 1735409"/>
                <a:gd name="connsiteX8" fmla="*/ 403030 w 1429220"/>
                <a:gd name="connsiteY8" fmla="*/ 867715 h 173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220" h="1735409">
                  <a:moveTo>
                    <a:pt x="403030" y="867715"/>
                  </a:moveTo>
                  <a:lnTo>
                    <a:pt x="1429102" y="0"/>
                  </a:lnTo>
                  <a:lnTo>
                    <a:pt x="1026072" y="0"/>
                  </a:lnTo>
                  <a:lnTo>
                    <a:pt x="6665" y="862058"/>
                  </a:lnTo>
                  <a:lnTo>
                    <a:pt x="0" y="867715"/>
                  </a:lnTo>
                  <a:lnTo>
                    <a:pt x="1024022" y="1733655"/>
                  </a:lnTo>
                  <a:lnTo>
                    <a:pt x="1026072" y="1735409"/>
                  </a:lnTo>
                  <a:lnTo>
                    <a:pt x="1429221" y="1735409"/>
                  </a:lnTo>
                  <a:lnTo>
                    <a:pt x="403030" y="867715"/>
                  </a:lnTo>
                  <a:close/>
                </a:path>
              </a:pathLst>
            </a:custGeom>
            <a:grpFill/>
            <a:ln w="1972" cap="flat">
              <a:noFill/>
              <a:prstDash val="solid"/>
              <a:miter/>
            </a:ln>
          </p:spPr>
          <p:txBody>
            <a:bodyPr rtlCol="0" anchor="ctr"/>
            <a:lstStyle/>
            <a:p>
              <a:endParaRPr lang="en-US"/>
            </a:p>
          </p:txBody>
        </p:sp>
        <p:sp>
          <p:nvSpPr>
            <p:cNvPr id="6" name="Freeform 13">
              <a:extLst>
                <a:ext uri="{FF2B5EF4-FFF2-40B4-BE49-F238E27FC236}">
                  <a16:creationId xmlns:a16="http://schemas.microsoft.com/office/drawing/2014/main" id="{9F629670-5E2F-8BFA-0D73-6127F5336BE0}"/>
                </a:ext>
              </a:extLst>
            </p:cNvPr>
            <p:cNvSpPr/>
            <p:nvPr/>
          </p:nvSpPr>
          <p:spPr>
            <a:xfrm>
              <a:off x="2295838" y="1674374"/>
              <a:ext cx="1881493" cy="1794690"/>
            </a:xfrm>
            <a:custGeom>
              <a:avLst/>
              <a:gdLst>
                <a:gd name="connsiteX0" fmla="*/ 1814643 w 1881493"/>
                <a:gd name="connsiteY0" fmla="*/ 547443 h 1794690"/>
                <a:gd name="connsiteX1" fmla="*/ 1612674 w 1881493"/>
                <a:gd name="connsiteY1" fmla="*/ 257739 h 1794690"/>
                <a:gd name="connsiteX2" fmla="*/ 1309110 w 1881493"/>
                <a:gd name="connsiteY2" fmla="*/ 64720 h 1794690"/>
                <a:gd name="connsiteX3" fmla="*/ 937848 w 1881493"/>
                <a:gd name="connsiteY3" fmla="*/ 0 h 1794690"/>
                <a:gd name="connsiteX4" fmla="*/ 935876 w 1881493"/>
                <a:gd name="connsiteY4" fmla="*/ 0 h 1794690"/>
                <a:gd name="connsiteX5" fmla="*/ 567434 w 1881493"/>
                <a:gd name="connsiteY5" fmla="*/ 63577 h 1794690"/>
                <a:gd name="connsiteX6" fmla="*/ 266532 w 1881493"/>
                <a:gd name="connsiteY6" fmla="*/ 255669 h 1794690"/>
                <a:gd name="connsiteX7" fmla="*/ 66910 w 1881493"/>
                <a:gd name="connsiteY7" fmla="*/ 546044 h 1794690"/>
                <a:gd name="connsiteX8" fmla="*/ 1 w 1881493"/>
                <a:gd name="connsiteY8" fmla="*/ 903997 h 1794690"/>
                <a:gd name="connsiteX9" fmla="*/ 65352 w 1881493"/>
                <a:gd name="connsiteY9" fmla="*/ 1253928 h 1794690"/>
                <a:gd name="connsiteX10" fmla="*/ 262687 w 1881493"/>
                <a:gd name="connsiteY10" fmla="*/ 1540085 h 1794690"/>
                <a:gd name="connsiteX11" fmla="*/ 559113 w 1881493"/>
                <a:gd name="connsiteY11" fmla="*/ 1730758 h 1794690"/>
                <a:gd name="connsiteX12" fmla="*/ 921382 w 1881493"/>
                <a:gd name="connsiteY12" fmla="*/ 1794691 h 1794690"/>
                <a:gd name="connsiteX13" fmla="*/ 923354 w 1881493"/>
                <a:gd name="connsiteY13" fmla="*/ 1794691 h 1794690"/>
                <a:gd name="connsiteX14" fmla="*/ 1299861 w 1881493"/>
                <a:gd name="connsiteY14" fmla="*/ 1731941 h 1794690"/>
                <a:gd name="connsiteX15" fmla="*/ 1608040 w 1881493"/>
                <a:gd name="connsiteY15" fmla="*/ 1542253 h 1794690"/>
                <a:gd name="connsiteX16" fmla="*/ 1812848 w 1881493"/>
                <a:gd name="connsiteY16" fmla="*/ 1255446 h 1794690"/>
                <a:gd name="connsiteX17" fmla="*/ 1881493 w 1881493"/>
                <a:gd name="connsiteY17" fmla="*/ 901927 h 1794690"/>
                <a:gd name="connsiteX18" fmla="*/ 1814643 w 1881493"/>
                <a:gd name="connsiteY18" fmla="*/ 547443 h 1794690"/>
                <a:gd name="connsiteX19" fmla="*/ 1417982 w 1881493"/>
                <a:gd name="connsiteY19" fmla="*/ 1364193 h 1794690"/>
                <a:gd name="connsiteX20" fmla="*/ 1201815 w 1881493"/>
                <a:gd name="connsiteY20" fmla="*/ 1504808 h 1794690"/>
                <a:gd name="connsiteX21" fmla="*/ 939288 w 1881493"/>
                <a:gd name="connsiteY21" fmla="*/ 1551398 h 1794690"/>
                <a:gd name="connsiteX22" fmla="*/ 937947 w 1881493"/>
                <a:gd name="connsiteY22" fmla="*/ 1551398 h 1794690"/>
                <a:gd name="connsiteX23" fmla="*/ 675675 w 1881493"/>
                <a:gd name="connsiteY23" fmla="*/ 1504907 h 1794690"/>
                <a:gd name="connsiteX24" fmla="*/ 461638 w 1881493"/>
                <a:gd name="connsiteY24" fmla="*/ 1366420 h 1794690"/>
                <a:gd name="connsiteX25" fmla="*/ 319322 w 1881493"/>
                <a:gd name="connsiteY25" fmla="*/ 1158779 h 1794690"/>
                <a:gd name="connsiteX26" fmla="*/ 272172 w 1881493"/>
                <a:gd name="connsiteY26" fmla="*/ 904411 h 1794690"/>
                <a:gd name="connsiteX27" fmla="*/ 319972 w 1881493"/>
                <a:gd name="connsiteY27" fmla="*/ 643598 h 1794690"/>
                <a:gd name="connsiteX28" fmla="*/ 462467 w 1881493"/>
                <a:gd name="connsiteY28" fmla="*/ 434281 h 1794690"/>
                <a:gd name="connsiteX29" fmla="*/ 678574 w 1881493"/>
                <a:gd name="connsiteY29" fmla="*/ 296484 h 1794690"/>
                <a:gd name="connsiteX30" fmla="*/ 946071 w 1881493"/>
                <a:gd name="connsiteY30" fmla="*/ 250782 h 1794690"/>
                <a:gd name="connsiteX31" fmla="*/ 947491 w 1881493"/>
                <a:gd name="connsiteY31" fmla="*/ 250782 h 1794690"/>
                <a:gd name="connsiteX32" fmla="*/ 1205621 w 1881493"/>
                <a:gd name="connsiteY32" fmla="*/ 297706 h 1794690"/>
                <a:gd name="connsiteX33" fmla="*/ 1419520 w 1881493"/>
                <a:gd name="connsiteY33" fmla="*/ 437631 h 1794690"/>
                <a:gd name="connsiteX34" fmla="*/ 1563217 w 1881493"/>
                <a:gd name="connsiteY34" fmla="*/ 645470 h 1794690"/>
                <a:gd name="connsiteX35" fmla="*/ 1610860 w 1881493"/>
                <a:gd name="connsiteY35" fmla="*/ 896547 h 1794690"/>
                <a:gd name="connsiteX36" fmla="*/ 1599324 w 1881493"/>
                <a:gd name="connsiteY36" fmla="*/ 1027229 h 1794690"/>
                <a:gd name="connsiteX37" fmla="*/ 1417982 w 1881493"/>
                <a:gd name="connsiteY37" fmla="*/ 1364193 h 17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81493" h="1794690">
                  <a:moveTo>
                    <a:pt x="1814643" y="547443"/>
                  </a:moveTo>
                  <a:cubicBezTo>
                    <a:pt x="1769998" y="440528"/>
                    <a:pt x="1702043" y="343054"/>
                    <a:pt x="1612674" y="257739"/>
                  </a:cubicBezTo>
                  <a:cubicBezTo>
                    <a:pt x="1523305" y="172423"/>
                    <a:pt x="1421137" y="107486"/>
                    <a:pt x="1309110" y="64720"/>
                  </a:cubicBezTo>
                  <a:cubicBezTo>
                    <a:pt x="1197083" y="21954"/>
                    <a:pt x="1072277" y="197"/>
                    <a:pt x="937848" y="0"/>
                  </a:cubicBezTo>
                  <a:lnTo>
                    <a:pt x="935876" y="0"/>
                  </a:lnTo>
                  <a:cubicBezTo>
                    <a:pt x="802216" y="0"/>
                    <a:pt x="678258" y="21383"/>
                    <a:pt x="567434" y="63577"/>
                  </a:cubicBezTo>
                  <a:cubicBezTo>
                    <a:pt x="455979" y="106008"/>
                    <a:pt x="354738" y="170630"/>
                    <a:pt x="266532" y="255669"/>
                  </a:cubicBezTo>
                  <a:cubicBezTo>
                    <a:pt x="178326" y="340708"/>
                    <a:pt x="111121" y="438420"/>
                    <a:pt x="66910" y="546044"/>
                  </a:cubicBezTo>
                  <a:cubicBezTo>
                    <a:pt x="22699" y="653668"/>
                    <a:pt x="198" y="774024"/>
                    <a:pt x="1" y="903997"/>
                  </a:cubicBezTo>
                  <a:cubicBezTo>
                    <a:pt x="-196" y="1030659"/>
                    <a:pt x="21693" y="1148373"/>
                    <a:pt x="65352" y="1253928"/>
                  </a:cubicBezTo>
                  <a:cubicBezTo>
                    <a:pt x="109012" y="1359483"/>
                    <a:pt x="175349" y="1455795"/>
                    <a:pt x="262687" y="1540085"/>
                  </a:cubicBezTo>
                  <a:cubicBezTo>
                    <a:pt x="350025" y="1624376"/>
                    <a:pt x="449747" y="1688505"/>
                    <a:pt x="559113" y="1730758"/>
                  </a:cubicBezTo>
                  <a:cubicBezTo>
                    <a:pt x="668478" y="1773012"/>
                    <a:pt x="790266" y="1794493"/>
                    <a:pt x="921382" y="1794691"/>
                  </a:cubicBezTo>
                  <a:lnTo>
                    <a:pt x="923354" y="1794691"/>
                  </a:lnTo>
                  <a:cubicBezTo>
                    <a:pt x="1059834" y="1794691"/>
                    <a:pt x="1186513" y="1773583"/>
                    <a:pt x="1299861" y="1731941"/>
                  </a:cubicBezTo>
                  <a:cubicBezTo>
                    <a:pt x="1414196" y="1689845"/>
                    <a:pt x="1518986" y="1625359"/>
                    <a:pt x="1608040" y="1542253"/>
                  </a:cubicBezTo>
                  <a:cubicBezTo>
                    <a:pt x="1698553" y="1458219"/>
                    <a:pt x="1767473" y="1361730"/>
                    <a:pt x="1812848" y="1255446"/>
                  </a:cubicBezTo>
                  <a:cubicBezTo>
                    <a:pt x="1858223" y="1149162"/>
                    <a:pt x="1881295" y="1030264"/>
                    <a:pt x="1881493" y="901927"/>
                  </a:cubicBezTo>
                  <a:cubicBezTo>
                    <a:pt x="1881689" y="773590"/>
                    <a:pt x="1859268" y="654358"/>
                    <a:pt x="1814643" y="547443"/>
                  </a:cubicBezTo>
                  <a:close/>
                  <a:moveTo>
                    <a:pt x="1417982" y="1364193"/>
                  </a:moveTo>
                  <a:cubicBezTo>
                    <a:pt x="1354130" y="1426450"/>
                    <a:pt x="1281404" y="1473749"/>
                    <a:pt x="1201815" y="1504808"/>
                  </a:cubicBezTo>
                  <a:cubicBezTo>
                    <a:pt x="1122562" y="1535730"/>
                    <a:pt x="1034198" y="1551398"/>
                    <a:pt x="939288" y="1551398"/>
                  </a:cubicBezTo>
                  <a:lnTo>
                    <a:pt x="937947" y="1551398"/>
                  </a:lnTo>
                  <a:cubicBezTo>
                    <a:pt x="842898" y="1551240"/>
                    <a:pt x="754554" y="1535631"/>
                    <a:pt x="675675" y="1504907"/>
                  </a:cubicBezTo>
                  <a:cubicBezTo>
                    <a:pt x="596797" y="1474183"/>
                    <a:pt x="524702" y="1427653"/>
                    <a:pt x="461638" y="1366420"/>
                  </a:cubicBezTo>
                  <a:cubicBezTo>
                    <a:pt x="398575" y="1305188"/>
                    <a:pt x="350735" y="1235364"/>
                    <a:pt x="319322" y="1158779"/>
                  </a:cubicBezTo>
                  <a:cubicBezTo>
                    <a:pt x="287908" y="1082195"/>
                    <a:pt x="271995" y="996584"/>
                    <a:pt x="272172" y="904411"/>
                  </a:cubicBezTo>
                  <a:cubicBezTo>
                    <a:pt x="272310" y="809320"/>
                    <a:pt x="288401" y="721581"/>
                    <a:pt x="319972" y="643598"/>
                  </a:cubicBezTo>
                  <a:cubicBezTo>
                    <a:pt x="351544" y="565614"/>
                    <a:pt x="399462" y="495257"/>
                    <a:pt x="462467" y="434281"/>
                  </a:cubicBezTo>
                  <a:cubicBezTo>
                    <a:pt x="524288" y="374026"/>
                    <a:pt x="597842" y="327122"/>
                    <a:pt x="678574" y="296484"/>
                  </a:cubicBezTo>
                  <a:cubicBezTo>
                    <a:pt x="758656" y="266154"/>
                    <a:pt x="848656" y="250782"/>
                    <a:pt x="946071" y="250782"/>
                  </a:cubicBezTo>
                  <a:lnTo>
                    <a:pt x="947491" y="250782"/>
                  </a:lnTo>
                  <a:cubicBezTo>
                    <a:pt x="1040469" y="250920"/>
                    <a:pt x="1127314" y="266706"/>
                    <a:pt x="1205621" y="297706"/>
                  </a:cubicBezTo>
                  <a:cubicBezTo>
                    <a:pt x="1283928" y="328706"/>
                    <a:pt x="1355846" y="375749"/>
                    <a:pt x="1419520" y="437631"/>
                  </a:cubicBezTo>
                  <a:cubicBezTo>
                    <a:pt x="1483195" y="499514"/>
                    <a:pt x="1531488" y="569417"/>
                    <a:pt x="1563217" y="645470"/>
                  </a:cubicBezTo>
                  <a:cubicBezTo>
                    <a:pt x="1594946" y="721522"/>
                    <a:pt x="1610998" y="806069"/>
                    <a:pt x="1610860" y="896547"/>
                  </a:cubicBezTo>
                  <a:cubicBezTo>
                    <a:pt x="1610919" y="940365"/>
                    <a:pt x="1607054" y="984099"/>
                    <a:pt x="1599324" y="1027229"/>
                  </a:cubicBezTo>
                  <a:cubicBezTo>
                    <a:pt x="1575621" y="1156532"/>
                    <a:pt x="1514628" y="1269911"/>
                    <a:pt x="1417982" y="1364193"/>
                  </a:cubicBezTo>
                  <a:close/>
                </a:path>
              </a:pathLst>
            </a:custGeom>
            <a:grpFill/>
            <a:ln w="1972" cap="flat">
              <a:noFill/>
              <a:prstDash val="solid"/>
              <a:miter/>
            </a:ln>
          </p:spPr>
          <p:txBody>
            <a:bodyPr rtlCol="0" anchor="ctr"/>
            <a:lstStyle/>
            <a:p>
              <a:endParaRPr lang="en-US"/>
            </a:p>
          </p:txBody>
        </p:sp>
        <p:sp>
          <p:nvSpPr>
            <p:cNvPr id="7" name="Freeform 14">
              <a:extLst>
                <a:ext uri="{FF2B5EF4-FFF2-40B4-BE49-F238E27FC236}">
                  <a16:creationId xmlns:a16="http://schemas.microsoft.com/office/drawing/2014/main" id="{9B99146A-4055-2125-3098-1EF0E51C5852}"/>
                </a:ext>
              </a:extLst>
            </p:cNvPr>
            <p:cNvSpPr/>
            <p:nvPr/>
          </p:nvSpPr>
          <p:spPr>
            <a:xfrm>
              <a:off x="469958" y="1647414"/>
              <a:ext cx="1719691" cy="1847802"/>
            </a:xfrm>
            <a:custGeom>
              <a:avLst/>
              <a:gdLst>
                <a:gd name="connsiteX0" fmla="*/ 0 w 1719691"/>
                <a:gd name="connsiteY0" fmla="*/ 0 h 1847802"/>
                <a:gd name="connsiteX1" fmla="*/ 0 w 1719691"/>
                <a:gd name="connsiteY1" fmla="*/ 1794395 h 1847802"/>
                <a:gd name="connsiteX2" fmla="*/ 277515 w 1719691"/>
                <a:gd name="connsiteY2" fmla="*/ 1794395 h 1847802"/>
                <a:gd name="connsiteX3" fmla="*/ 277534 w 1719691"/>
                <a:gd name="connsiteY3" fmla="*/ 607611 h 1847802"/>
                <a:gd name="connsiteX4" fmla="*/ 1707485 w 1719691"/>
                <a:gd name="connsiteY4" fmla="*/ 1837299 h 1847802"/>
                <a:gd name="connsiteX5" fmla="*/ 1719691 w 1719691"/>
                <a:gd name="connsiteY5" fmla="*/ 1847803 h 1847802"/>
                <a:gd name="connsiteX6" fmla="*/ 1719691 w 1719691"/>
                <a:gd name="connsiteY6" fmla="*/ 1476350 h 1847802"/>
                <a:gd name="connsiteX7" fmla="*/ 0 w 1719691"/>
                <a:gd name="connsiteY7" fmla="*/ 0 h 184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9691" h="1847802">
                  <a:moveTo>
                    <a:pt x="0" y="0"/>
                  </a:moveTo>
                  <a:lnTo>
                    <a:pt x="0" y="1794395"/>
                  </a:lnTo>
                  <a:lnTo>
                    <a:pt x="277515" y="1794395"/>
                  </a:lnTo>
                  <a:lnTo>
                    <a:pt x="277534" y="607611"/>
                  </a:lnTo>
                  <a:lnTo>
                    <a:pt x="1707485" y="1837299"/>
                  </a:lnTo>
                  <a:lnTo>
                    <a:pt x="1719691" y="1847803"/>
                  </a:lnTo>
                  <a:lnTo>
                    <a:pt x="1719691" y="1476350"/>
                  </a:lnTo>
                  <a:lnTo>
                    <a:pt x="0" y="0"/>
                  </a:lnTo>
                  <a:close/>
                </a:path>
              </a:pathLst>
            </a:custGeom>
            <a:grpFill/>
            <a:ln w="1972" cap="flat">
              <a:noFill/>
              <a:prstDash val="solid"/>
              <a:miter/>
            </a:ln>
          </p:spPr>
          <p:txBody>
            <a:bodyPr rtlCol="0" anchor="ctr"/>
            <a:lstStyle/>
            <a:p>
              <a:endParaRPr lang="en-US"/>
            </a:p>
          </p:txBody>
        </p:sp>
      </p:grpSp>
    </p:spTree>
    <p:extLst>
      <p:ext uri="{BB962C8B-B14F-4D97-AF65-F5344CB8AC3E}">
        <p14:creationId xmlns:p14="http://schemas.microsoft.com/office/powerpoint/2010/main" val="5239167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1 Blank">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A2CC8E39-9A4E-A4DF-F50E-11E2BDCAFF7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4684DA7-0D8A-B949-344B-2DA84CB93D5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FF67EED-9146-FEFB-B660-62A252EB5D8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6E4F0CF6-F16F-8670-1980-E9ED719A0C6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709EC740-2475-5AA1-087D-BD5771EDD1C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17308471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Titl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9" name="TextBox 8">
            <a:extLst>
              <a:ext uri="{FF2B5EF4-FFF2-40B4-BE49-F238E27FC236}">
                <a16:creationId xmlns:a16="http://schemas.microsoft.com/office/drawing/2014/main" id="{55C1BFCD-6D0E-9392-8AF1-AA5AC554C5C9}"/>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660ADFB8-3432-B307-E345-E3F3BD40FB23}"/>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E8B6B60-CBCC-891E-2583-9E8CD3C9950B}"/>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CBFB85A3-5CE3-2927-6461-99DEDFB9D5F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300DB195-1107-8013-46E6-4E717B6FFF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16" y="4566472"/>
            <a:ext cx="759682" cy="362164"/>
          </a:xfrm>
          <a:prstGeom prst="rect">
            <a:avLst/>
          </a:prstGeom>
        </p:spPr>
      </p:pic>
    </p:spTree>
    <p:extLst>
      <p:ext uri="{BB962C8B-B14F-4D97-AF65-F5344CB8AC3E}">
        <p14:creationId xmlns:p14="http://schemas.microsoft.com/office/powerpoint/2010/main" val="3020258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3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tx2"/>
                </a:solidFill>
              </a:defRPr>
            </a:lvl1pPr>
            <a:lvl2pPr marL="180000" indent="0">
              <a:lnSpc>
                <a:spcPct val="100000"/>
              </a:lnSpc>
              <a:spcBef>
                <a:spcPts val="0"/>
              </a:spcBef>
              <a:spcAft>
                <a:spcPts val="600"/>
              </a:spcAft>
              <a:buSzPct val="70000"/>
              <a:buNone/>
              <a:defRPr sz="1200">
                <a:solidFill>
                  <a:schemeClr val="tx2"/>
                </a:solidFill>
              </a:defRPr>
            </a:lvl2pPr>
            <a:lvl3pPr marL="360000" indent="0">
              <a:lnSpc>
                <a:spcPct val="100000"/>
              </a:lnSpc>
              <a:spcBef>
                <a:spcPts val="0"/>
              </a:spcBef>
              <a:spcAft>
                <a:spcPts val="600"/>
              </a:spcAft>
              <a:buSzPct val="70000"/>
              <a:buNone/>
              <a:defRPr sz="1200">
                <a:solidFill>
                  <a:schemeClr val="tx2"/>
                </a:solidFill>
              </a:defRPr>
            </a:lvl3pPr>
            <a:lvl4pPr marL="540000" indent="0">
              <a:lnSpc>
                <a:spcPct val="100000"/>
              </a:lnSpc>
              <a:spcBef>
                <a:spcPts val="0"/>
              </a:spcBef>
              <a:spcAft>
                <a:spcPts val="600"/>
              </a:spcAft>
              <a:buSzPct val="70000"/>
              <a:buNone/>
              <a:defRPr sz="1200">
                <a:solidFill>
                  <a:schemeClr val="tx2"/>
                </a:solidFill>
              </a:defRPr>
            </a:lvl4pPr>
            <a:lvl5pPr marL="720000" indent="0">
              <a:lnSpc>
                <a:spcPct val="100000"/>
              </a:lnSpc>
              <a:spcBef>
                <a:spcPts val="0"/>
              </a:spcBef>
              <a:spcAft>
                <a:spcPts val="600"/>
              </a:spcAft>
              <a:buSzPct val="70000"/>
              <a:buNone/>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56FD5FAA-4E42-2A01-7A0D-9D47214A39C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43C41B3-444A-B935-7F1C-44CC756EF99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CDFE4EE1-1B23-D0EA-39ED-CDDC6ECFE4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C726386B-D9AC-0FCA-9F12-0FA32276F2A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95312E0D-6EDD-C9CB-B659-BD24C44DD2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6209481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86B13C58-337C-7F31-E842-1040B36F0D2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50257226-AE3E-3B65-71BB-8A6565585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FC74384-DD2A-533D-796C-EFFF39625FF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ACB227E-CF72-2719-133F-6CBEB353488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AF1D1C55-3D58-E380-0F4B-31E46DC3C0E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2153008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CAA37820-182D-1EB7-AF8B-A6B34F63F68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CE2E5BE2-B331-A0C0-8C3D-3B644FF16CAA}"/>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C4471E01-4B5D-597C-1AAD-279941B82E1C}"/>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177C34D5-50E3-692A-4113-A20C2953002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809F34BB-F598-5D92-F766-9DF05B3871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41923357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4095FB67-347C-9744-DDEC-EB9F26AE1E3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8A08A66-7F86-F362-AA5F-FEC2F95CF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1E32FE7-F16C-F5A2-7976-C8AE67A2B60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1B4CAA9-38F1-6F57-641C-B296225D4B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CA2749FB-B905-0458-3733-A78C8B58975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42126223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7239245-EC69-0915-96DF-689D05839B6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1E7D37B-C01D-8FDC-39D7-B6613DBAB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2D8ACCE-D657-1865-39B4-712A9F5DDA4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CD2F1279-1655-0D51-01CE-FA8A8342117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51C457F8-C5CA-D580-C266-7F8F0E1B69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2447539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4095FB67-347C-9744-DDEC-EB9F26AE1E3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8A08A66-7F86-F362-AA5F-FEC2F95CF47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1E32FE7-F16C-F5A2-7976-C8AE67A2B607}"/>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1B4CAA9-38F1-6F57-641C-B296225D4B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11496995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sp>
        <p:nvSpPr>
          <p:cNvPr id="10" name="TextBox 9">
            <a:extLst>
              <a:ext uri="{FF2B5EF4-FFF2-40B4-BE49-F238E27FC236}">
                <a16:creationId xmlns:a16="http://schemas.microsoft.com/office/drawing/2014/main" id="{5D6B4C56-703F-C230-A142-8BA0A116DED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1F6435CA-6601-0B80-DBC4-827F05548E9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DD1AEB7-7A91-F37A-8098-1A01C413E0C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1F0A7CA-1E30-E2BF-7969-46EE62F47BE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6D65D38E-8FC8-13AF-9A35-1291A1FA9F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8893492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2 Title">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24C933E3-B146-FAE7-F52E-3095C8267E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39250147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1.2 Title">
    <p:spTree>
      <p:nvGrpSpPr>
        <p:cNvPr id="1" name=""/>
        <p:cNvGrpSpPr/>
        <p:nvPr/>
      </p:nvGrpSpPr>
      <p:grpSpPr>
        <a:xfrm>
          <a:off x="0" y="0"/>
          <a:ext cx="0" cy="0"/>
          <a:chOff x="0" y="0"/>
          <a:chExt cx="0" cy="0"/>
        </a:xfrm>
      </p:grpSpPr>
      <p:sp>
        <p:nvSpPr>
          <p:cNvPr id="3" name="Media Placeholder 6">
            <a:extLst>
              <a:ext uri="{FF2B5EF4-FFF2-40B4-BE49-F238E27FC236}">
                <a16:creationId xmlns:a16="http://schemas.microsoft.com/office/drawing/2014/main" id="{BB2531A6-B2AF-8CE3-D4E6-FFA2A6F43CBA}"/>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3BBB033B-E647-7BF1-D480-420A0AE357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spTree>
    <p:extLst>
      <p:ext uri="{BB962C8B-B14F-4D97-AF65-F5344CB8AC3E}">
        <p14:creationId xmlns:p14="http://schemas.microsoft.com/office/powerpoint/2010/main" val="865899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6 Half image">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C853DDBC-443E-D2EE-AA09-F815D5BE49A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2828423F-10A4-D452-0424-8A3CAC2408D7}"/>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33D91186-F39A-461C-3CC9-A6507EE465FF}"/>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B5F4FFD2-D5D2-2F5A-BE1E-C1FC6519294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5" name="Picture 4" descr="Icon&#10;&#10;Description automatically generated">
            <a:extLst>
              <a:ext uri="{FF2B5EF4-FFF2-40B4-BE49-F238E27FC236}">
                <a16:creationId xmlns:a16="http://schemas.microsoft.com/office/drawing/2014/main" id="{F0ACF303-4B00-9563-F24C-308F4E332D8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28404259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F51C177B-3FC8-584E-049C-6A9FE0A186D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1C285EB0-637E-9CAE-CF2D-FD5A572F557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F69C3BFD-65A3-382D-EA4E-2A6602A965B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ADBADA14-4C6E-3591-235D-3AE34227961E}"/>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B2EB7CA2-D001-C2F9-9A35-08574595ED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0150510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1.6 Half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2"/>
          </a:solidFill>
        </p:spPr>
        <p:txBody>
          <a:bodyPr/>
          <a:lstStyle>
            <a:lvl1pPr marL="0" indent="0">
              <a:buNone/>
              <a:defRPr sz="1000">
                <a:solidFill>
                  <a:schemeClr val="bg1"/>
                </a:solidFill>
              </a:defRPr>
            </a:lvl1pPr>
          </a:lstStyle>
          <a:p>
            <a:r>
              <a:rPr lang="en-US" dirty="0"/>
              <a:t>Click to add picture</a:t>
            </a:r>
          </a:p>
        </p:txBody>
      </p:sp>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C629DB26-11E5-ACF0-2010-650C5404280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5" name="Slide Number Placeholder 5">
            <a:extLst>
              <a:ext uri="{FF2B5EF4-FFF2-40B4-BE49-F238E27FC236}">
                <a16:creationId xmlns:a16="http://schemas.microsoft.com/office/drawing/2014/main" id="{48CDC4FF-5FCD-6139-0116-3D836D1460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6" name="Straight Connector 15">
            <a:extLst>
              <a:ext uri="{FF2B5EF4-FFF2-40B4-BE49-F238E27FC236}">
                <a16:creationId xmlns:a16="http://schemas.microsoft.com/office/drawing/2014/main" id="{E0338BE9-E41F-8369-F9D3-6CF495630322}"/>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Footer Placeholder 2">
            <a:extLst>
              <a:ext uri="{FF2B5EF4-FFF2-40B4-BE49-F238E27FC236}">
                <a16:creationId xmlns:a16="http://schemas.microsoft.com/office/drawing/2014/main" id="{20839AE3-23F8-8E55-3FA3-1B4150432C0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EF3A514B-D6AD-6312-EF1A-8675CC76E0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412505135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1.7 Half Blue-bla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sz="1200">
                <a:solidFill>
                  <a:schemeClr val="tx2"/>
                </a:solidFill>
              </a:defRPr>
            </a:lvl4pPr>
            <a:lvl5pPr marL="900000" indent="-180000">
              <a:lnSpc>
                <a:spcPct val="100000"/>
              </a:lnSpc>
              <a:spcBef>
                <a:spcPts val="0"/>
              </a:spcBef>
              <a:spcAft>
                <a:spcPts val="600"/>
              </a:spcAft>
              <a:buSzPct val="70000"/>
              <a:defRPr sz="12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A17DAC68-7FA5-283E-0003-FC78D893CBC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A5133E-5A19-2135-6AC8-95A70D3E458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56AF0067-8CB1-581C-E8B3-761B8AA85710}"/>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39B62371-B8A4-2689-1BCB-5F7AC2C2FF1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29F40A85-5A23-C022-FB29-8D7C165C64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3418667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1.1 Blank">
    <p:bg>
      <p:bgPr>
        <a:solidFill>
          <a:schemeClr val="tx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39A41EB-58FB-922A-AD7C-3AE3F195AE9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A76F728-DC69-4AD8-9AEF-5B486F40096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E9B1CC16-8142-C9B4-AA53-7C6F5EB6495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22520D9A-9611-C82A-E40B-BC50B9BE663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853901E9-F9ED-B0E8-5DF2-10A734C37A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7635533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1.2 Titl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Box 8">
            <a:extLst>
              <a:ext uri="{FF2B5EF4-FFF2-40B4-BE49-F238E27FC236}">
                <a16:creationId xmlns:a16="http://schemas.microsoft.com/office/drawing/2014/main" id="{AE26DEAE-F305-C645-6B32-DF908A237FC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0" name="Slide Number Placeholder 5">
            <a:extLst>
              <a:ext uri="{FF2B5EF4-FFF2-40B4-BE49-F238E27FC236}">
                <a16:creationId xmlns:a16="http://schemas.microsoft.com/office/drawing/2014/main" id="{761FD5D9-C8CE-C240-0A2D-0C2075105609}"/>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1" name="Straight Connector 10">
            <a:extLst>
              <a:ext uri="{FF2B5EF4-FFF2-40B4-BE49-F238E27FC236}">
                <a16:creationId xmlns:a16="http://schemas.microsoft.com/office/drawing/2014/main" id="{41AC439E-0DDA-84C5-68C7-53D323ED0EC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09A6CDBE-EDE4-1381-C4AF-F7D0ED86948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ECED0D11-2FDC-6A94-6C2A-378F5B1227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6652346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1.3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0" indent="0">
              <a:lnSpc>
                <a:spcPct val="100000"/>
              </a:lnSpc>
              <a:spcBef>
                <a:spcPts val="0"/>
              </a:spcBef>
              <a:spcAft>
                <a:spcPts val="600"/>
              </a:spcAft>
              <a:buSzPct val="70000"/>
              <a:buNone/>
              <a:defRPr sz="1200">
                <a:solidFill>
                  <a:schemeClr val="bg1"/>
                </a:solidFill>
              </a:defRPr>
            </a:lvl1pPr>
            <a:lvl2pPr marL="180000" indent="0">
              <a:lnSpc>
                <a:spcPct val="100000"/>
              </a:lnSpc>
              <a:spcBef>
                <a:spcPts val="0"/>
              </a:spcBef>
              <a:spcAft>
                <a:spcPts val="600"/>
              </a:spcAft>
              <a:buSzPct val="70000"/>
              <a:buNone/>
              <a:defRPr sz="1200">
                <a:solidFill>
                  <a:schemeClr val="bg1"/>
                </a:solidFill>
              </a:defRPr>
            </a:lvl2pPr>
            <a:lvl3pPr marL="360000" indent="0">
              <a:lnSpc>
                <a:spcPct val="100000"/>
              </a:lnSpc>
              <a:spcBef>
                <a:spcPts val="0"/>
              </a:spcBef>
              <a:spcAft>
                <a:spcPts val="600"/>
              </a:spcAft>
              <a:buSzPct val="70000"/>
              <a:buNone/>
              <a:defRPr sz="1200">
                <a:solidFill>
                  <a:schemeClr val="bg1"/>
                </a:solidFill>
              </a:defRPr>
            </a:lvl3pPr>
            <a:lvl4pPr marL="540000" indent="0">
              <a:lnSpc>
                <a:spcPct val="100000"/>
              </a:lnSpc>
              <a:spcBef>
                <a:spcPts val="0"/>
              </a:spcBef>
              <a:spcAft>
                <a:spcPts val="600"/>
              </a:spcAft>
              <a:buSzPct val="70000"/>
              <a:buNone/>
              <a:defRPr sz="1200">
                <a:solidFill>
                  <a:schemeClr val="bg1"/>
                </a:solidFill>
              </a:defRPr>
            </a:lvl4pPr>
            <a:lvl5pPr marL="720000" indent="0">
              <a:lnSpc>
                <a:spcPct val="100000"/>
              </a:lnSpc>
              <a:spcBef>
                <a:spcPts val="0"/>
              </a:spcBef>
              <a:spcAft>
                <a:spcPts val="600"/>
              </a:spcAft>
              <a:buSzPct val="70000"/>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37B7B596-4152-517C-5C30-64F14F1B9A2E}"/>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8C58317-1366-95A8-E74C-B47D5FE79D6E}"/>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30F4086A-EEE4-7238-CF78-1C3E853BE87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0D26E4F-5A2F-75BE-4956-4C895F30A9F7}"/>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19E86129-24D6-AA21-699B-6F089486020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85819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1.4 Bulletpoint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Graphic 6">
            <a:extLst>
              <a:ext uri="{FF2B5EF4-FFF2-40B4-BE49-F238E27FC236}">
                <a16:creationId xmlns:a16="http://schemas.microsoft.com/office/drawing/2014/main" id="{139376B1-B82D-56A6-933E-41123F9F3F5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tx2"/>
                </a:solidFill>
              </a:defRPr>
            </a:lvl1pPr>
            <a:lvl2pPr marL="360000" indent="-180000">
              <a:lnSpc>
                <a:spcPct val="100000"/>
              </a:lnSpc>
              <a:spcBef>
                <a:spcPts val="0"/>
              </a:spcBef>
              <a:spcAft>
                <a:spcPts val="600"/>
              </a:spcAft>
              <a:buSzPct val="70000"/>
              <a:defRPr sz="1200">
                <a:solidFill>
                  <a:schemeClr val="tx2"/>
                </a:solidFill>
              </a:defRPr>
            </a:lvl2pPr>
            <a:lvl3pPr marL="540000" indent="-180000">
              <a:lnSpc>
                <a:spcPct val="100000"/>
              </a:lnSpc>
              <a:spcBef>
                <a:spcPts val="0"/>
              </a:spcBef>
              <a:spcAft>
                <a:spcPts val="600"/>
              </a:spcAft>
              <a:buSzPct val="70000"/>
              <a:defRPr sz="1200">
                <a:solidFill>
                  <a:schemeClr val="tx2"/>
                </a:solidFill>
              </a:defRPr>
            </a:lvl3pPr>
            <a:lvl4pPr marL="720000" indent="-180000">
              <a:lnSpc>
                <a:spcPct val="100000"/>
              </a:lnSpc>
              <a:spcBef>
                <a:spcPts val="0"/>
              </a:spcBef>
              <a:spcAft>
                <a:spcPts val="600"/>
              </a:spcAft>
              <a:buSzPct val="70000"/>
              <a:defRPr lang="en-US" sz="1200" kern="1200" dirty="0">
                <a:solidFill>
                  <a:schemeClr val="tx2"/>
                </a:solidFill>
                <a:latin typeface="+mn-lt"/>
                <a:ea typeface="+mn-ea"/>
                <a:cs typeface="+mn-cs"/>
              </a:defRPr>
            </a:lvl4pPr>
            <a:lvl5pPr marL="900000" indent="-180000">
              <a:lnSpc>
                <a:spcPct val="100000"/>
              </a:lnSpc>
              <a:spcBef>
                <a:spcPts val="0"/>
              </a:spcBef>
              <a:spcAft>
                <a:spcPts val="600"/>
              </a:spcAft>
              <a:buSzPct val="70000"/>
              <a:defRPr sz="1200">
                <a:solidFill>
                  <a:schemeClr val="tx2"/>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27239245-EC69-0915-96DF-689D05839B6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11E7D37B-C01D-8FDC-39D7-B6613DBAB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12D8ACCE-D657-1865-39B4-712A9F5DDA4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CD2F1279-1655-0D51-01CE-FA8A8342117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19578519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83088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Box 9">
            <a:extLst>
              <a:ext uri="{FF2B5EF4-FFF2-40B4-BE49-F238E27FC236}">
                <a16:creationId xmlns:a16="http://schemas.microsoft.com/office/drawing/2014/main" id="{88EED543-A0D2-4B1E-84AB-35BA8760AB4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E1B1C6CE-73A8-5D3B-7402-E61E80018D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0AF05F9E-C966-5628-2820-8F1395BF81EA}"/>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0B9B0982-1098-65B6-0BE1-70000891D5B5}"/>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9D83DCB0-655D-136F-9131-28B53860B4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26940907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57FF8C70-8D9A-A91A-9AA2-5BAED4E5562B}"/>
              </a:ext>
            </a:extLst>
          </p:cNvPr>
          <p:cNvSpPr>
            <a:spLocks noGrp="1"/>
          </p:cNvSpPr>
          <p:nvPr>
            <p:ph type="body" sz="quarter" idx="16"/>
          </p:nvPr>
        </p:nvSpPr>
        <p:spPr>
          <a:xfrm>
            <a:off x="4658664" y="1260000"/>
            <a:ext cx="4068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9C7DDDB1-93FF-2E9E-1523-25C0AAD59DF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68F1AEE4-E0F5-CB51-2839-A6829D6302C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02EAA2F-400B-986E-5A5D-4153560C0C7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D1B7E901-0A28-DA54-D8A7-5F7C60E94EE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A191B4B9-4F39-421D-E1C0-969F8FF7A1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19997342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3222000" y="1260000"/>
            <a:ext cx="270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6026662" y="1260000"/>
            <a:ext cx="2697658"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Box 2">
            <a:extLst>
              <a:ext uri="{FF2B5EF4-FFF2-40B4-BE49-F238E27FC236}">
                <a16:creationId xmlns:a16="http://schemas.microsoft.com/office/drawing/2014/main" id="{36385816-6569-35D3-5A7C-C29AD01DAA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8C37985A-D671-5872-8D8B-469FEF28399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90B45F8-CBC4-7A3B-7C6A-F7367BB2479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FF8E67C-8567-FFCB-4C89-6BEA15B27033}"/>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FBA86CB7-81E5-1319-1BFF-5C89D57E168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4590881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1.4 Bulletpoint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12">
            <a:extLst>
              <a:ext uri="{FF2B5EF4-FFF2-40B4-BE49-F238E27FC236}">
                <a16:creationId xmlns:a16="http://schemas.microsoft.com/office/drawing/2014/main" id="{725B0BB8-7D8D-1CFB-75CE-E19F62B9211C}"/>
              </a:ext>
            </a:extLst>
          </p:cNvPr>
          <p:cNvSpPr>
            <a:spLocks noGrp="1"/>
          </p:cNvSpPr>
          <p:nvPr>
            <p:ph type="body" sz="quarter" idx="15"/>
          </p:nvPr>
        </p:nvSpPr>
        <p:spPr>
          <a:xfrm>
            <a:off x="417338"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1BB609BD-442B-5330-C543-B4F748F8321A}"/>
              </a:ext>
            </a:extLst>
          </p:cNvPr>
          <p:cNvSpPr>
            <a:spLocks noGrp="1"/>
          </p:cNvSpPr>
          <p:nvPr>
            <p:ph type="body" sz="quarter" idx="16"/>
          </p:nvPr>
        </p:nvSpPr>
        <p:spPr>
          <a:xfrm>
            <a:off x="2526332"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2">
            <a:extLst>
              <a:ext uri="{FF2B5EF4-FFF2-40B4-BE49-F238E27FC236}">
                <a16:creationId xmlns:a16="http://schemas.microsoft.com/office/drawing/2014/main" id="{E664E6E2-580B-C0EC-85A4-858E1F7656F4}"/>
              </a:ext>
            </a:extLst>
          </p:cNvPr>
          <p:cNvSpPr>
            <a:spLocks noGrp="1"/>
          </p:cNvSpPr>
          <p:nvPr>
            <p:ph type="body" sz="quarter" idx="17"/>
          </p:nvPr>
        </p:nvSpPr>
        <p:spPr>
          <a:xfrm>
            <a:off x="4635326"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2">
            <a:extLst>
              <a:ext uri="{FF2B5EF4-FFF2-40B4-BE49-F238E27FC236}">
                <a16:creationId xmlns:a16="http://schemas.microsoft.com/office/drawing/2014/main" id="{9C0B71B1-8B5E-9FD1-A1AD-D5AD8A665FFB}"/>
              </a:ext>
            </a:extLst>
          </p:cNvPr>
          <p:cNvSpPr>
            <a:spLocks noGrp="1"/>
          </p:cNvSpPr>
          <p:nvPr>
            <p:ph type="body" sz="quarter" idx="18"/>
          </p:nvPr>
        </p:nvSpPr>
        <p:spPr>
          <a:xfrm>
            <a:off x="6744320" y="1260000"/>
            <a:ext cx="1980000" cy="311898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lang="en-US" sz="1200" kern="1200" dirty="0">
                <a:solidFill>
                  <a:schemeClr val="bg1"/>
                </a:solidFill>
                <a:latin typeface="+mn-lt"/>
                <a:ea typeface="+mn-ea"/>
                <a:cs typeface="+mn-cs"/>
              </a:defRPr>
            </a:lvl4pPr>
            <a:lvl5pPr marL="900000" indent="-180000">
              <a:lnSpc>
                <a:spcPct val="100000"/>
              </a:lnSpc>
              <a:spcBef>
                <a:spcPts val="0"/>
              </a:spcBef>
              <a:spcAft>
                <a:spcPts val="600"/>
              </a:spcAft>
              <a:buSzPct val="70000"/>
              <a:defRPr sz="1200">
                <a:solidFill>
                  <a:schemeClr val="bg1"/>
                </a:solidFill>
              </a:defRPr>
            </a:lvl5pPr>
            <a:lvl6pPr marL="1080000" indent="-180000">
              <a:lnSpc>
                <a:spcPct val="100000"/>
              </a:lnSpc>
              <a:spcBef>
                <a:spcPts val="0"/>
              </a:spcBef>
              <a:buSzPct val="70000"/>
              <a:buFont typeface="Arial" panose="020B0604020202020204" pitchFamily="34" charset="0"/>
              <a:buChar char="•"/>
              <a:defRPr sz="1100">
                <a:solidFill>
                  <a:schemeClr val="tx2"/>
                </a:solidFill>
              </a:defRPr>
            </a:lvl6pPr>
            <a:lvl7pPr marL="1080000">
              <a:defRPr sz="1200"/>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Box 12">
            <a:extLst>
              <a:ext uri="{FF2B5EF4-FFF2-40B4-BE49-F238E27FC236}">
                <a16:creationId xmlns:a16="http://schemas.microsoft.com/office/drawing/2014/main" id="{1F0ADB73-9C9A-832B-D8BF-9AF20DAA1064}"/>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65BF0B68-A9EA-223F-2B7F-9D6F0EEB645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64673BBF-80EC-695B-A9CC-59A70D3443DD}"/>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ACAC8A9F-15DB-739A-7B06-E325184316B0}"/>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89555D11-6AB6-9CFA-F666-D5A4EF0DA47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8250093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1.5 Numbered text">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bg1"/>
                </a:solidFill>
              </a:defRPr>
            </a:lvl1pPr>
            <a:lvl2pPr marL="408600" indent="-228600">
              <a:lnSpc>
                <a:spcPct val="100000"/>
              </a:lnSpc>
              <a:spcBef>
                <a:spcPts val="0"/>
              </a:spcBef>
              <a:spcAft>
                <a:spcPts val="600"/>
              </a:spcAft>
              <a:buFont typeface="+mj-lt"/>
              <a:buAutoNum type="arabicPeriod" startAt="2"/>
              <a:defRPr sz="1200">
                <a:solidFill>
                  <a:schemeClr val="bg1"/>
                </a:solidFill>
              </a:defRPr>
            </a:lvl2pPr>
            <a:lvl3pPr marL="588600" indent="-228600">
              <a:lnSpc>
                <a:spcPct val="100000"/>
              </a:lnSpc>
              <a:spcBef>
                <a:spcPts val="0"/>
              </a:spcBef>
              <a:spcAft>
                <a:spcPts val="600"/>
              </a:spcAft>
              <a:buFont typeface="+mj-lt"/>
              <a:buAutoNum type="arabicPeriod" startAt="3"/>
              <a:defRPr sz="1200">
                <a:solidFill>
                  <a:schemeClr val="bg1"/>
                </a:solidFill>
              </a:defRPr>
            </a:lvl3pPr>
            <a:lvl4pPr marL="768600" indent="-228600">
              <a:lnSpc>
                <a:spcPct val="100000"/>
              </a:lnSpc>
              <a:spcBef>
                <a:spcPts val="0"/>
              </a:spcBef>
              <a:spcAft>
                <a:spcPts val="600"/>
              </a:spcAft>
              <a:buFont typeface="+mj-lt"/>
              <a:buAutoNum type="arabicPeriod" startAt="4"/>
              <a:defRPr sz="1200">
                <a:solidFill>
                  <a:schemeClr val="bg1"/>
                </a:solidFill>
              </a:defRPr>
            </a:lvl4pPr>
            <a:lvl5pPr marL="957150" indent="-228600">
              <a:lnSpc>
                <a:spcPct val="100000"/>
              </a:lnSpc>
              <a:spcBef>
                <a:spcPts val="0"/>
              </a:spcBef>
              <a:spcAft>
                <a:spcPts val="600"/>
              </a:spcAft>
              <a:buFont typeface="+mj-lt"/>
              <a:buAutoNum type="arabicPeriod" startAt="5"/>
              <a:defRPr sz="1200">
                <a:solidFill>
                  <a:schemeClr val="bg1"/>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sp>
        <p:nvSpPr>
          <p:cNvPr id="10" name="TextBox 9">
            <a:extLst>
              <a:ext uri="{FF2B5EF4-FFF2-40B4-BE49-F238E27FC236}">
                <a16:creationId xmlns:a16="http://schemas.microsoft.com/office/drawing/2014/main" id="{F8516E12-24DD-827E-B42A-FEADBBD6DA7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2713F659-CB75-ECA4-9103-AA521D00BDB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B0A1277-1BCA-C1CE-6430-E1E6743CC5F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E0B17C7F-E98A-8FDB-6CD3-CC1B3B50177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EC574E2B-D38F-4AD1-1FCE-9D6259DAA7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926096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1.2 Title">
    <p:bg>
      <p:bgPr>
        <a:solidFill>
          <a:schemeClr val="tx2"/>
        </a:solidFill>
        <a:effectLst/>
      </p:bgPr>
    </p:bg>
    <p:spTree>
      <p:nvGrpSpPr>
        <p:cNvPr id="1" name=""/>
        <p:cNvGrpSpPr/>
        <p:nvPr/>
      </p:nvGrpSpPr>
      <p:grpSpPr>
        <a:xfrm>
          <a:off x="0" y="0"/>
          <a:ext cx="0" cy="0"/>
          <a:chOff x="0" y="0"/>
          <a:chExt cx="0" cy="0"/>
        </a:xfrm>
      </p:grpSpPr>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469C2778-D402-2307-2490-18F334EF2E0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8181392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1.2 Title">
    <p:bg>
      <p:bgPr>
        <a:solidFill>
          <a:schemeClr val="tx2"/>
        </a:solidFill>
        <a:effectLst/>
      </p:bgPr>
    </p:bg>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BA013C72-05A6-BC67-924F-AD55DE815D0C}"/>
              </a:ext>
            </a:extLst>
          </p:cNvPr>
          <p:cNvSpPr>
            <a:spLocks noGrp="1"/>
          </p:cNvSpPr>
          <p:nvPr>
            <p:ph type="media" sz="quarter" idx="12"/>
          </p:nvPr>
        </p:nvSpPr>
        <p:spPr>
          <a:xfrm>
            <a:off x="0" y="0"/>
            <a:ext cx="9144000" cy="5143500"/>
          </a:xfrm>
          <a:prstGeom prst="rect">
            <a:avLst/>
          </a:prstGeom>
        </p:spPr>
        <p:txBody>
          <a:bodyPr/>
          <a:lstStyle>
            <a:lvl1pPr marL="0" indent="0">
              <a:buNone/>
              <a:defRPr>
                <a:solidFill>
                  <a:schemeClr val="accent4"/>
                </a:solidFill>
              </a:defRPr>
            </a:lvl1pPr>
          </a:lstStyle>
          <a:p>
            <a:r>
              <a:rPr lang="en-US"/>
              <a:t>Click icon to add media</a:t>
            </a:r>
            <a:endParaRPr lang="en-US" dirty="0"/>
          </a:p>
        </p:txBody>
      </p:sp>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TextBox 3">
            <a:extLst>
              <a:ext uri="{FF2B5EF4-FFF2-40B4-BE49-F238E27FC236}">
                <a16:creationId xmlns:a16="http://schemas.microsoft.com/office/drawing/2014/main" id="{384EEC12-342F-20C4-7110-A4D3E49D8108}"/>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8B34894-7D04-B556-71DC-63B1F0B80E51}"/>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659BBD8A-CCCC-D36F-0927-C874A9F182C4}"/>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2">
            <a:extLst>
              <a:ext uri="{FF2B5EF4-FFF2-40B4-BE49-F238E27FC236}">
                <a16:creationId xmlns:a16="http://schemas.microsoft.com/office/drawing/2014/main" id="{457AC74E-913E-18AF-F13F-D6868891C99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94E9DC4E-CA9A-6ECC-404A-9ABA15EC22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42009729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1.6 Half image">
    <p:bg>
      <p:bgPr>
        <a:solidFill>
          <a:schemeClr val="tx2"/>
        </a:solidFill>
        <a:effectLst/>
      </p:bgPr>
    </p:bg>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4572000" y="0"/>
            <a:ext cx="4572001"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sp>
        <p:nvSpPr>
          <p:cNvPr id="8" name="Text Placeholder 12">
            <a:extLst>
              <a:ext uri="{FF2B5EF4-FFF2-40B4-BE49-F238E27FC236}">
                <a16:creationId xmlns:a16="http://schemas.microsoft.com/office/drawing/2014/main" id="{E6285CBB-8652-0F93-9BFF-BDE646DC1516}"/>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BC98A014-7BCB-58F3-B1D1-D4FD8EC7EB8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00F343F-6D93-CB75-9580-B22F74F2267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9C790EE6-1AD1-02A2-97B8-A6005C99629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7AA931E6-4B7F-669F-C445-1B4D50411BE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5" name="Picture 4" descr="Icon&#10;&#10;Description automatically generated">
            <a:extLst>
              <a:ext uri="{FF2B5EF4-FFF2-40B4-BE49-F238E27FC236}">
                <a16:creationId xmlns:a16="http://schemas.microsoft.com/office/drawing/2014/main" id="{160F5B29-A506-78D8-1B49-F9E5694643C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36785291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4572000" y="0"/>
            <a:ext cx="4571999"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2" name="Footer Placeholder 2">
            <a:extLst>
              <a:ext uri="{FF2B5EF4-FFF2-40B4-BE49-F238E27FC236}">
                <a16:creationId xmlns:a16="http://schemas.microsoft.com/office/drawing/2014/main" id="{D1E6C875-6A56-ECD4-AA48-0284B4A6530D}"/>
              </a:ext>
            </a:extLst>
          </p:cNvPr>
          <p:cNvSpPr>
            <a:spLocks noGrp="1"/>
          </p:cNvSpPr>
          <p:nvPr>
            <p:ph type="ftr" sz="quarter" idx="3"/>
          </p:nvPr>
        </p:nvSpPr>
        <p:spPr>
          <a:xfrm>
            <a:off x="1504610" y="4873695"/>
            <a:ext cx="288000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hasCustomPrompt="1"/>
          </p:nvPr>
        </p:nvSpPr>
        <p:spPr>
          <a:xfrm>
            <a:off x="417599" y="395946"/>
            <a:ext cx="378890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599" y="764520"/>
            <a:ext cx="378890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8" y="1260000"/>
            <a:ext cx="378890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9058EB71-1D91-BEB8-274C-75E76F9ED6FF}"/>
              </a:ext>
            </a:extLst>
          </p:cNvPr>
          <p:cNvSpPr txBox="1"/>
          <p:nvPr userDrawn="1"/>
        </p:nvSpPr>
        <p:spPr>
          <a:xfrm>
            <a:off x="680028" y="4858555"/>
            <a:ext cx="631583" cy="123111"/>
          </a:xfrm>
          <a:prstGeom prst="rect">
            <a:avLst/>
          </a:prstGeom>
          <a:noFill/>
        </p:spPr>
        <p:txBody>
          <a:bodyPr wrap="none" lIns="0" tIns="0" rIns="0" bIns="0" anchor="b" anchorCtr="0">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97C636AD-ADD5-F240-117B-08D310FF569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F7FC8707-B3DD-AA96-72B6-571C83A1828E}"/>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Icon&#10;&#10;Description automatically generated">
            <a:extLst>
              <a:ext uri="{FF2B5EF4-FFF2-40B4-BE49-F238E27FC236}">
                <a16:creationId xmlns:a16="http://schemas.microsoft.com/office/drawing/2014/main" id="{347F0AB2-C0E3-9CCE-B849-62B09591EA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21141290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1.6 Half image">
    <p:bg>
      <p:bgPr>
        <a:solidFill>
          <a:schemeClr val="tx2"/>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B55B4CC-0221-F230-3980-88D8952F693A}"/>
              </a:ext>
            </a:extLst>
          </p:cNvPr>
          <p:cNvSpPr>
            <a:spLocks noGrp="1"/>
          </p:cNvSpPr>
          <p:nvPr>
            <p:ph type="pic" sz="quarter" idx="15" hasCustomPrompt="1"/>
          </p:nvPr>
        </p:nvSpPr>
        <p:spPr>
          <a:xfrm>
            <a:off x="3096000" y="0"/>
            <a:ext cx="6048000" cy="5143500"/>
          </a:xfrm>
          <a:prstGeom prst="rect">
            <a:avLst/>
          </a:prstGeom>
          <a:solidFill>
            <a:schemeClr val="tx1"/>
          </a:solidFill>
        </p:spPr>
        <p:txBody>
          <a:bodyPr/>
          <a:lstStyle>
            <a:lvl1pPr marL="0" indent="0">
              <a:buNone/>
              <a:defRPr sz="1000">
                <a:solidFill>
                  <a:schemeClr val="bg1"/>
                </a:solidFill>
              </a:defRPr>
            </a:lvl1pPr>
          </a:lstStyle>
          <a:p>
            <a:r>
              <a:rPr lang="en-US" dirty="0"/>
              <a:t>Click to add picture</a:t>
            </a:r>
          </a:p>
        </p:txBody>
      </p:sp>
      <p:sp>
        <p:nvSpPr>
          <p:cNvPr id="5" name="Text Placeholder 42">
            <a:extLst>
              <a:ext uri="{FF2B5EF4-FFF2-40B4-BE49-F238E27FC236}">
                <a16:creationId xmlns:a16="http://schemas.microsoft.com/office/drawing/2014/main" id="{E5C0F96B-575B-3032-1D03-A5D0D7313FCB}"/>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7" name="Text Placeholder 42">
            <a:extLst>
              <a:ext uri="{FF2B5EF4-FFF2-40B4-BE49-F238E27FC236}">
                <a16:creationId xmlns:a16="http://schemas.microsoft.com/office/drawing/2014/main" id="{171D37E4-D2E3-6D25-9C68-18D40EF22BCE}"/>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235DB99C-EDCB-D6C3-2083-649EBE85053E}"/>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81B8F5FD-3C1E-ED2B-FEED-204E697F92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DFE05CD-640E-D8C4-CB9E-EDE52D29E48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AD759BC8-C107-9B15-676E-AEADF18E71A9}"/>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F53CB0FD-5D02-760B-C180-7C3CC3C5DD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9" name="Picture 8" descr="Icon&#10;&#10;Description automatically generated">
            <a:extLst>
              <a:ext uri="{FF2B5EF4-FFF2-40B4-BE49-F238E27FC236}">
                <a16:creationId xmlns:a16="http://schemas.microsoft.com/office/drawing/2014/main" id="{1E9E4C25-26FF-E9AD-7914-0FB06C03F6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872730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 Numbered text">
    <p:spTree>
      <p:nvGrpSpPr>
        <p:cNvPr id="1" name=""/>
        <p:cNvGrpSpPr/>
        <p:nvPr/>
      </p:nvGrpSpPr>
      <p:grpSpPr>
        <a:xfrm>
          <a:off x="0" y="0"/>
          <a:ext cx="0" cy="0"/>
          <a:chOff x="0" y="0"/>
          <a:chExt cx="0" cy="0"/>
        </a:xfrm>
      </p:grpSpPr>
      <p:sp>
        <p:nvSpPr>
          <p:cNvPr id="6" name="Text Placeholder 42">
            <a:extLst>
              <a:ext uri="{FF2B5EF4-FFF2-40B4-BE49-F238E27FC236}">
                <a16:creationId xmlns:a16="http://schemas.microsoft.com/office/drawing/2014/main" id="{D048D520-8858-4E4E-8511-3306272E38F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accent1"/>
                </a:solidFill>
                <a:latin typeface="Nokia Pure Headline Light" panose="020B0304020202020204" pitchFamily="34" charset="0"/>
              </a:defRPr>
            </a:lvl1pPr>
          </a:lstStyle>
          <a:p>
            <a:pPr lvl="0"/>
            <a:r>
              <a:rPr lang="en-US" noProof="0" dirty="0"/>
              <a:t>Click to edit headline</a:t>
            </a:r>
          </a:p>
        </p:txBody>
      </p:sp>
      <p:sp>
        <p:nvSpPr>
          <p:cNvPr id="4" name="Text Placeholder 42">
            <a:extLst>
              <a:ext uri="{FF2B5EF4-FFF2-40B4-BE49-F238E27FC236}">
                <a16:creationId xmlns:a16="http://schemas.microsoft.com/office/drawing/2014/main" id="{73EC6F19-4B79-4103-93C9-A7D00929D42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tx2"/>
                </a:solidFill>
                <a:latin typeface="Nokia Pure Headline Light" panose="020B0304020202020204" pitchFamily="34" charset="0"/>
              </a:defRPr>
            </a:lvl1pPr>
          </a:lstStyle>
          <a:p>
            <a:pPr lvl="0"/>
            <a:r>
              <a:rPr lang="en-US" noProof="0" dirty="0"/>
              <a:t>Click to edit headline</a:t>
            </a:r>
          </a:p>
        </p:txBody>
      </p:sp>
      <p:sp>
        <p:nvSpPr>
          <p:cNvPr id="3" name="Text Placeholder 2">
            <a:extLst>
              <a:ext uri="{FF2B5EF4-FFF2-40B4-BE49-F238E27FC236}">
                <a16:creationId xmlns:a16="http://schemas.microsoft.com/office/drawing/2014/main" id="{E0427494-DD66-A478-7CF6-11C578BC21E9}"/>
              </a:ext>
            </a:extLst>
          </p:cNvPr>
          <p:cNvSpPr>
            <a:spLocks noGrp="1"/>
          </p:cNvSpPr>
          <p:nvPr>
            <p:ph type="body" sz="quarter" idx="14" hasCustomPrompt="1"/>
          </p:nvPr>
        </p:nvSpPr>
        <p:spPr>
          <a:xfrm>
            <a:off x="417600" y="1260000"/>
            <a:ext cx="8308800" cy="3118980"/>
          </a:xfrm>
          <a:prstGeom prst="rect">
            <a:avLst/>
          </a:prstGeom>
        </p:spPr>
        <p:txBody>
          <a:bodyPr lIns="0" tIns="0" rIns="0" bIns="0"/>
          <a:lstStyle>
            <a:lvl1pPr marL="228600" indent="-228600">
              <a:lnSpc>
                <a:spcPct val="100000"/>
              </a:lnSpc>
              <a:spcBef>
                <a:spcPts val="0"/>
              </a:spcBef>
              <a:spcAft>
                <a:spcPts val="600"/>
              </a:spcAft>
              <a:buFont typeface="+mj-lt"/>
              <a:buAutoNum type="arabicPeriod"/>
              <a:defRPr sz="1200">
                <a:solidFill>
                  <a:schemeClr val="tx2"/>
                </a:solidFill>
              </a:defRPr>
            </a:lvl1pPr>
            <a:lvl2pPr marL="408600" indent="-228600">
              <a:lnSpc>
                <a:spcPct val="100000"/>
              </a:lnSpc>
              <a:spcBef>
                <a:spcPts val="0"/>
              </a:spcBef>
              <a:spcAft>
                <a:spcPts val="600"/>
              </a:spcAft>
              <a:buFont typeface="+mj-lt"/>
              <a:buAutoNum type="arabicPeriod" startAt="2"/>
              <a:defRPr sz="1200">
                <a:solidFill>
                  <a:schemeClr val="tx2"/>
                </a:solidFill>
              </a:defRPr>
            </a:lvl2pPr>
            <a:lvl3pPr marL="588600" indent="-228600">
              <a:lnSpc>
                <a:spcPct val="100000"/>
              </a:lnSpc>
              <a:spcBef>
                <a:spcPts val="0"/>
              </a:spcBef>
              <a:spcAft>
                <a:spcPts val="600"/>
              </a:spcAft>
              <a:buFont typeface="+mj-lt"/>
              <a:buAutoNum type="arabicPeriod" startAt="3"/>
              <a:defRPr sz="1200">
                <a:solidFill>
                  <a:schemeClr val="tx2"/>
                </a:solidFill>
              </a:defRPr>
            </a:lvl3pPr>
            <a:lvl4pPr marL="768600" indent="-228600">
              <a:lnSpc>
                <a:spcPct val="100000"/>
              </a:lnSpc>
              <a:spcBef>
                <a:spcPts val="0"/>
              </a:spcBef>
              <a:spcAft>
                <a:spcPts val="600"/>
              </a:spcAft>
              <a:buFont typeface="+mj-lt"/>
              <a:buAutoNum type="arabicPeriod" startAt="4"/>
              <a:defRPr sz="1200">
                <a:solidFill>
                  <a:schemeClr val="tx2"/>
                </a:solidFill>
              </a:defRPr>
            </a:lvl4pPr>
            <a:lvl5pPr marL="957150" indent="-228600">
              <a:lnSpc>
                <a:spcPct val="100000"/>
              </a:lnSpc>
              <a:spcBef>
                <a:spcPts val="0"/>
              </a:spcBef>
              <a:spcAft>
                <a:spcPts val="600"/>
              </a:spcAft>
              <a:buFont typeface="+mj-lt"/>
              <a:buAutoNum type="arabicPeriod" startAt="5"/>
              <a:defRPr sz="1200">
                <a:solidFill>
                  <a:schemeClr val="tx2"/>
                </a:solidFill>
              </a:defRPr>
            </a:lvl5pPr>
          </a:lstStyle>
          <a:p>
            <a:pPr lvl="0"/>
            <a:r>
              <a:rPr lang="en-US" dirty="0"/>
              <a:t>Text here</a:t>
            </a:r>
          </a:p>
          <a:p>
            <a:pPr lvl="1"/>
            <a:r>
              <a:rPr lang="en-US" dirty="0"/>
              <a:t>Text here</a:t>
            </a:r>
          </a:p>
          <a:p>
            <a:pPr lvl="2"/>
            <a:r>
              <a:rPr lang="en-US" dirty="0"/>
              <a:t>Text here</a:t>
            </a:r>
          </a:p>
          <a:p>
            <a:pPr lvl="3"/>
            <a:r>
              <a:rPr lang="en-US" dirty="0"/>
              <a:t>Text here</a:t>
            </a:r>
          </a:p>
          <a:p>
            <a:pPr marL="957150" marR="0" lvl="4" indent="-228600" algn="l" defTabSz="685800" rtl="0" eaLnBrk="1" fontAlgn="auto" latinLnBrk="0" hangingPunct="1">
              <a:lnSpc>
                <a:spcPct val="100000"/>
              </a:lnSpc>
              <a:spcBef>
                <a:spcPts val="0"/>
              </a:spcBef>
              <a:spcAft>
                <a:spcPts val="300"/>
              </a:spcAft>
              <a:buClrTx/>
              <a:buSzTx/>
              <a:tabLst/>
              <a:defRPr/>
            </a:pPr>
            <a:r>
              <a:rPr lang="en-US" dirty="0"/>
              <a:t>Text here</a:t>
            </a:r>
          </a:p>
        </p:txBody>
      </p:sp>
      <p:pic>
        <p:nvPicPr>
          <p:cNvPr id="5" name="Graphic 4">
            <a:extLst>
              <a:ext uri="{FF2B5EF4-FFF2-40B4-BE49-F238E27FC236}">
                <a16:creationId xmlns:a16="http://schemas.microsoft.com/office/drawing/2014/main" id="{E5F6DF56-1BC2-2F0B-C57B-C1D817B1491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10" name="TextBox 9">
            <a:extLst>
              <a:ext uri="{FF2B5EF4-FFF2-40B4-BE49-F238E27FC236}">
                <a16:creationId xmlns:a16="http://schemas.microsoft.com/office/drawing/2014/main" id="{5D6B4C56-703F-C230-A142-8BA0A116DEDB}"/>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1F6435CA-6601-0B80-DBC4-827F05548E9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6DD1AEB7-7A91-F37A-8098-1A01C413E0CA}"/>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D1F0A7CA-1E30-E2BF-7969-46EE62F47BE6}"/>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123146876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1.7 Half Blue-black">
    <p:bg>
      <p:bgPr>
        <a:solidFill>
          <a:schemeClr val="tx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51B0A98-E900-A313-EA54-FE650CDD9251}"/>
              </a:ext>
            </a:extLst>
          </p:cNvPr>
          <p:cNvSpPr/>
          <p:nvPr userDrawn="1"/>
        </p:nvSpPr>
        <p:spPr>
          <a:xfrm>
            <a:off x="3096000" y="0"/>
            <a:ext cx="6048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bg1"/>
              </a:solidFill>
            </a:endParaRPr>
          </a:p>
        </p:txBody>
      </p:sp>
      <p:sp>
        <p:nvSpPr>
          <p:cNvPr id="3" name="Text Placeholder 42">
            <a:extLst>
              <a:ext uri="{FF2B5EF4-FFF2-40B4-BE49-F238E27FC236}">
                <a16:creationId xmlns:a16="http://schemas.microsoft.com/office/drawing/2014/main" id="{D45B54C3-1D2D-9E4E-D404-A3087EA115CF}"/>
              </a:ext>
            </a:extLst>
          </p:cNvPr>
          <p:cNvSpPr>
            <a:spLocks noGrp="1"/>
          </p:cNvSpPr>
          <p:nvPr>
            <p:ph type="body" sz="quarter" idx="12"/>
          </p:nvPr>
        </p:nvSpPr>
        <p:spPr>
          <a:xfrm>
            <a:off x="417600" y="395946"/>
            <a:ext cx="2402061"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a:t>Click to edit Master text styles</a:t>
            </a:r>
          </a:p>
        </p:txBody>
      </p:sp>
      <p:sp>
        <p:nvSpPr>
          <p:cNvPr id="9" name="Text Placeholder 42">
            <a:extLst>
              <a:ext uri="{FF2B5EF4-FFF2-40B4-BE49-F238E27FC236}">
                <a16:creationId xmlns:a16="http://schemas.microsoft.com/office/drawing/2014/main" id="{8941B831-C2DE-2572-4B83-66D9963A38BB}"/>
              </a:ext>
            </a:extLst>
          </p:cNvPr>
          <p:cNvSpPr>
            <a:spLocks noGrp="1"/>
          </p:cNvSpPr>
          <p:nvPr>
            <p:ph type="body" sz="quarter" idx="13" hasCustomPrompt="1"/>
          </p:nvPr>
        </p:nvSpPr>
        <p:spPr>
          <a:xfrm>
            <a:off x="417600" y="764520"/>
            <a:ext cx="2402061"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10" name="Text Placeholder 12">
            <a:extLst>
              <a:ext uri="{FF2B5EF4-FFF2-40B4-BE49-F238E27FC236}">
                <a16:creationId xmlns:a16="http://schemas.microsoft.com/office/drawing/2014/main" id="{FB285814-4F22-732A-01D4-3A2D98D8E435}"/>
              </a:ext>
            </a:extLst>
          </p:cNvPr>
          <p:cNvSpPr>
            <a:spLocks noGrp="1"/>
          </p:cNvSpPr>
          <p:nvPr>
            <p:ph type="body" sz="quarter" idx="14"/>
          </p:nvPr>
        </p:nvSpPr>
        <p:spPr>
          <a:xfrm>
            <a:off x="417339" y="1260000"/>
            <a:ext cx="2402061" cy="3291840"/>
          </a:xfrm>
          <a:prstGeom prst="rect">
            <a:avLst/>
          </a:prstGeom>
        </p:spPr>
        <p:txBody>
          <a:bodyPr lIns="0" tIns="0" rIns="0" bIns="0"/>
          <a:lstStyle>
            <a:lvl1pPr marL="180000" indent="-180000">
              <a:lnSpc>
                <a:spcPct val="100000"/>
              </a:lnSpc>
              <a:spcBef>
                <a:spcPts val="0"/>
              </a:spcBef>
              <a:spcAft>
                <a:spcPts val="600"/>
              </a:spcAft>
              <a:buSzPct val="70000"/>
              <a:defRPr sz="1200">
                <a:solidFill>
                  <a:schemeClr val="bg1"/>
                </a:solidFill>
              </a:defRPr>
            </a:lvl1pPr>
            <a:lvl2pPr marL="360000" indent="-180000">
              <a:lnSpc>
                <a:spcPct val="100000"/>
              </a:lnSpc>
              <a:spcBef>
                <a:spcPts val="0"/>
              </a:spcBef>
              <a:spcAft>
                <a:spcPts val="600"/>
              </a:spcAft>
              <a:buSzPct val="70000"/>
              <a:defRPr sz="1200">
                <a:solidFill>
                  <a:schemeClr val="bg1"/>
                </a:solidFill>
              </a:defRPr>
            </a:lvl2pPr>
            <a:lvl3pPr marL="540000" indent="-180000">
              <a:lnSpc>
                <a:spcPct val="100000"/>
              </a:lnSpc>
              <a:spcBef>
                <a:spcPts val="0"/>
              </a:spcBef>
              <a:spcAft>
                <a:spcPts val="600"/>
              </a:spcAft>
              <a:buSzPct val="70000"/>
              <a:defRPr sz="1200">
                <a:solidFill>
                  <a:schemeClr val="bg1"/>
                </a:solidFill>
              </a:defRPr>
            </a:lvl3pPr>
            <a:lvl4pPr marL="720000" indent="-180000">
              <a:lnSpc>
                <a:spcPct val="100000"/>
              </a:lnSpc>
              <a:spcBef>
                <a:spcPts val="0"/>
              </a:spcBef>
              <a:spcAft>
                <a:spcPts val="600"/>
              </a:spcAft>
              <a:buSzPct val="70000"/>
              <a:defRPr sz="1200">
                <a:solidFill>
                  <a:schemeClr val="bg1"/>
                </a:solidFill>
              </a:defRPr>
            </a:lvl4pPr>
            <a:lvl5pPr marL="900000" indent="-180000">
              <a:lnSpc>
                <a:spcPct val="100000"/>
              </a:lnSpc>
              <a:spcBef>
                <a:spcPts val="0"/>
              </a:spcBef>
              <a:spcAft>
                <a:spcPts val="600"/>
              </a:spcAft>
              <a:buSzPct val="70000"/>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Box 10">
            <a:extLst>
              <a:ext uri="{FF2B5EF4-FFF2-40B4-BE49-F238E27FC236}">
                <a16:creationId xmlns:a16="http://schemas.microsoft.com/office/drawing/2014/main" id="{5884C8A4-6AD2-B11C-DB11-02D4D662D7E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2" name="Slide Number Placeholder 5">
            <a:extLst>
              <a:ext uri="{FF2B5EF4-FFF2-40B4-BE49-F238E27FC236}">
                <a16:creationId xmlns:a16="http://schemas.microsoft.com/office/drawing/2014/main" id="{37487328-2697-279F-E20D-91C4C573F75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3" name="Straight Connector 12">
            <a:extLst>
              <a:ext uri="{FF2B5EF4-FFF2-40B4-BE49-F238E27FC236}">
                <a16:creationId xmlns:a16="http://schemas.microsoft.com/office/drawing/2014/main" id="{BFC15A2F-1CD7-4840-2A5F-B6E52DFFB1A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Footer Placeholder 2">
            <a:extLst>
              <a:ext uri="{FF2B5EF4-FFF2-40B4-BE49-F238E27FC236}">
                <a16:creationId xmlns:a16="http://schemas.microsoft.com/office/drawing/2014/main" id="{4B3AB92F-F3C9-83A8-7063-25752C64EEF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2" name="Picture 1" descr="Icon&#10;&#10;Description automatically generated">
            <a:extLst>
              <a:ext uri="{FF2B5EF4-FFF2-40B4-BE49-F238E27FC236}">
                <a16:creationId xmlns:a16="http://schemas.microsoft.com/office/drawing/2014/main" id="{8E99693C-1C5F-42FE-886B-763D5AD06E3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Tree>
    <p:extLst>
      <p:ext uri="{BB962C8B-B14F-4D97-AF65-F5344CB8AC3E}">
        <p14:creationId xmlns:p14="http://schemas.microsoft.com/office/powerpoint/2010/main" val="40870568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N Blue green">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A97BECFD-8EA7-0689-338E-FF79734814C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6" name="Graphic 5">
            <a:extLst>
              <a:ext uri="{FF2B5EF4-FFF2-40B4-BE49-F238E27FC236}">
                <a16:creationId xmlns:a16="http://schemas.microsoft.com/office/drawing/2014/main" id="{B8976C7B-2688-70F3-77A4-4D1113FB54E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2" name="Title 4">
            <a:extLst>
              <a:ext uri="{FF2B5EF4-FFF2-40B4-BE49-F238E27FC236}">
                <a16:creationId xmlns:a16="http://schemas.microsoft.com/office/drawing/2014/main" id="{FCA7DC03-F552-0867-352F-D9703C6058FC}"/>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4" name="Text Placeholder 3">
            <a:extLst>
              <a:ext uri="{FF2B5EF4-FFF2-40B4-BE49-F238E27FC236}">
                <a16:creationId xmlns:a16="http://schemas.microsoft.com/office/drawing/2014/main" id="{095DCB03-B7A1-6B00-BC51-6A2712B64A79}"/>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3" name="TextBox 2">
            <a:extLst>
              <a:ext uri="{FF2B5EF4-FFF2-40B4-BE49-F238E27FC236}">
                <a16:creationId xmlns:a16="http://schemas.microsoft.com/office/drawing/2014/main" id="{659763D9-588F-2473-91CB-B8C347B72189}"/>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23FCDC52-0E62-A2F4-0387-BFC107C7F66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E9BC003D-0EF9-EF09-FA3B-B06705810FC8}"/>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753EC447-D430-EA30-E1F1-75D216432106}"/>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5" name="Picture 4" descr="Icon&#10;&#10;Description automatically generated">
            <a:extLst>
              <a:ext uri="{FF2B5EF4-FFF2-40B4-BE49-F238E27FC236}">
                <a16:creationId xmlns:a16="http://schemas.microsoft.com/office/drawing/2014/main" id="{3B3490DC-5065-3007-4EAC-81C7D9EEC97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355987" y="3965288"/>
            <a:ext cx="1487123" cy="708957"/>
          </a:xfrm>
          <a:prstGeom prst="rect">
            <a:avLst/>
          </a:prstGeom>
        </p:spPr>
      </p:pic>
    </p:spTree>
    <p:extLst>
      <p:ext uri="{BB962C8B-B14F-4D97-AF65-F5344CB8AC3E}">
        <p14:creationId xmlns:p14="http://schemas.microsoft.com/office/powerpoint/2010/main" val="8293824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N Purple blue">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81E104F6-2E1E-CFDD-A69D-C115384F159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5" name="Graphic 4">
            <a:extLst>
              <a:ext uri="{FF2B5EF4-FFF2-40B4-BE49-F238E27FC236}">
                <a16:creationId xmlns:a16="http://schemas.microsoft.com/office/drawing/2014/main" id="{0E27FD93-255E-C585-12C2-E99681C9BE5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901"/>
            <a:ext cx="5144400" cy="5144400"/>
          </a:xfrm>
          <a:prstGeom prst="rect">
            <a:avLst/>
          </a:prstGeom>
        </p:spPr>
      </p:pic>
      <p:sp>
        <p:nvSpPr>
          <p:cNvPr id="11" name="Title 4">
            <a:extLst>
              <a:ext uri="{FF2B5EF4-FFF2-40B4-BE49-F238E27FC236}">
                <a16:creationId xmlns:a16="http://schemas.microsoft.com/office/drawing/2014/main" id="{59E922F0-08F0-9919-8C26-CE716C3AE5B2}"/>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2" name="Text Placeholder 3">
            <a:extLst>
              <a:ext uri="{FF2B5EF4-FFF2-40B4-BE49-F238E27FC236}">
                <a16:creationId xmlns:a16="http://schemas.microsoft.com/office/drawing/2014/main" id="{FDF29A45-EE41-3151-6F22-1274BFD4DDDB}"/>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853E137B-4AA1-0543-1336-DFC6E4FFB011}"/>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64A66DCC-053F-B59E-D123-FE02866DE14E}"/>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D444D486-4F66-A858-1E27-52EA0097BAEE}"/>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Footer Placeholder 2">
            <a:extLst>
              <a:ext uri="{FF2B5EF4-FFF2-40B4-BE49-F238E27FC236}">
                <a16:creationId xmlns:a16="http://schemas.microsoft.com/office/drawing/2014/main" id="{FD4ACE8F-B23A-798D-9D92-BC5D1372B743}"/>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9E1315CF-8950-5A75-FF2C-5A64A9FFA15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355987" y="3965288"/>
            <a:ext cx="1487123" cy="708957"/>
          </a:xfrm>
          <a:prstGeom prst="rect">
            <a:avLst/>
          </a:prstGeom>
        </p:spPr>
      </p:pic>
    </p:spTree>
    <p:extLst>
      <p:ext uri="{BB962C8B-B14F-4D97-AF65-F5344CB8AC3E}">
        <p14:creationId xmlns:p14="http://schemas.microsoft.com/office/powerpoint/2010/main" val="113849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 N Pink">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C7D16BB-9265-7D3A-E136-8F028A9F864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0" name="Graphic 19">
            <a:extLst>
              <a:ext uri="{FF2B5EF4-FFF2-40B4-BE49-F238E27FC236}">
                <a16:creationId xmlns:a16="http://schemas.microsoft.com/office/drawing/2014/main" id="{A7536232-7B28-DCFA-37A3-EEBA7365A53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5144400" cy="5144400"/>
          </a:xfrm>
          <a:prstGeom prst="rect">
            <a:avLst/>
          </a:prstGeom>
        </p:spPr>
      </p:pic>
      <p:sp>
        <p:nvSpPr>
          <p:cNvPr id="9" name="Title 4">
            <a:extLst>
              <a:ext uri="{FF2B5EF4-FFF2-40B4-BE49-F238E27FC236}">
                <a16:creationId xmlns:a16="http://schemas.microsoft.com/office/drawing/2014/main" id="{44BBE444-2A25-873F-1D05-3ED543575B73}"/>
              </a:ext>
            </a:extLst>
          </p:cNvPr>
          <p:cNvSpPr>
            <a:spLocks noGrp="1"/>
          </p:cNvSpPr>
          <p:nvPr>
            <p:ph type="title" hasCustomPrompt="1"/>
          </p:nvPr>
        </p:nvSpPr>
        <p:spPr>
          <a:xfrm>
            <a:off x="5292671" y="701061"/>
            <a:ext cx="3433727"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CE0441B-626C-B0BA-7F19-6E6E187E9F84}"/>
              </a:ext>
            </a:extLst>
          </p:cNvPr>
          <p:cNvSpPr>
            <a:spLocks noGrp="1"/>
          </p:cNvSpPr>
          <p:nvPr>
            <p:ph type="body" sz="quarter" idx="12" hasCustomPrompt="1"/>
          </p:nvPr>
        </p:nvSpPr>
        <p:spPr>
          <a:xfrm>
            <a:off x="5292671" y="2126098"/>
            <a:ext cx="3433727"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D16C6526-B799-7D3B-3355-24FCAF3C0E0C}"/>
              </a:ext>
            </a:extLst>
          </p:cNvPr>
          <p:cNvSpPr txBox="1"/>
          <p:nvPr userDrawn="1"/>
        </p:nvSpPr>
        <p:spPr>
          <a:xfrm>
            <a:off x="5553597"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6" name="Slide Number Placeholder 5">
            <a:extLst>
              <a:ext uri="{FF2B5EF4-FFF2-40B4-BE49-F238E27FC236}">
                <a16:creationId xmlns:a16="http://schemas.microsoft.com/office/drawing/2014/main" id="{DF8A50C4-0B90-3430-16AC-9B9A65591143}"/>
              </a:ext>
            </a:extLst>
          </p:cNvPr>
          <p:cNvSpPr txBox="1">
            <a:spLocks/>
          </p:cNvSpPr>
          <p:nvPr userDrawn="1"/>
        </p:nvSpPr>
        <p:spPr>
          <a:xfrm>
            <a:off x="5292671"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7" name="Straight Connector 6">
            <a:extLst>
              <a:ext uri="{FF2B5EF4-FFF2-40B4-BE49-F238E27FC236}">
                <a16:creationId xmlns:a16="http://schemas.microsoft.com/office/drawing/2014/main" id="{F2A9AEB3-FBA4-4EE3-A02B-9BF60D2824E6}"/>
              </a:ext>
            </a:extLst>
          </p:cNvPr>
          <p:cNvCxnSpPr>
            <a:cxnSpLocks/>
          </p:cNvCxnSpPr>
          <p:nvPr userDrawn="1"/>
        </p:nvCxnSpPr>
        <p:spPr>
          <a:xfrm>
            <a:off x="6274196"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DD3CEBA2-006C-A925-B52F-0D0CA4CB8195}"/>
              </a:ext>
            </a:extLst>
          </p:cNvPr>
          <p:cNvSpPr>
            <a:spLocks noGrp="1"/>
          </p:cNvSpPr>
          <p:nvPr>
            <p:ph type="ftr" sz="quarter" idx="3"/>
          </p:nvPr>
        </p:nvSpPr>
        <p:spPr>
          <a:xfrm>
            <a:off x="6378179" y="4858555"/>
            <a:ext cx="2592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20D75F00-15BF-037A-336A-2805CF3EFEB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355987" y="3965288"/>
            <a:ext cx="1487123" cy="708957"/>
          </a:xfrm>
          <a:prstGeom prst="rect">
            <a:avLst/>
          </a:prstGeom>
        </p:spPr>
      </p:pic>
    </p:spTree>
    <p:extLst>
      <p:ext uri="{BB962C8B-B14F-4D97-AF65-F5344CB8AC3E}">
        <p14:creationId xmlns:p14="http://schemas.microsoft.com/office/powerpoint/2010/main" val="2788418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 O Blue green">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18A7CBB0-A767-7247-8638-81BC366967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3" name="Graphic 12">
            <a:extLst>
              <a:ext uri="{FF2B5EF4-FFF2-40B4-BE49-F238E27FC236}">
                <a16:creationId xmlns:a16="http://schemas.microsoft.com/office/drawing/2014/main" id="{8CEF710E-39E1-082B-B52C-E37B4EEF550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4" name="Title 4">
            <a:extLst>
              <a:ext uri="{FF2B5EF4-FFF2-40B4-BE49-F238E27FC236}">
                <a16:creationId xmlns:a16="http://schemas.microsoft.com/office/drawing/2014/main" id="{2C6BDD68-E8AC-9D13-ED1D-D43FFC8357C6}"/>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5" name="Text Placeholder 3">
            <a:extLst>
              <a:ext uri="{FF2B5EF4-FFF2-40B4-BE49-F238E27FC236}">
                <a16:creationId xmlns:a16="http://schemas.microsoft.com/office/drawing/2014/main" id="{76BF5CE8-2417-2D5D-75FE-27E0BE07F509}"/>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87C7B85A-D75A-1A9C-EB9E-1F10BCD7B186}"/>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7" name="Slide Number Placeholder 5">
            <a:extLst>
              <a:ext uri="{FF2B5EF4-FFF2-40B4-BE49-F238E27FC236}">
                <a16:creationId xmlns:a16="http://schemas.microsoft.com/office/drawing/2014/main" id="{24452E9D-9590-537A-1306-6AC3186A676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9" name="Straight Connector 8">
            <a:extLst>
              <a:ext uri="{FF2B5EF4-FFF2-40B4-BE49-F238E27FC236}">
                <a16:creationId xmlns:a16="http://schemas.microsoft.com/office/drawing/2014/main" id="{A933135B-E6E0-A180-C59B-EA4745CE657B}"/>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2">
            <a:extLst>
              <a:ext uri="{FF2B5EF4-FFF2-40B4-BE49-F238E27FC236}">
                <a16:creationId xmlns:a16="http://schemas.microsoft.com/office/drawing/2014/main" id="{1E1E5813-C891-EC55-3C61-8BA65C529DFC}"/>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16" name="Picture 15" descr="Icon&#10;&#10;Description automatically generated">
            <a:extLst>
              <a:ext uri="{FF2B5EF4-FFF2-40B4-BE49-F238E27FC236}">
                <a16:creationId xmlns:a16="http://schemas.microsoft.com/office/drawing/2014/main" id="{F26237FF-7742-429A-44A6-E667EB67F74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4862" y="2256905"/>
            <a:ext cx="1487123" cy="708957"/>
          </a:xfrm>
          <a:prstGeom prst="rect">
            <a:avLst/>
          </a:prstGeom>
        </p:spPr>
      </p:pic>
    </p:spTree>
    <p:extLst>
      <p:ext uri="{BB962C8B-B14F-4D97-AF65-F5344CB8AC3E}">
        <p14:creationId xmlns:p14="http://schemas.microsoft.com/office/powerpoint/2010/main" val="11653828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O Blue pink">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B7370059-157B-625C-8521-D3FCF8A22D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4" name="Graphic 13">
            <a:extLst>
              <a:ext uri="{FF2B5EF4-FFF2-40B4-BE49-F238E27FC236}">
                <a16:creationId xmlns:a16="http://schemas.microsoft.com/office/drawing/2014/main" id="{F41E3DBD-A4E2-6EF5-8073-EED87395D745}"/>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5" name="Title 4">
            <a:extLst>
              <a:ext uri="{FF2B5EF4-FFF2-40B4-BE49-F238E27FC236}">
                <a16:creationId xmlns:a16="http://schemas.microsoft.com/office/drawing/2014/main" id="{60E8CE17-B2D0-B92F-1A9F-C72280B6E9A3}"/>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6" name="Text Placeholder 3">
            <a:extLst>
              <a:ext uri="{FF2B5EF4-FFF2-40B4-BE49-F238E27FC236}">
                <a16:creationId xmlns:a16="http://schemas.microsoft.com/office/drawing/2014/main" id="{6BEF90E0-A2AA-9B05-58FB-3D4109E95C42}"/>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9DC94188-095E-2B15-B1C9-BFEA9CD8AD5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40B3BB8B-340F-1B2C-CFDB-82FD55A3DEA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43C0A07D-57CA-BFF4-F4D9-3C2FC68A391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8C2925E9-CEC5-C2C9-18E8-E9BC48F8A75A}"/>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11" name="Picture 10" descr="Icon&#10;&#10;Description automatically generated">
            <a:extLst>
              <a:ext uri="{FF2B5EF4-FFF2-40B4-BE49-F238E27FC236}">
                <a16:creationId xmlns:a16="http://schemas.microsoft.com/office/drawing/2014/main" id="{3B380523-CCAA-1C7A-0B4C-2A9CA5CEE68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4862" y="2256905"/>
            <a:ext cx="1487123" cy="708957"/>
          </a:xfrm>
          <a:prstGeom prst="rect">
            <a:avLst/>
          </a:prstGeom>
        </p:spPr>
      </p:pic>
    </p:spTree>
    <p:extLst>
      <p:ext uri="{BB962C8B-B14F-4D97-AF65-F5344CB8AC3E}">
        <p14:creationId xmlns:p14="http://schemas.microsoft.com/office/powerpoint/2010/main" val="2367673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 O Blue green 2">
    <p:spTree>
      <p:nvGrpSpPr>
        <p:cNvPr id="1" name=""/>
        <p:cNvGrpSpPr/>
        <p:nvPr/>
      </p:nvGrpSpPr>
      <p:grpSpPr>
        <a:xfrm>
          <a:off x="0" y="0"/>
          <a:ext cx="0" cy="0"/>
          <a:chOff x="0" y="0"/>
          <a:chExt cx="0" cy="0"/>
        </a:xfrm>
      </p:grpSpPr>
      <p:pic>
        <p:nvPicPr>
          <p:cNvPr id="9" name="Picture 8" descr="Background pattern&#10;&#10;Description automatically generated">
            <a:extLst>
              <a:ext uri="{FF2B5EF4-FFF2-40B4-BE49-F238E27FC236}">
                <a16:creationId xmlns:a16="http://schemas.microsoft.com/office/drawing/2014/main" id="{7A20ED13-DCC3-ED6C-4FB2-2B64E7F041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6" name="Picture 5" descr="Icon&#10;&#10;Description automatically generated">
            <a:extLst>
              <a:ext uri="{FF2B5EF4-FFF2-40B4-BE49-F238E27FC236}">
                <a16:creationId xmlns:a16="http://schemas.microsoft.com/office/drawing/2014/main" id="{C6AB1A73-864D-9E10-F6A2-BFAA635B418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04862" y="2256905"/>
            <a:ext cx="1487123" cy="708957"/>
          </a:xfrm>
          <a:prstGeom prst="rect">
            <a:avLst/>
          </a:prstGeom>
        </p:spPr>
      </p:pic>
    </p:spTree>
    <p:extLst>
      <p:ext uri="{BB962C8B-B14F-4D97-AF65-F5344CB8AC3E}">
        <p14:creationId xmlns:p14="http://schemas.microsoft.com/office/powerpoint/2010/main" val="25259963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3 O Blue green 2">
    <p:spTree>
      <p:nvGrpSpPr>
        <p:cNvPr id="1" name=""/>
        <p:cNvGrpSpPr/>
        <p:nvPr/>
      </p:nvGrpSpPr>
      <p:grpSpPr>
        <a:xfrm>
          <a:off x="0" y="0"/>
          <a:ext cx="0" cy="0"/>
          <a:chOff x="0" y="0"/>
          <a:chExt cx="0" cy="0"/>
        </a:xfrm>
      </p:grpSpPr>
      <p:pic>
        <p:nvPicPr>
          <p:cNvPr id="7" name="Picture 6" descr="A close-up of a person's eyes&#10;&#10;Description automatically generated with medium confidence">
            <a:extLst>
              <a:ext uri="{FF2B5EF4-FFF2-40B4-BE49-F238E27FC236}">
                <a16:creationId xmlns:a16="http://schemas.microsoft.com/office/drawing/2014/main" id="{9A0519D6-9389-8004-1D7E-B02731821D2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4796"/>
            <a:ext cx="9144000" cy="5148296"/>
          </a:xfrm>
          <a:prstGeom prst="rect">
            <a:avLst/>
          </a:prstGeom>
        </p:spPr>
      </p:pic>
      <p:sp>
        <p:nvSpPr>
          <p:cNvPr id="8" name="Rectangle 7">
            <a:extLst>
              <a:ext uri="{FF2B5EF4-FFF2-40B4-BE49-F238E27FC236}">
                <a16:creationId xmlns:a16="http://schemas.microsoft.com/office/drawing/2014/main" id="{84745B0F-5630-02EE-B9A0-ACC5924DEEF8}"/>
              </a:ext>
            </a:extLst>
          </p:cNvPr>
          <p:cNvSpPr/>
          <p:nvPr userDrawn="1"/>
        </p:nvSpPr>
        <p:spPr>
          <a:xfrm>
            <a:off x="-5535" y="-8692"/>
            <a:ext cx="9144000" cy="5143500"/>
          </a:xfrm>
          <a:prstGeom prst="rect">
            <a:avLst/>
          </a:prstGeom>
          <a:gradFill flip="none" rotWithShape="1">
            <a:gsLst>
              <a:gs pos="0">
                <a:schemeClr val="tx2">
                  <a:alpha val="85000"/>
                </a:schemeClr>
              </a:gs>
              <a:gs pos="100000">
                <a:schemeClr val="tx2">
                  <a:alpha val="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pic>
        <p:nvPicPr>
          <p:cNvPr id="16" name="Graphic 15">
            <a:extLst>
              <a:ext uri="{FF2B5EF4-FFF2-40B4-BE49-F238E27FC236}">
                <a16:creationId xmlns:a16="http://schemas.microsoft.com/office/drawing/2014/main" id="{B9438AB4-120A-6B68-C6A3-6BD51CF52D24}"/>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25034"/>
          <a:stretch/>
        </p:blipFill>
        <p:spPr>
          <a:xfrm>
            <a:off x="5126775" y="-4796"/>
            <a:ext cx="4017225" cy="5144400"/>
          </a:xfrm>
          <a:prstGeom prst="rect">
            <a:avLst/>
          </a:prstGeom>
        </p:spPr>
      </p:pic>
      <p:sp>
        <p:nvSpPr>
          <p:cNvPr id="17" name="Title 4">
            <a:extLst>
              <a:ext uri="{FF2B5EF4-FFF2-40B4-BE49-F238E27FC236}">
                <a16:creationId xmlns:a16="http://schemas.microsoft.com/office/drawing/2014/main" id="{184C4A7B-1AC5-72AD-EB05-210AB3D4C14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5F506F4-DF34-76FB-83D6-A513173F8EF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3A992705-E3A1-420B-69C5-44919D45057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3" name="Slide Number Placeholder 5">
            <a:extLst>
              <a:ext uri="{FF2B5EF4-FFF2-40B4-BE49-F238E27FC236}">
                <a16:creationId xmlns:a16="http://schemas.microsoft.com/office/drawing/2014/main" id="{73489F46-0E66-3662-9807-C4103C37498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4" name="Straight Connector 3">
            <a:extLst>
              <a:ext uri="{FF2B5EF4-FFF2-40B4-BE49-F238E27FC236}">
                <a16:creationId xmlns:a16="http://schemas.microsoft.com/office/drawing/2014/main" id="{124CC0F3-7292-1366-D942-BE5A3E145A42}"/>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Footer Placeholder 2">
            <a:extLst>
              <a:ext uri="{FF2B5EF4-FFF2-40B4-BE49-F238E27FC236}">
                <a16:creationId xmlns:a16="http://schemas.microsoft.com/office/drawing/2014/main" id="{BB3465A8-86A3-4978-6D3F-E97750AC1CD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11" name="Picture 10" descr="Icon&#10;&#10;Description automatically generated">
            <a:extLst>
              <a:ext uri="{FF2B5EF4-FFF2-40B4-BE49-F238E27FC236}">
                <a16:creationId xmlns:a16="http://schemas.microsoft.com/office/drawing/2014/main" id="{B320E2E7-1FF4-3C2A-71B8-1C04CF14E0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7532" y="426781"/>
            <a:ext cx="1353396" cy="645205"/>
          </a:xfrm>
          <a:prstGeom prst="rect">
            <a:avLst/>
          </a:prstGeom>
        </p:spPr>
      </p:pic>
    </p:spTree>
    <p:extLst>
      <p:ext uri="{BB962C8B-B14F-4D97-AF65-F5344CB8AC3E}">
        <p14:creationId xmlns:p14="http://schemas.microsoft.com/office/powerpoint/2010/main" val="278351502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3 O Blue green 2">
    <p:bg>
      <p:bgPr>
        <a:gradFill flip="none" rotWithShape="1">
          <a:gsLst>
            <a:gs pos="97000">
              <a:srgbClr val="0A2747"/>
            </a:gs>
            <a:gs pos="100000">
              <a:srgbClr val="09243D"/>
            </a:gs>
            <a:gs pos="73000">
              <a:srgbClr val="092443"/>
            </a:gs>
            <a:gs pos="1000">
              <a:srgbClr val="08223D"/>
            </a:gs>
          </a:gsLst>
          <a:lin ang="21594000" scaled="0"/>
          <a:tileRect/>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1A08D2-7BD6-6EF0-A8ED-2BED0268E547}"/>
              </a:ext>
            </a:extLst>
          </p:cNvPr>
          <p:cNvSpPr/>
          <p:nvPr userDrawn="1"/>
        </p:nvSpPr>
        <p:spPr>
          <a:xfrm>
            <a:off x="0" y="8692"/>
            <a:ext cx="3352078" cy="5139604"/>
          </a:xfrm>
          <a:prstGeom prst="rect">
            <a:avLst/>
          </a:prstGeom>
          <a:gradFill flip="none" rotWithShape="1">
            <a:gsLst>
              <a:gs pos="50000">
                <a:srgbClr val="0A1E3F"/>
              </a:gs>
              <a:gs pos="100000">
                <a:srgbClr val="0D162B"/>
              </a:gs>
              <a:gs pos="0">
                <a:srgbClr val="07274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pic>
        <p:nvPicPr>
          <p:cNvPr id="9" name="Picture 8" descr="A close-up of a fish&#10;&#10;Description automatically generated with low confidence">
            <a:extLst>
              <a:ext uri="{FF2B5EF4-FFF2-40B4-BE49-F238E27FC236}">
                <a16:creationId xmlns:a16="http://schemas.microsoft.com/office/drawing/2014/main" id="{6FFC1613-2698-D450-533E-D5226E41A18F}"/>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a:stretch/>
        </p:blipFill>
        <p:spPr>
          <a:xfrm>
            <a:off x="3334431" y="0"/>
            <a:ext cx="5809569" cy="5143500"/>
          </a:xfrm>
          <a:prstGeom prst="rect">
            <a:avLst/>
          </a:prstGeom>
        </p:spPr>
      </p:pic>
      <p:sp>
        <p:nvSpPr>
          <p:cNvPr id="6" name="Title 4">
            <a:extLst>
              <a:ext uri="{FF2B5EF4-FFF2-40B4-BE49-F238E27FC236}">
                <a16:creationId xmlns:a16="http://schemas.microsoft.com/office/drawing/2014/main" id="{EB889D79-6889-9F12-F4FD-64D783A5636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175ECEB-B2DF-6A25-0693-481D169D765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pic>
        <p:nvPicPr>
          <p:cNvPr id="19" name="Picture 18" descr="Icon&#10;&#10;Description automatically generated">
            <a:extLst>
              <a:ext uri="{FF2B5EF4-FFF2-40B4-BE49-F238E27FC236}">
                <a16:creationId xmlns:a16="http://schemas.microsoft.com/office/drawing/2014/main" id="{4B4FC3BA-CFA7-871A-8310-2D789311A7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66513" y="744835"/>
            <a:ext cx="1353396" cy="645205"/>
          </a:xfrm>
          <a:prstGeom prst="rect">
            <a:avLst/>
          </a:prstGeom>
        </p:spPr>
      </p:pic>
      <p:pic>
        <p:nvPicPr>
          <p:cNvPr id="20" name="Graphic 19">
            <a:extLst>
              <a:ext uri="{FF2B5EF4-FFF2-40B4-BE49-F238E27FC236}">
                <a16:creationId xmlns:a16="http://schemas.microsoft.com/office/drawing/2014/main" id="{787EA444-FEC6-F95E-8376-FA635E8F3AD5}"/>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r="18818"/>
          <a:stretch/>
        </p:blipFill>
        <p:spPr>
          <a:xfrm>
            <a:off x="3713148" y="0"/>
            <a:ext cx="4176344" cy="5144400"/>
          </a:xfrm>
          <a:prstGeom prst="rect">
            <a:avLst/>
          </a:prstGeom>
        </p:spPr>
      </p:pic>
    </p:spTree>
    <p:extLst>
      <p:ext uri="{BB962C8B-B14F-4D97-AF65-F5344CB8AC3E}">
        <p14:creationId xmlns:p14="http://schemas.microsoft.com/office/powerpoint/2010/main" val="242941939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3 O Blue green 2">
    <p:bg>
      <p:bgPr>
        <a:gradFill flip="none" rotWithShape="1">
          <a:gsLst>
            <a:gs pos="97000">
              <a:srgbClr val="0A2747"/>
            </a:gs>
            <a:gs pos="100000">
              <a:srgbClr val="09243D"/>
            </a:gs>
            <a:gs pos="73000">
              <a:srgbClr val="092443"/>
            </a:gs>
            <a:gs pos="1000">
              <a:srgbClr val="08223D"/>
            </a:gs>
          </a:gsLst>
          <a:lin ang="21594000" scaled="0"/>
          <a:tileRect/>
        </a:gra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1A08D2-7BD6-6EF0-A8ED-2BED0268E547}"/>
              </a:ext>
            </a:extLst>
          </p:cNvPr>
          <p:cNvSpPr/>
          <p:nvPr userDrawn="1"/>
        </p:nvSpPr>
        <p:spPr>
          <a:xfrm>
            <a:off x="0" y="8692"/>
            <a:ext cx="3352078" cy="5139604"/>
          </a:xfrm>
          <a:prstGeom prst="rect">
            <a:avLst/>
          </a:prstGeom>
          <a:gradFill flip="none" rotWithShape="1">
            <a:gsLst>
              <a:gs pos="50000">
                <a:srgbClr val="0A1E3F"/>
              </a:gs>
              <a:gs pos="100000">
                <a:srgbClr val="0D162B"/>
              </a:gs>
              <a:gs pos="0">
                <a:srgbClr val="07274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solidFill>
                <a:schemeClr val="tx2"/>
              </a:solidFill>
            </a:endParaRPr>
          </a:p>
        </p:txBody>
      </p:sp>
      <p:pic>
        <p:nvPicPr>
          <p:cNvPr id="9" name="Picture 8" descr="A close-up of a fish&#10;&#10;Description automatically generated with low confidence">
            <a:extLst>
              <a:ext uri="{FF2B5EF4-FFF2-40B4-BE49-F238E27FC236}">
                <a16:creationId xmlns:a16="http://schemas.microsoft.com/office/drawing/2014/main" id="{6FFC1613-2698-D450-533E-D5226E41A18F}"/>
              </a:ext>
            </a:extLst>
          </p:cNvPr>
          <p:cNvPicPr>
            <a:picLocks noChangeAspect="1"/>
          </p:cNvPicPr>
          <p:nvPr userDrawn="1"/>
        </p:nvPicPr>
        <p:blipFill rotWithShape="1">
          <a:blip r:embed="rId2" cstate="print">
            <a:alphaModFix/>
            <a:extLst>
              <a:ext uri="{28A0092B-C50C-407E-A947-70E740481C1C}">
                <a14:useLocalDpi xmlns:a14="http://schemas.microsoft.com/office/drawing/2010/main" val="0"/>
              </a:ext>
            </a:extLst>
          </a:blip>
          <a:srcRect/>
          <a:stretch/>
        </p:blipFill>
        <p:spPr>
          <a:xfrm>
            <a:off x="3334431" y="0"/>
            <a:ext cx="5809569" cy="5143500"/>
          </a:xfrm>
          <a:prstGeom prst="rect">
            <a:avLst/>
          </a:prstGeom>
        </p:spPr>
      </p:pic>
      <p:sp>
        <p:nvSpPr>
          <p:cNvPr id="6" name="Title 4">
            <a:extLst>
              <a:ext uri="{FF2B5EF4-FFF2-40B4-BE49-F238E27FC236}">
                <a16:creationId xmlns:a16="http://schemas.microsoft.com/office/drawing/2014/main" id="{EB889D79-6889-9F12-F4FD-64D783A56360}"/>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0" name="Text Placeholder 3">
            <a:extLst>
              <a:ext uri="{FF2B5EF4-FFF2-40B4-BE49-F238E27FC236}">
                <a16:creationId xmlns:a16="http://schemas.microsoft.com/office/drawing/2014/main" id="{1175ECEB-B2DF-6A25-0693-481D169D765A}"/>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pic>
        <p:nvPicPr>
          <p:cNvPr id="19" name="Picture 18" descr="Icon&#10;&#10;Description automatically generated">
            <a:extLst>
              <a:ext uri="{FF2B5EF4-FFF2-40B4-BE49-F238E27FC236}">
                <a16:creationId xmlns:a16="http://schemas.microsoft.com/office/drawing/2014/main" id="{4B4FC3BA-CFA7-871A-8310-2D789311A7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7531" y="409169"/>
            <a:ext cx="1353396" cy="645205"/>
          </a:xfrm>
          <a:prstGeom prst="rect">
            <a:avLst/>
          </a:prstGeom>
        </p:spPr>
      </p:pic>
      <p:pic>
        <p:nvPicPr>
          <p:cNvPr id="2" name="Graphic 1">
            <a:extLst>
              <a:ext uri="{FF2B5EF4-FFF2-40B4-BE49-F238E27FC236}">
                <a16:creationId xmlns:a16="http://schemas.microsoft.com/office/drawing/2014/main" id="{4715390B-A6A4-1FBA-0F10-E63DCDFE53DB}"/>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r="25034"/>
          <a:stretch/>
        </p:blipFill>
        <p:spPr>
          <a:xfrm>
            <a:off x="5126775" y="-4796"/>
            <a:ext cx="4017225" cy="5144400"/>
          </a:xfrm>
          <a:prstGeom prst="rect">
            <a:avLst/>
          </a:prstGeom>
        </p:spPr>
      </p:pic>
    </p:spTree>
    <p:extLst>
      <p:ext uri="{BB962C8B-B14F-4D97-AF65-F5344CB8AC3E}">
        <p14:creationId xmlns:p14="http://schemas.microsoft.com/office/powerpoint/2010/main" val="2098697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2 Titl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60A88A15-3ABC-3274-AAF4-8A412DDB8F1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752320" y="4740459"/>
            <a:ext cx="972000" cy="219014"/>
          </a:xfrm>
          <a:prstGeom prst="rect">
            <a:avLst/>
          </a:prstGeom>
        </p:spPr>
      </p:pic>
      <p:sp>
        <p:nvSpPr>
          <p:cNvPr id="5" name="Text Placeholder 42">
            <a:extLst>
              <a:ext uri="{FF2B5EF4-FFF2-40B4-BE49-F238E27FC236}">
                <a16:creationId xmlns:a16="http://schemas.microsoft.com/office/drawing/2014/main" id="{4B403941-CFEA-9A2F-6625-4961A6C63DBE}"/>
              </a:ext>
            </a:extLst>
          </p:cNvPr>
          <p:cNvSpPr>
            <a:spLocks noGrp="1"/>
          </p:cNvSpPr>
          <p:nvPr>
            <p:ph type="body" sz="quarter" idx="11" hasCustomPrompt="1"/>
          </p:nvPr>
        </p:nvSpPr>
        <p:spPr>
          <a:xfrm>
            <a:off x="417600" y="1080000"/>
            <a:ext cx="8308800" cy="1760501"/>
          </a:xfrm>
          <a:prstGeom prst="rect">
            <a:avLst/>
          </a:prstGeom>
        </p:spPr>
        <p:txBody>
          <a:bodyPr lIns="0" tIns="0" rIns="0" bIns="0"/>
          <a:lstStyle>
            <a:lvl1pPr marL="0" indent="0">
              <a:buNone/>
              <a:defRPr sz="5400" baseline="0">
                <a:solidFill>
                  <a:schemeClr val="accent1"/>
                </a:solidFill>
                <a:latin typeface="Nokia Pure Headline Ultra Light" panose="020B0204020202020204" pitchFamily="34" charset="0"/>
              </a:defRPr>
            </a:lvl1pPr>
          </a:lstStyle>
          <a:p>
            <a:pPr lvl="0"/>
            <a:r>
              <a:rPr lang="en-US" dirty="0"/>
              <a:t>Click to edit headline</a:t>
            </a:r>
          </a:p>
        </p:txBody>
      </p:sp>
      <p:sp>
        <p:nvSpPr>
          <p:cNvPr id="10" name="TextBox 9">
            <a:extLst>
              <a:ext uri="{FF2B5EF4-FFF2-40B4-BE49-F238E27FC236}">
                <a16:creationId xmlns:a16="http://schemas.microsoft.com/office/drawing/2014/main" id="{2F47F401-BF7E-355C-C976-B4494F0FF7C0}"/>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1" name="Slide Number Placeholder 5">
            <a:extLst>
              <a:ext uri="{FF2B5EF4-FFF2-40B4-BE49-F238E27FC236}">
                <a16:creationId xmlns:a16="http://schemas.microsoft.com/office/drawing/2014/main" id="{330667D5-1EF4-ED72-580D-4CC841A8EFE5}"/>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2" name="Straight Connector 11">
            <a:extLst>
              <a:ext uri="{FF2B5EF4-FFF2-40B4-BE49-F238E27FC236}">
                <a16:creationId xmlns:a16="http://schemas.microsoft.com/office/drawing/2014/main" id="{42C2BFC7-9CB5-7F26-76B9-912A813A2A55}"/>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Footer Placeholder 2">
            <a:extLst>
              <a:ext uri="{FF2B5EF4-FFF2-40B4-BE49-F238E27FC236}">
                <a16:creationId xmlns:a16="http://schemas.microsoft.com/office/drawing/2014/main" id="{FE6CA1EE-0942-8B45-95D0-3E2681D73D5F}"/>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hange document classification and / or document ID</a:t>
            </a:r>
            <a:endParaRPr lang="en-US" dirty="0"/>
          </a:p>
        </p:txBody>
      </p:sp>
    </p:spTree>
    <p:extLst>
      <p:ext uri="{BB962C8B-B14F-4D97-AF65-F5344CB8AC3E}">
        <p14:creationId xmlns:p14="http://schemas.microsoft.com/office/powerpoint/2010/main" val="4990224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K Red orange">
    <p:spTree>
      <p:nvGrpSpPr>
        <p:cNvPr id="1" name=""/>
        <p:cNvGrpSpPr/>
        <p:nvPr/>
      </p:nvGrpSpPr>
      <p:grpSpPr>
        <a:xfrm>
          <a:off x="0" y="0"/>
          <a:ext cx="0" cy="0"/>
          <a:chOff x="0" y="0"/>
          <a:chExt cx="0" cy="0"/>
        </a:xfrm>
      </p:grpSpPr>
      <p:pic>
        <p:nvPicPr>
          <p:cNvPr id="16" name="Picture 15" descr="Background pattern&#10;&#10;Description automatically generated">
            <a:extLst>
              <a:ext uri="{FF2B5EF4-FFF2-40B4-BE49-F238E27FC236}">
                <a16:creationId xmlns:a16="http://schemas.microsoft.com/office/drawing/2014/main" id="{38FCEB48-BE41-308F-33AB-94163C02B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10" name="Graphic 9">
            <a:extLst>
              <a:ext uri="{FF2B5EF4-FFF2-40B4-BE49-F238E27FC236}">
                <a16:creationId xmlns:a16="http://schemas.microsoft.com/office/drawing/2014/main" id="{193793F7-1073-3781-E44D-DD541B786672}"/>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17" name="Title 4">
            <a:extLst>
              <a:ext uri="{FF2B5EF4-FFF2-40B4-BE49-F238E27FC236}">
                <a16:creationId xmlns:a16="http://schemas.microsoft.com/office/drawing/2014/main" id="{4A761E77-5CBD-451F-FA38-EA3EF19CE9E8}"/>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1349CF4D-C3F5-69B9-4227-EC331C16F094}"/>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DF372165-1480-FF4B-FD8E-0169E8CD1957}"/>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885AEDB-ED41-584E-391C-1747DAD5043C}"/>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104E2F18-4E2A-EDFF-55AE-85920A343F20}"/>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B7433D11-0578-F766-1515-93267A24999B}"/>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6702645B-D308-81E9-62B5-58BB83C331F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55828" y="2256905"/>
            <a:ext cx="1487123" cy="708957"/>
          </a:xfrm>
          <a:prstGeom prst="rect">
            <a:avLst/>
          </a:prstGeom>
        </p:spPr>
      </p:pic>
    </p:spTree>
    <p:extLst>
      <p:ext uri="{BB962C8B-B14F-4D97-AF65-F5344CB8AC3E}">
        <p14:creationId xmlns:p14="http://schemas.microsoft.com/office/powerpoint/2010/main" val="42864835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 K Blue">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8FF1A58D-53A4-65F6-8F2B-645D65C533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3" name="Picture 2" descr="Icon&#10;&#10;Description automatically generated">
            <a:extLst>
              <a:ext uri="{FF2B5EF4-FFF2-40B4-BE49-F238E27FC236}">
                <a16:creationId xmlns:a16="http://schemas.microsoft.com/office/drawing/2014/main" id="{61077A57-2969-630E-5768-5BB372F2738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55828" y="2256905"/>
            <a:ext cx="1487123" cy="708957"/>
          </a:xfrm>
          <a:prstGeom prst="rect">
            <a:avLst/>
          </a:prstGeom>
        </p:spPr>
      </p:pic>
    </p:spTree>
    <p:extLst>
      <p:ext uri="{BB962C8B-B14F-4D97-AF65-F5344CB8AC3E}">
        <p14:creationId xmlns:p14="http://schemas.microsoft.com/office/powerpoint/2010/main" val="37468911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3 K Blue">
    <p:spTree>
      <p:nvGrpSpPr>
        <p:cNvPr id="1" name=""/>
        <p:cNvGrpSpPr/>
        <p:nvPr/>
      </p:nvGrpSpPr>
      <p:grpSpPr>
        <a:xfrm>
          <a:off x="0" y="0"/>
          <a:ext cx="0" cy="0"/>
          <a:chOff x="0" y="0"/>
          <a:chExt cx="0" cy="0"/>
        </a:xfrm>
      </p:grpSpPr>
      <p:pic>
        <p:nvPicPr>
          <p:cNvPr id="5" name="Picture 4" descr="A close-up of a person's eyes&#10;&#10;Description automatically generated with medium confidence">
            <a:extLst>
              <a:ext uri="{FF2B5EF4-FFF2-40B4-BE49-F238E27FC236}">
                <a16:creationId xmlns:a16="http://schemas.microsoft.com/office/drawing/2014/main" id="{2D85594E-D66E-846B-01E6-704EE80773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6" name="Rectangle 5">
            <a:extLst>
              <a:ext uri="{FF2B5EF4-FFF2-40B4-BE49-F238E27FC236}">
                <a16:creationId xmlns:a16="http://schemas.microsoft.com/office/drawing/2014/main" id="{373E7F4D-9FB8-97D8-CB0C-7AA82AEB1A39}"/>
              </a:ext>
            </a:extLst>
          </p:cNvPr>
          <p:cNvSpPr/>
          <p:nvPr userDrawn="1"/>
        </p:nvSpPr>
        <p:spPr>
          <a:xfrm>
            <a:off x="-5535" y="-900"/>
            <a:ext cx="9144000" cy="5143500"/>
          </a:xfrm>
          <a:prstGeom prst="rect">
            <a:avLst/>
          </a:prstGeom>
          <a:gradFill flip="none" rotWithShape="1">
            <a:gsLst>
              <a:gs pos="0">
                <a:schemeClr val="tx2">
                  <a:alpha val="85000"/>
                </a:schemeClr>
              </a:gs>
              <a:gs pos="100000">
                <a:schemeClr val="tx2">
                  <a:alpha val="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566465"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512D3F1D-E1F8-33BB-3C1C-D6EDA28B8E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7532" y="426781"/>
            <a:ext cx="1353396" cy="645205"/>
          </a:xfrm>
          <a:prstGeom prst="rect">
            <a:avLst/>
          </a:prstGeom>
        </p:spPr>
      </p:pic>
    </p:spTree>
    <p:extLst>
      <p:ext uri="{BB962C8B-B14F-4D97-AF65-F5344CB8AC3E}">
        <p14:creationId xmlns:p14="http://schemas.microsoft.com/office/powerpoint/2010/main" val="6250768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3 K Blue">
    <p:spTree>
      <p:nvGrpSpPr>
        <p:cNvPr id="1" name=""/>
        <p:cNvGrpSpPr/>
        <p:nvPr/>
      </p:nvGrpSpPr>
      <p:grpSpPr>
        <a:xfrm>
          <a:off x="0" y="0"/>
          <a:ext cx="0" cy="0"/>
          <a:chOff x="0" y="0"/>
          <a:chExt cx="0" cy="0"/>
        </a:xfrm>
      </p:grpSpPr>
      <p:pic>
        <p:nvPicPr>
          <p:cNvPr id="5" name="Picture 4" descr="A close-up of a person's eyes&#10;&#10;Description automatically generated with medium confidence">
            <a:extLst>
              <a:ext uri="{FF2B5EF4-FFF2-40B4-BE49-F238E27FC236}">
                <a16:creationId xmlns:a16="http://schemas.microsoft.com/office/drawing/2014/main" id="{2D85594E-D66E-846B-01E6-704EE80773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6" name="Rectangle 5">
            <a:extLst>
              <a:ext uri="{FF2B5EF4-FFF2-40B4-BE49-F238E27FC236}">
                <a16:creationId xmlns:a16="http://schemas.microsoft.com/office/drawing/2014/main" id="{373E7F4D-9FB8-97D8-CB0C-7AA82AEB1A39}"/>
              </a:ext>
            </a:extLst>
          </p:cNvPr>
          <p:cNvSpPr/>
          <p:nvPr userDrawn="1"/>
        </p:nvSpPr>
        <p:spPr>
          <a:xfrm>
            <a:off x="-5535" y="-900"/>
            <a:ext cx="9144000" cy="5143500"/>
          </a:xfrm>
          <a:prstGeom prst="rect">
            <a:avLst/>
          </a:prstGeom>
          <a:gradFill flip="none" rotWithShape="1">
            <a:gsLst>
              <a:gs pos="0">
                <a:schemeClr val="tx2">
                  <a:alpha val="85000"/>
                </a:schemeClr>
              </a:gs>
              <a:gs pos="100000">
                <a:schemeClr val="tx2">
                  <a:alpha val="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pic>
        <p:nvPicPr>
          <p:cNvPr id="4" name="Graphic 3">
            <a:extLst>
              <a:ext uri="{FF2B5EF4-FFF2-40B4-BE49-F238E27FC236}">
                <a16:creationId xmlns:a16="http://schemas.microsoft.com/office/drawing/2014/main" id="{5166BBE5-C86E-3E87-A7C5-F29BE64D716D}"/>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566465" y="0"/>
            <a:ext cx="4176344" cy="5144400"/>
          </a:xfrm>
          <a:prstGeom prst="rect">
            <a:avLst/>
          </a:prstGeom>
        </p:spPr>
      </p:pic>
      <p:sp>
        <p:nvSpPr>
          <p:cNvPr id="23" name="Title 4">
            <a:extLst>
              <a:ext uri="{FF2B5EF4-FFF2-40B4-BE49-F238E27FC236}">
                <a16:creationId xmlns:a16="http://schemas.microsoft.com/office/drawing/2014/main" id="{5C4391E8-E519-220E-82C7-E7E85659A4E4}"/>
              </a:ext>
            </a:extLst>
          </p:cNvPr>
          <p:cNvSpPr>
            <a:spLocks noGrp="1"/>
          </p:cNvSpPr>
          <p:nvPr>
            <p:ph type="title" hasCustomPrompt="1"/>
          </p:nvPr>
        </p:nvSpPr>
        <p:spPr>
          <a:xfrm>
            <a:off x="417531" y="661751"/>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F3E219A7-8ADF-6CBF-872C-AEF07B645E6D}"/>
              </a:ext>
            </a:extLst>
          </p:cNvPr>
          <p:cNvSpPr>
            <a:spLocks noGrp="1"/>
          </p:cNvSpPr>
          <p:nvPr>
            <p:ph type="body" sz="quarter" idx="12" hasCustomPrompt="1"/>
          </p:nvPr>
        </p:nvSpPr>
        <p:spPr>
          <a:xfrm>
            <a:off x="417531" y="2086788"/>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2" name="TextBox 1">
            <a:extLst>
              <a:ext uri="{FF2B5EF4-FFF2-40B4-BE49-F238E27FC236}">
                <a16:creationId xmlns:a16="http://schemas.microsoft.com/office/drawing/2014/main" id="{4D6C7722-3695-701D-3996-534F9F47B225}"/>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30DB2ED8-2C9E-748A-A0E7-A8309F6712B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DB0495AE-317E-AAA2-14BB-57D5B40C068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484948EE-688C-80CC-A7ED-A56091E7B56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8" name="Picture 7" descr="Icon&#10;&#10;Description automatically generated">
            <a:extLst>
              <a:ext uri="{FF2B5EF4-FFF2-40B4-BE49-F238E27FC236}">
                <a16:creationId xmlns:a16="http://schemas.microsoft.com/office/drawing/2014/main" id="{4A194196-3667-0B4E-DFD7-6ED709B1E8A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7532" y="3764427"/>
            <a:ext cx="1353396" cy="645205"/>
          </a:xfrm>
          <a:prstGeom prst="rect">
            <a:avLst/>
          </a:prstGeom>
        </p:spPr>
      </p:pic>
    </p:spTree>
    <p:extLst>
      <p:ext uri="{BB962C8B-B14F-4D97-AF65-F5344CB8AC3E}">
        <p14:creationId xmlns:p14="http://schemas.microsoft.com/office/powerpoint/2010/main" val="5629745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K Pink">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DBC0B63B-5EB2-C517-FFAF-0A5B2B5AB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pic>
        <p:nvPicPr>
          <p:cNvPr id="2" name="Graphic 1">
            <a:extLst>
              <a:ext uri="{FF2B5EF4-FFF2-40B4-BE49-F238E27FC236}">
                <a16:creationId xmlns:a16="http://schemas.microsoft.com/office/drawing/2014/main" id="{D2D54FC7-5739-CC9E-8372-80A8BD5BD489}"/>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18818"/>
          <a:stretch/>
        </p:blipFill>
        <p:spPr>
          <a:xfrm>
            <a:off x="4967656" y="0"/>
            <a:ext cx="4176344" cy="5144400"/>
          </a:xfrm>
          <a:prstGeom prst="rect">
            <a:avLst/>
          </a:prstGeom>
        </p:spPr>
      </p:pic>
      <p:sp>
        <p:nvSpPr>
          <p:cNvPr id="23" name="Title 4">
            <a:extLst>
              <a:ext uri="{FF2B5EF4-FFF2-40B4-BE49-F238E27FC236}">
                <a16:creationId xmlns:a16="http://schemas.microsoft.com/office/drawing/2014/main" id="{FADBBE10-EF5A-37AA-E18F-F9B27AA61FED}"/>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bg1"/>
                </a:solidFill>
                <a:latin typeface="+mj-lt"/>
                <a:ea typeface="+mn-ea"/>
                <a:cs typeface="+mn-cs"/>
              </a:defRPr>
            </a:lvl1pPr>
          </a:lstStyle>
          <a:p>
            <a:r>
              <a:rPr lang="en-GB" dirty="0"/>
              <a:t>Presentation</a:t>
            </a:r>
            <a:br>
              <a:rPr lang="en-GB" dirty="0"/>
            </a:br>
            <a:r>
              <a:rPr lang="en-GB" dirty="0"/>
              <a:t>Title (2 lines)</a:t>
            </a:r>
          </a:p>
        </p:txBody>
      </p:sp>
      <p:sp>
        <p:nvSpPr>
          <p:cNvPr id="24" name="Text Placeholder 3">
            <a:extLst>
              <a:ext uri="{FF2B5EF4-FFF2-40B4-BE49-F238E27FC236}">
                <a16:creationId xmlns:a16="http://schemas.microsoft.com/office/drawing/2014/main" id="{0DF69E35-608B-F57E-3615-F9FB9D11DD83}"/>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bg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3" name="TextBox 2">
            <a:extLst>
              <a:ext uri="{FF2B5EF4-FFF2-40B4-BE49-F238E27FC236}">
                <a16:creationId xmlns:a16="http://schemas.microsoft.com/office/drawing/2014/main" id="{D596CCAF-CFD0-78BA-B2DE-D4AAECC80E0C}"/>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4" name="Slide Number Placeholder 5">
            <a:extLst>
              <a:ext uri="{FF2B5EF4-FFF2-40B4-BE49-F238E27FC236}">
                <a16:creationId xmlns:a16="http://schemas.microsoft.com/office/drawing/2014/main" id="{783A073E-6395-AB52-363B-C387025E75D6}"/>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5" name="Straight Connector 14">
            <a:extLst>
              <a:ext uri="{FF2B5EF4-FFF2-40B4-BE49-F238E27FC236}">
                <a16:creationId xmlns:a16="http://schemas.microsoft.com/office/drawing/2014/main" id="{A2EA63C6-5343-F79F-D184-6FE2E97A3616}"/>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Footer Placeholder 2">
            <a:extLst>
              <a:ext uri="{FF2B5EF4-FFF2-40B4-BE49-F238E27FC236}">
                <a16:creationId xmlns:a16="http://schemas.microsoft.com/office/drawing/2014/main" id="{5B14FF50-A296-F5AE-C68C-5D0294FDC1A1}"/>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5" name="Picture 4" descr="Icon&#10;&#10;Description automatically generated">
            <a:extLst>
              <a:ext uri="{FF2B5EF4-FFF2-40B4-BE49-F238E27FC236}">
                <a16:creationId xmlns:a16="http://schemas.microsoft.com/office/drawing/2014/main" id="{E9851BE0-423B-34CF-3C24-2C8582D1FE2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055828" y="2256905"/>
            <a:ext cx="1487123" cy="708957"/>
          </a:xfrm>
          <a:prstGeom prst="rect">
            <a:avLst/>
          </a:prstGeom>
        </p:spPr>
      </p:pic>
    </p:spTree>
    <p:extLst>
      <p:ext uri="{BB962C8B-B14F-4D97-AF65-F5344CB8AC3E}">
        <p14:creationId xmlns:p14="http://schemas.microsoft.com/office/powerpoint/2010/main" val="25389500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White title">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53F4EAC9-01A1-ED6A-B271-D7FC17A6D29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18798"/>
          <a:stretch/>
        </p:blipFill>
        <p:spPr>
          <a:xfrm>
            <a:off x="4966626" y="0"/>
            <a:ext cx="4177374" cy="5144400"/>
          </a:xfrm>
          <a:prstGeom prst="rect">
            <a:avLst/>
          </a:prstGeom>
        </p:spPr>
      </p:pic>
      <p:sp>
        <p:nvSpPr>
          <p:cNvPr id="17" name="Title 4">
            <a:extLst>
              <a:ext uri="{FF2B5EF4-FFF2-40B4-BE49-F238E27FC236}">
                <a16:creationId xmlns:a16="http://schemas.microsoft.com/office/drawing/2014/main" id="{EB5A7CA1-8E09-1FEE-5143-08105708AE59}"/>
              </a:ext>
            </a:extLst>
          </p:cNvPr>
          <p:cNvSpPr>
            <a:spLocks noGrp="1"/>
          </p:cNvSpPr>
          <p:nvPr>
            <p:ph type="title" hasCustomPrompt="1"/>
          </p:nvPr>
        </p:nvSpPr>
        <p:spPr>
          <a:xfrm>
            <a:off x="417531" y="1634673"/>
            <a:ext cx="3909884" cy="1244465"/>
          </a:xfrm>
          <a:prstGeom prst="rect">
            <a:avLst/>
          </a:prstGeom>
        </p:spPr>
        <p:txBody>
          <a:bodyPr lIns="0" tIns="0" rIns="0" bIns="0">
            <a:noAutofit/>
          </a:bodyPr>
          <a:lstStyle>
            <a:lvl1pPr marL="0" indent="0" algn="l" defTabSz="914400" rtl="0" eaLnBrk="1" latinLnBrk="0" hangingPunct="1">
              <a:lnSpc>
                <a:spcPct val="100000"/>
              </a:lnSpc>
              <a:spcBef>
                <a:spcPts val="0"/>
              </a:spcBef>
              <a:buFont typeface="Arial" panose="020B0604020202020204" pitchFamily="34" charset="0"/>
              <a:buNone/>
              <a:defRPr lang="en-GB" sz="3600" kern="1200" baseline="0" dirty="0" smtClean="0">
                <a:solidFill>
                  <a:schemeClr val="accent1"/>
                </a:solidFill>
                <a:latin typeface="+mj-lt"/>
                <a:ea typeface="+mn-ea"/>
                <a:cs typeface="+mn-cs"/>
              </a:defRPr>
            </a:lvl1pPr>
          </a:lstStyle>
          <a:p>
            <a:r>
              <a:rPr lang="en-GB" dirty="0"/>
              <a:t>Presentation</a:t>
            </a:r>
            <a:br>
              <a:rPr lang="en-GB" dirty="0"/>
            </a:br>
            <a:r>
              <a:rPr lang="en-GB" dirty="0"/>
              <a:t>Title (2 lines)</a:t>
            </a:r>
          </a:p>
        </p:txBody>
      </p:sp>
      <p:sp>
        <p:nvSpPr>
          <p:cNvPr id="18" name="Text Placeholder 3">
            <a:extLst>
              <a:ext uri="{FF2B5EF4-FFF2-40B4-BE49-F238E27FC236}">
                <a16:creationId xmlns:a16="http://schemas.microsoft.com/office/drawing/2014/main" id="{AF6FE26B-E8FF-4ACF-48A7-542E2FB4B861}"/>
              </a:ext>
            </a:extLst>
          </p:cNvPr>
          <p:cNvSpPr>
            <a:spLocks noGrp="1"/>
          </p:cNvSpPr>
          <p:nvPr>
            <p:ph type="body" sz="quarter" idx="12" hasCustomPrompt="1"/>
          </p:nvPr>
        </p:nvSpPr>
        <p:spPr>
          <a:xfrm>
            <a:off x="417531" y="3059710"/>
            <a:ext cx="3909884" cy="590953"/>
          </a:xfrm>
          <a:prstGeom prst="rect">
            <a:avLst/>
          </a:prstGeom>
        </p:spPr>
        <p:txBody>
          <a:bodyPr lIns="0" tIns="0" rIns="0" bIns="0">
            <a:noAutofit/>
          </a:bodyPr>
          <a:lstStyle>
            <a:lvl1pPr marL="0" indent="0">
              <a:lnSpc>
                <a:spcPct val="100000"/>
              </a:lnSpc>
              <a:spcBef>
                <a:spcPts val="0"/>
              </a:spcBef>
              <a:spcAft>
                <a:spcPts val="600"/>
              </a:spcAft>
              <a:buFont typeface="Arial" panose="020B0604020202020204" pitchFamily="34" charset="0"/>
              <a:buNone/>
              <a:defRPr sz="1800">
                <a:solidFill>
                  <a:schemeClr val="accent1"/>
                </a:solidFill>
                <a:latin typeface="+mn-lt"/>
                <a:ea typeface="Nokia Pure Text Light" panose="020B0403020202020204" pitchFamily="34" charset="0"/>
              </a:defRPr>
            </a:lvl1pPr>
            <a:lvl2pPr marL="230400" indent="0">
              <a:lnSpc>
                <a:spcPct val="100000"/>
              </a:lnSpc>
              <a:spcBef>
                <a:spcPts val="0"/>
              </a:spcBef>
              <a:spcAft>
                <a:spcPts val="600"/>
              </a:spcAft>
              <a:buNone/>
              <a:defRPr sz="1400">
                <a:solidFill>
                  <a:schemeClr val="bg1"/>
                </a:solidFill>
                <a:latin typeface="+mn-lt"/>
                <a:ea typeface="Nokia Pure Text Light" panose="020B0403020202020204" pitchFamily="34" charset="0"/>
              </a:defRPr>
            </a:lvl2pPr>
            <a:lvl3pPr marL="462600" indent="0">
              <a:lnSpc>
                <a:spcPct val="100000"/>
              </a:lnSpc>
              <a:spcBef>
                <a:spcPts val="0"/>
              </a:spcBef>
              <a:spcAft>
                <a:spcPts val="600"/>
              </a:spcAft>
              <a:buNone/>
              <a:defRPr sz="1200">
                <a:solidFill>
                  <a:schemeClr val="bg1"/>
                </a:solidFill>
                <a:latin typeface="+mn-lt"/>
                <a:ea typeface="Nokia Pure Text Light" panose="020B0403020202020204" pitchFamily="34" charset="0"/>
              </a:defRPr>
            </a:lvl3pPr>
            <a:lvl4pPr marL="693000" indent="0">
              <a:lnSpc>
                <a:spcPct val="100000"/>
              </a:lnSpc>
              <a:spcBef>
                <a:spcPts val="0"/>
              </a:spcBef>
              <a:spcAft>
                <a:spcPts val="600"/>
              </a:spcAft>
              <a:buNone/>
              <a:defRPr sz="1000">
                <a:solidFill>
                  <a:schemeClr val="bg1"/>
                </a:solidFill>
                <a:latin typeface="+mn-lt"/>
                <a:ea typeface="Nokia Pure Text Light" panose="020B0403020202020204" pitchFamily="34" charset="0"/>
              </a:defRPr>
            </a:lvl4pPr>
            <a:lvl5pPr marL="923400" indent="0">
              <a:lnSpc>
                <a:spcPct val="100000"/>
              </a:lnSpc>
              <a:spcBef>
                <a:spcPts val="0"/>
              </a:spcBef>
              <a:spcAft>
                <a:spcPts val="600"/>
              </a:spcAft>
              <a:buFont typeface="Arial" panose="020B0604020202020204" pitchFamily="34" charset="0"/>
              <a:buNone/>
              <a:defRPr sz="900">
                <a:solidFill>
                  <a:schemeClr val="bg1"/>
                </a:solidFill>
                <a:latin typeface="+mn-lt"/>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Subtitle/Author</a:t>
            </a:r>
          </a:p>
        </p:txBody>
      </p:sp>
      <p:sp>
        <p:nvSpPr>
          <p:cNvPr id="4" name="TextBox 3">
            <a:extLst>
              <a:ext uri="{FF2B5EF4-FFF2-40B4-BE49-F238E27FC236}">
                <a16:creationId xmlns:a16="http://schemas.microsoft.com/office/drawing/2014/main" id="{31A83BF5-F4EA-B655-23E1-5D8014AFB881}"/>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3" name="Slide Number Placeholder 5">
            <a:extLst>
              <a:ext uri="{FF2B5EF4-FFF2-40B4-BE49-F238E27FC236}">
                <a16:creationId xmlns:a16="http://schemas.microsoft.com/office/drawing/2014/main" id="{426EB7B3-F0BC-333D-8ADE-5B1C73FF8F1F}"/>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4" name="Straight Connector 13">
            <a:extLst>
              <a:ext uri="{FF2B5EF4-FFF2-40B4-BE49-F238E27FC236}">
                <a16:creationId xmlns:a16="http://schemas.microsoft.com/office/drawing/2014/main" id="{249E1713-7A0D-1820-B43D-AE57F0715166}"/>
              </a:ext>
            </a:extLst>
          </p:cNvPr>
          <p:cNvCxnSpPr>
            <a:cxnSpLocks/>
          </p:cNvCxnSpPr>
          <p:nvPr userDrawn="1"/>
        </p:nvCxnSpPr>
        <p:spPr>
          <a:xfrm>
            <a:off x="1400627" y="4830552"/>
            <a:ext cx="0" cy="144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Footer Placeholder 2">
            <a:extLst>
              <a:ext uri="{FF2B5EF4-FFF2-40B4-BE49-F238E27FC236}">
                <a16:creationId xmlns:a16="http://schemas.microsoft.com/office/drawing/2014/main" id="{7D7036CC-670D-3957-0E8D-C8CBF2AE9A42}"/>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5" name="Picture 4" descr="Icon&#10;&#10;Description automatically generated">
            <a:extLst>
              <a:ext uri="{FF2B5EF4-FFF2-40B4-BE49-F238E27FC236}">
                <a16:creationId xmlns:a16="http://schemas.microsoft.com/office/drawing/2014/main" id="{5409E58E-7001-F192-CE1B-1A20D4C9369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055312" y="2270406"/>
            <a:ext cx="1487123" cy="708958"/>
          </a:xfrm>
          <a:prstGeom prst="rect">
            <a:avLst/>
          </a:prstGeom>
        </p:spPr>
      </p:pic>
    </p:spTree>
    <p:extLst>
      <p:ext uri="{BB962C8B-B14F-4D97-AF65-F5344CB8AC3E}">
        <p14:creationId xmlns:p14="http://schemas.microsoft.com/office/powerpoint/2010/main" val="155090123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4 Green blu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82BC244E-62D2-236F-4DC8-EEBFE9AF28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Box 2">
            <a:extLst>
              <a:ext uri="{FF2B5EF4-FFF2-40B4-BE49-F238E27FC236}">
                <a16:creationId xmlns:a16="http://schemas.microsoft.com/office/drawing/2014/main" id="{3E33991A-B775-F150-1F53-A41B2C8F754A}"/>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9" name="Slide Number Placeholder 5">
            <a:extLst>
              <a:ext uri="{FF2B5EF4-FFF2-40B4-BE49-F238E27FC236}">
                <a16:creationId xmlns:a16="http://schemas.microsoft.com/office/drawing/2014/main" id="{72865E3E-F273-E118-A756-E7553EE37BF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0" name="Straight Connector 9">
            <a:extLst>
              <a:ext uri="{FF2B5EF4-FFF2-40B4-BE49-F238E27FC236}">
                <a16:creationId xmlns:a16="http://schemas.microsoft.com/office/drawing/2014/main" id="{8F6CB285-4CBA-9E7E-51AA-4D36FE48627F}"/>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B4E65701-AF49-27F6-59BC-27ED19ECECA4}"/>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4" name="Picture 3" descr="Icon&#10;&#10;Description automatically generated">
            <a:extLst>
              <a:ext uri="{FF2B5EF4-FFF2-40B4-BE49-F238E27FC236}">
                <a16:creationId xmlns:a16="http://schemas.microsoft.com/office/drawing/2014/main" id="{96EA730F-C7F6-E44E-4005-1683E0B3AD0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DBE42FFB-4573-8FD6-F995-51AADAFA13B4}"/>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5" name="Text Placeholder 42">
            <a:extLst>
              <a:ext uri="{FF2B5EF4-FFF2-40B4-BE49-F238E27FC236}">
                <a16:creationId xmlns:a16="http://schemas.microsoft.com/office/drawing/2014/main" id="{A737098F-7DE1-13B7-633F-C28272F48358}"/>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34430105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4 Blue pink">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FEF07AED-C885-0A94-CE92-AD0235762C6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3" name="TextBox 2">
            <a:extLst>
              <a:ext uri="{FF2B5EF4-FFF2-40B4-BE49-F238E27FC236}">
                <a16:creationId xmlns:a16="http://schemas.microsoft.com/office/drawing/2014/main" id="{CEEAF690-F016-5F35-1D32-4ED93EF5166F}"/>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4" name="Slide Number Placeholder 5">
            <a:extLst>
              <a:ext uri="{FF2B5EF4-FFF2-40B4-BE49-F238E27FC236}">
                <a16:creationId xmlns:a16="http://schemas.microsoft.com/office/drawing/2014/main" id="{BBB7509F-4A74-90C7-0E0E-F5393EA51970}"/>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6" name="Straight Connector 5">
            <a:extLst>
              <a:ext uri="{FF2B5EF4-FFF2-40B4-BE49-F238E27FC236}">
                <a16:creationId xmlns:a16="http://schemas.microsoft.com/office/drawing/2014/main" id="{6BDDC262-79BB-0F23-042E-B5CBA305611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4CDDDE1-60B8-DFD9-1AEF-39E3A60128B8}"/>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C31C7544-89E1-10F9-9C3C-A41F2F443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0BB0DF41-780C-EDE7-63FA-224821B161DC}"/>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A6F41F3B-AEA2-E232-B19B-9FB9D1800D1D}"/>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40150760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4 Pink">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2FD17980-F783-4A27-87DC-42985B6C77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Box 3">
            <a:extLst>
              <a:ext uri="{FF2B5EF4-FFF2-40B4-BE49-F238E27FC236}">
                <a16:creationId xmlns:a16="http://schemas.microsoft.com/office/drawing/2014/main" id="{5A6A0F1E-DA3A-FCE2-E1B4-0752E505346D}"/>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00E94F46-3565-EF99-59CA-1C3FB0C493A8}"/>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05B38313-DE88-3A13-90EC-74A7E9958F91}"/>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7054B755-DE16-CAB6-D625-5E607FB6202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0697E692-1374-AF99-3DF8-092F6E929B8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D3981E71-31A9-A195-E52F-6014EC229829}"/>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4D43797B-5B81-C4CB-CB6F-6D1F61BBE8FE}"/>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35463177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4 Blue purple">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E01D2CA4-939C-12C2-DF49-53BE4EA4C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4" name="TextBox 3">
            <a:extLst>
              <a:ext uri="{FF2B5EF4-FFF2-40B4-BE49-F238E27FC236}">
                <a16:creationId xmlns:a16="http://schemas.microsoft.com/office/drawing/2014/main" id="{095D3A15-0FF3-A39B-9FE4-D700A76E3062}"/>
              </a:ext>
            </a:extLst>
          </p:cNvPr>
          <p:cNvSpPr txBox="1"/>
          <p:nvPr userDrawn="1"/>
        </p:nvSpPr>
        <p:spPr>
          <a:xfrm>
            <a:off x="680028" y="4858555"/>
            <a:ext cx="631583" cy="123111"/>
          </a:xfrm>
          <a:prstGeom prst="rect">
            <a:avLst/>
          </a:prstGeom>
          <a:noFill/>
        </p:spPr>
        <p:txBody>
          <a:bodyPr wrap="none" lIns="0" tIns="0" rIns="0" bIns="0" anchor="b" anchorCtr="0">
            <a:no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5" name="Slide Number Placeholder 5">
            <a:extLst>
              <a:ext uri="{FF2B5EF4-FFF2-40B4-BE49-F238E27FC236}">
                <a16:creationId xmlns:a16="http://schemas.microsoft.com/office/drawing/2014/main" id="{1500FE9F-6561-665F-A4F4-C9C4B4490CFD}"/>
              </a:ext>
            </a:extLst>
          </p:cNvPr>
          <p:cNvSpPr txBox="1">
            <a:spLocks/>
          </p:cNvSpPr>
          <p:nvPr userDrawn="1"/>
        </p:nvSpPr>
        <p:spPr>
          <a:xfrm>
            <a:off x="419102" y="4858555"/>
            <a:ext cx="117020"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8" name="Straight Connector 7">
            <a:extLst>
              <a:ext uri="{FF2B5EF4-FFF2-40B4-BE49-F238E27FC236}">
                <a16:creationId xmlns:a16="http://schemas.microsoft.com/office/drawing/2014/main" id="{3E7AC149-8642-9FB6-B94B-6AE9EBA68E85}"/>
              </a:ext>
            </a:extLst>
          </p:cNvPr>
          <p:cNvCxnSpPr>
            <a:cxnSpLocks/>
          </p:cNvCxnSpPr>
          <p:nvPr userDrawn="1"/>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Footer Placeholder 2">
            <a:extLst>
              <a:ext uri="{FF2B5EF4-FFF2-40B4-BE49-F238E27FC236}">
                <a16:creationId xmlns:a16="http://schemas.microsoft.com/office/drawing/2014/main" id="{AAEAC5E7-CC2A-C92B-8A73-1CCA99C6D1DD}"/>
              </a:ext>
            </a:extLst>
          </p:cNvPr>
          <p:cNvSpPr>
            <a:spLocks noGrp="1"/>
          </p:cNvSpPr>
          <p:nvPr>
            <p:ph type="ftr" sz="quarter" idx="3"/>
          </p:nvPr>
        </p:nvSpPr>
        <p:spPr>
          <a:xfrm>
            <a:off x="1504610" y="4858555"/>
            <a:ext cx="2880000" cy="122400"/>
          </a:xfrm>
          <a:prstGeom prst="rect">
            <a:avLst/>
          </a:prstGeom>
        </p:spPr>
        <p:txBody>
          <a:bodyPr vert="horz" wrap="none" lIns="0" tIns="0" rIns="0" bIns="0" rtlCol="0" anchor="b" anchorCtr="0">
            <a:noAutofit/>
          </a:bodyPr>
          <a:lstStyle>
            <a:lvl1pPr marL="0" algn="l" defTabSz="457200" rtl="0" eaLnBrk="1" latinLnBrk="0" hangingPunct="1">
              <a:defRPr lang="en-GB" sz="800" kern="120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Public</a:t>
            </a:r>
            <a:endParaRPr lang="en-US" dirty="0"/>
          </a:p>
        </p:txBody>
      </p:sp>
      <p:pic>
        <p:nvPicPr>
          <p:cNvPr id="7" name="Picture 6" descr="Icon&#10;&#10;Description automatically generated">
            <a:extLst>
              <a:ext uri="{FF2B5EF4-FFF2-40B4-BE49-F238E27FC236}">
                <a16:creationId xmlns:a16="http://schemas.microsoft.com/office/drawing/2014/main" id="{BEBE77D4-E4DA-CE77-E76C-3E8B5311329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65206" y="4619501"/>
            <a:ext cx="759683" cy="362164"/>
          </a:xfrm>
          <a:prstGeom prst="rect">
            <a:avLst/>
          </a:prstGeom>
        </p:spPr>
      </p:pic>
      <p:sp>
        <p:nvSpPr>
          <p:cNvPr id="2" name="Text Placeholder 42">
            <a:extLst>
              <a:ext uri="{FF2B5EF4-FFF2-40B4-BE49-F238E27FC236}">
                <a16:creationId xmlns:a16="http://schemas.microsoft.com/office/drawing/2014/main" id="{B2458344-1D8A-AD78-22F2-19E9195D5C70}"/>
              </a:ext>
            </a:extLst>
          </p:cNvPr>
          <p:cNvSpPr>
            <a:spLocks noGrp="1"/>
          </p:cNvSpPr>
          <p:nvPr>
            <p:ph type="body" sz="quarter" idx="12" hasCustomPrompt="1"/>
          </p:nvPr>
        </p:nvSpPr>
        <p:spPr>
          <a:xfrm>
            <a:off x="417600" y="395946"/>
            <a:ext cx="8308800" cy="340654"/>
          </a:xfrm>
          <a:prstGeom prst="rect">
            <a:avLst/>
          </a:prstGeom>
        </p:spPr>
        <p:txBody>
          <a:bodyPr lIns="0" tIns="0" rIns="0" bIns="0"/>
          <a:lstStyle>
            <a:lvl1pPr marL="0" indent="0">
              <a:lnSpc>
                <a:spcPct val="100000"/>
              </a:lnSpc>
              <a:spcBef>
                <a:spcPts val="0"/>
              </a:spcBef>
              <a:buNone/>
              <a:defRPr sz="2400" baseline="0">
                <a:solidFill>
                  <a:schemeClr val="bg1"/>
                </a:solidFill>
                <a:latin typeface="Nokia Pure Headline Light" panose="020B0304020202020204" pitchFamily="34" charset="0"/>
              </a:defRPr>
            </a:lvl1pPr>
          </a:lstStyle>
          <a:p>
            <a:pPr lvl="0"/>
            <a:r>
              <a:rPr lang="en-US" noProof="0" dirty="0"/>
              <a:t>Click to edit headline</a:t>
            </a:r>
          </a:p>
        </p:txBody>
      </p:sp>
      <p:sp>
        <p:nvSpPr>
          <p:cNvPr id="9" name="Text Placeholder 42">
            <a:extLst>
              <a:ext uri="{FF2B5EF4-FFF2-40B4-BE49-F238E27FC236}">
                <a16:creationId xmlns:a16="http://schemas.microsoft.com/office/drawing/2014/main" id="{7EF10FC7-CD16-4FE0-D147-6699BA5DD5EF}"/>
              </a:ext>
            </a:extLst>
          </p:cNvPr>
          <p:cNvSpPr>
            <a:spLocks noGrp="1"/>
          </p:cNvSpPr>
          <p:nvPr>
            <p:ph type="body" sz="quarter" idx="13" hasCustomPrompt="1"/>
          </p:nvPr>
        </p:nvSpPr>
        <p:spPr>
          <a:xfrm>
            <a:off x="417600" y="764520"/>
            <a:ext cx="8308800" cy="340654"/>
          </a:xfrm>
          <a:prstGeom prst="rect">
            <a:avLst/>
          </a:prstGeom>
        </p:spPr>
        <p:txBody>
          <a:bodyPr lIns="0" tIns="0" rIns="0" bIns="0"/>
          <a:lstStyle>
            <a:lvl1pPr marL="0" indent="0">
              <a:lnSpc>
                <a:spcPct val="100000"/>
              </a:lnSpc>
              <a:spcBef>
                <a:spcPts val="0"/>
              </a:spcBef>
              <a:buNone/>
              <a:defRPr sz="1800" baseline="0">
                <a:solidFill>
                  <a:schemeClr val="bg1"/>
                </a:solidFill>
                <a:latin typeface="Nokia Pure Headline Light" panose="020B0304020202020204" pitchFamily="34" charset="0"/>
              </a:defRPr>
            </a:lvl1pPr>
          </a:lstStyle>
          <a:p>
            <a:pPr lvl="0"/>
            <a:r>
              <a:rPr lang="en-US" noProof="0" dirty="0"/>
              <a:t>Click to edit headline</a:t>
            </a:r>
          </a:p>
        </p:txBody>
      </p:sp>
    </p:spTree>
    <p:extLst>
      <p:ext uri="{BB962C8B-B14F-4D97-AF65-F5344CB8AC3E}">
        <p14:creationId xmlns:p14="http://schemas.microsoft.com/office/powerpoint/2010/main" val="5394380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8.xml"/><Relationship Id="rId21" Type="http://schemas.openxmlformats.org/officeDocument/2006/relationships/slideLayout" Target="../slideLayouts/slideLayout73.xml"/><Relationship Id="rId42" Type="http://schemas.openxmlformats.org/officeDocument/2006/relationships/slideLayout" Target="../slideLayouts/slideLayout94.xml"/><Relationship Id="rId47" Type="http://schemas.openxmlformats.org/officeDocument/2006/relationships/slideLayout" Target="../slideLayouts/slideLayout99.xml"/><Relationship Id="rId63" Type="http://schemas.openxmlformats.org/officeDocument/2006/relationships/slideLayout" Target="../slideLayouts/slideLayout115.xml"/><Relationship Id="rId68" Type="http://schemas.openxmlformats.org/officeDocument/2006/relationships/slideLayout" Target="../slideLayouts/slideLayout120.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9" Type="http://schemas.openxmlformats.org/officeDocument/2006/relationships/slideLayout" Target="../slideLayouts/slideLayout81.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slideLayout" Target="../slideLayouts/slideLayout84.xml"/><Relationship Id="rId37" Type="http://schemas.openxmlformats.org/officeDocument/2006/relationships/slideLayout" Target="../slideLayouts/slideLayout89.xml"/><Relationship Id="rId40" Type="http://schemas.openxmlformats.org/officeDocument/2006/relationships/slideLayout" Target="../slideLayouts/slideLayout92.xml"/><Relationship Id="rId45" Type="http://schemas.openxmlformats.org/officeDocument/2006/relationships/slideLayout" Target="../slideLayouts/slideLayout97.xml"/><Relationship Id="rId53" Type="http://schemas.openxmlformats.org/officeDocument/2006/relationships/slideLayout" Target="../slideLayouts/slideLayout105.xml"/><Relationship Id="rId58" Type="http://schemas.openxmlformats.org/officeDocument/2006/relationships/slideLayout" Target="../slideLayouts/slideLayout110.xml"/><Relationship Id="rId66" Type="http://schemas.openxmlformats.org/officeDocument/2006/relationships/slideLayout" Target="../slideLayouts/slideLayout118.xml"/><Relationship Id="rId5" Type="http://schemas.openxmlformats.org/officeDocument/2006/relationships/slideLayout" Target="../slideLayouts/slideLayout57.xml"/><Relationship Id="rId61" Type="http://schemas.openxmlformats.org/officeDocument/2006/relationships/slideLayout" Target="../slideLayouts/slideLayout113.xml"/><Relationship Id="rId19" Type="http://schemas.openxmlformats.org/officeDocument/2006/relationships/slideLayout" Target="../slideLayouts/slideLayout7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slideLayout" Target="../slideLayouts/slideLayout82.xml"/><Relationship Id="rId35" Type="http://schemas.openxmlformats.org/officeDocument/2006/relationships/slideLayout" Target="../slideLayouts/slideLayout87.xml"/><Relationship Id="rId43" Type="http://schemas.openxmlformats.org/officeDocument/2006/relationships/slideLayout" Target="../slideLayouts/slideLayout95.xml"/><Relationship Id="rId48" Type="http://schemas.openxmlformats.org/officeDocument/2006/relationships/slideLayout" Target="../slideLayouts/slideLayout100.xml"/><Relationship Id="rId56" Type="http://schemas.openxmlformats.org/officeDocument/2006/relationships/slideLayout" Target="../slideLayouts/slideLayout108.xml"/><Relationship Id="rId64" Type="http://schemas.openxmlformats.org/officeDocument/2006/relationships/slideLayout" Target="../slideLayouts/slideLayout116.xml"/><Relationship Id="rId69" Type="http://schemas.openxmlformats.org/officeDocument/2006/relationships/theme" Target="../theme/theme2.xml"/><Relationship Id="rId8" Type="http://schemas.openxmlformats.org/officeDocument/2006/relationships/slideLayout" Target="../slideLayouts/slideLayout60.xml"/><Relationship Id="rId51" Type="http://schemas.openxmlformats.org/officeDocument/2006/relationships/slideLayout" Target="../slideLayouts/slideLayout103.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33" Type="http://schemas.openxmlformats.org/officeDocument/2006/relationships/slideLayout" Target="../slideLayouts/slideLayout85.xml"/><Relationship Id="rId38" Type="http://schemas.openxmlformats.org/officeDocument/2006/relationships/slideLayout" Target="../slideLayouts/slideLayout90.xml"/><Relationship Id="rId46" Type="http://schemas.openxmlformats.org/officeDocument/2006/relationships/slideLayout" Target="../slideLayouts/slideLayout98.xml"/><Relationship Id="rId59" Type="http://schemas.openxmlformats.org/officeDocument/2006/relationships/slideLayout" Target="../slideLayouts/slideLayout111.xml"/><Relationship Id="rId67" Type="http://schemas.openxmlformats.org/officeDocument/2006/relationships/slideLayout" Target="../slideLayouts/slideLayout119.xml"/><Relationship Id="rId20" Type="http://schemas.openxmlformats.org/officeDocument/2006/relationships/slideLayout" Target="../slideLayouts/slideLayout72.xml"/><Relationship Id="rId41" Type="http://schemas.openxmlformats.org/officeDocument/2006/relationships/slideLayout" Target="../slideLayouts/slideLayout93.xml"/><Relationship Id="rId54" Type="http://schemas.openxmlformats.org/officeDocument/2006/relationships/slideLayout" Target="../slideLayouts/slideLayout106.xml"/><Relationship Id="rId62" Type="http://schemas.openxmlformats.org/officeDocument/2006/relationships/slideLayout" Target="../slideLayouts/slideLayout11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36" Type="http://schemas.openxmlformats.org/officeDocument/2006/relationships/slideLayout" Target="../slideLayouts/slideLayout88.xml"/><Relationship Id="rId49" Type="http://schemas.openxmlformats.org/officeDocument/2006/relationships/slideLayout" Target="../slideLayouts/slideLayout101.xml"/><Relationship Id="rId57" Type="http://schemas.openxmlformats.org/officeDocument/2006/relationships/slideLayout" Target="../slideLayouts/slideLayout109.xml"/><Relationship Id="rId10" Type="http://schemas.openxmlformats.org/officeDocument/2006/relationships/slideLayout" Target="../slideLayouts/slideLayout62.xml"/><Relationship Id="rId31" Type="http://schemas.openxmlformats.org/officeDocument/2006/relationships/slideLayout" Target="../slideLayouts/slideLayout83.xml"/><Relationship Id="rId44" Type="http://schemas.openxmlformats.org/officeDocument/2006/relationships/slideLayout" Target="../slideLayouts/slideLayout96.xml"/><Relationship Id="rId52" Type="http://schemas.openxmlformats.org/officeDocument/2006/relationships/slideLayout" Target="../slideLayouts/slideLayout104.xml"/><Relationship Id="rId60" Type="http://schemas.openxmlformats.org/officeDocument/2006/relationships/slideLayout" Target="../slideLayouts/slideLayout112.xml"/><Relationship Id="rId65" Type="http://schemas.openxmlformats.org/officeDocument/2006/relationships/slideLayout" Target="../slideLayouts/slideLayout117.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9" Type="http://schemas.openxmlformats.org/officeDocument/2006/relationships/slideLayout" Target="../slideLayouts/slideLayout91.xml"/><Relationship Id="rId34" Type="http://schemas.openxmlformats.org/officeDocument/2006/relationships/slideLayout" Target="../slideLayouts/slideLayout86.xml"/><Relationship Id="rId50" Type="http://schemas.openxmlformats.org/officeDocument/2006/relationships/slideLayout" Target="../slideLayouts/slideLayout102.xml"/><Relationship Id="rId55"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9" Type="http://schemas.openxmlformats.org/officeDocument/2006/relationships/slideLayout" Target="../slideLayouts/slideLayout159.xml"/><Relationship Id="rId21" Type="http://schemas.openxmlformats.org/officeDocument/2006/relationships/slideLayout" Target="../slideLayouts/slideLayout141.xml"/><Relationship Id="rId34" Type="http://schemas.openxmlformats.org/officeDocument/2006/relationships/slideLayout" Target="../slideLayouts/slideLayout154.xml"/><Relationship Id="rId42" Type="http://schemas.openxmlformats.org/officeDocument/2006/relationships/theme" Target="../theme/theme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41" Type="http://schemas.openxmlformats.org/officeDocument/2006/relationships/slideLayout" Target="../slideLayouts/slideLayout161.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slideLayout" Target="../slideLayouts/slideLayout152.xml"/><Relationship Id="rId37" Type="http://schemas.openxmlformats.org/officeDocument/2006/relationships/slideLayout" Target="../slideLayouts/slideLayout157.xml"/><Relationship Id="rId40" Type="http://schemas.openxmlformats.org/officeDocument/2006/relationships/slideLayout" Target="../slideLayouts/slideLayout160.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36" Type="http://schemas.openxmlformats.org/officeDocument/2006/relationships/slideLayout" Target="../slideLayouts/slideLayout156.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slideLayout" Target="../slideLayouts/slideLayout151.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slideLayout" Target="../slideLayouts/slideLayout155.xml"/><Relationship Id="rId8" Type="http://schemas.openxmlformats.org/officeDocument/2006/relationships/slideLayout" Target="../slideLayouts/slideLayout128.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slideLayout" Target="../slideLayouts/slideLayout153.xml"/><Relationship Id="rId38" Type="http://schemas.openxmlformats.org/officeDocument/2006/relationships/slideLayout" Target="../slideLayouts/slideLayout15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26" Type="http://schemas.openxmlformats.org/officeDocument/2006/relationships/slideLayout" Target="../slideLayouts/slideLayout187.xml"/><Relationship Id="rId39" Type="http://schemas.openxmlformats.org/officeDocument/2006/relationships/slideLayout" Target="../slideLayouts/slideLayout200.xml"/><Relationship Id="rId21" Type="http://schemas.openxmlformats.org/officeDocument/2006/relationships/slideLayout" Target="../slideLayouts/slideLayout182.xml"/><Relationship Id="rId34" Type="http://schemas.openxmlformats.org/officeDocument/2006/relationships/slideLayout" Target="../slideLayouts/slideLayout195.xml"/><Relationship Id="rId42" Type="http://schemas.openxmlformats.org/officeDocument/2006/relationships/slideLayout" Target="../slideLayouts/slideLayout203.xml"/><Relationship Id="rId47" Type="http://schemas.openxmlformats.org/officeDocument/2006/relationships/slideLayout" Target="../slideLayouts/slideLayout208.xml"/><Relationship Id="rId50" Type="http://schemas.openxmlformats.org/officeDocument/2006/relationships/slideLayout" Target="../slideLayouts/slideLayout211.xml"/><Relationship Id="rId55" Type="http://schemas.openxmlformats.org/officeDocument/2006/relationships/slideLayout" Target="../slideLayouts/slideLayout216.xml"/><Relationship Id="rId7" Type="http://schemas.openxmlformats.org/officeDocument/2006/relationships/slideLayout" Target="../slideLayouts/slideLayout16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9" Type="http://schemas.openxmlformats.org/officeDocument/2006/relationships/slideLayout" Target="../slideLayouts/slideLayout190.xml"/><Relationship Id="rId11" Type="http://schemas.openxmlformats.org/officeDocument/2006/relationships/slideLayout" Target="../slideLayouts/slideLayout172.xml"/><Relationship Id="rId24" Type="http://schemas.openxmlformats.org/officeDocument/2006/relationships/slideLayout" Target="../slideLayouts/slideLayout185.xml"/><Relationship Id="rId32" Type="http://schemas.openxmlformats.org/officeDocument/2006/relationships/slideLayout" Target="../slideLayouts/slideLayout193.xml"/><Relationship Id="rId37" Type="http://schemas.openxmlformats.org/officeDocument/2006/relationships/slideLayout" Target="../slideLayouts/slideLayout198.xml"/><Relationship Id="rId40" Type="http://schemas.openxmlformats.org/officeDocument/2006/relationships/slideLayout" Target="../slideLayouts/slideLayout201.xml"/><Relationship Id="rId45" Type="http://schemas.openxmlformats.org/officeDocument/2006/relationships/slideLayout" Target="../slideLayouts/slideLayout206.xml"/><Relationship Id="rId53" Type="http://schemas.openxmlformats.org/officeDocument/2006/relationships/slideLayout" Target="../slideLayouts/slideLayout214.xml"/><Relationship Id="rId58" Type="http://schemas.openxmlformats.org/officeDocument/2006/relationships/slideLayout" Target="../slideLayouts/slideLayout219.xml"/><Relationship Id="rId5" Type="http://schemas.openxmlformats.org/officeDocument/2006/relationships/slideLayout" Target="../slideLayouts/slideLayout166.xml"/><Relationship Id="rId61" Type="http://schemas.openxmlformats.org/officeDocument/2006/relationships/slideLayout" Target="../slideLayouts/slideLayout222.xml"/><Relationship Id="rId19" Type="http://schemas.openxmlformats.org/officeDocument/2006/relationships/slideLayout" Target="../slideLayouts/slideLayout180.xml"/><Relationship Id="rId14" Type="http://schemas.openxmlformats.org/officeDocument/2006/relationships/slideLayout" Target="../slideLayouts/slideLayout175.xml"/><Relationship Id="rId22" Type="http://schemas.openxmlformats.org/officeDocument/2006/relationships/slideLayout" Target="../slideLayouts/slideLayout183.xml"/><Relationship Id="rId27" Type="http://schemas.openxmlformats.org/officeDocument/2006/relationships/slideLayout" Target="../slideLayouts/slideLayout188.xml"/><Relationship Id="rId30" Type="http://schemas.openxmlformats.org/officeDocument/2006/relationships/slideLayout" Target="../slideLayouts/slideLayout191.xml"/><Relationship Id="rId35" Type="http://schemas.openxmlformats.org/officeDocument/2006/relationships/slideLayout" Target="../slideLayouts/slideLayout196.xml"/><Relationship Id="rId43" Type="http://schemas.openxmlformats.org/officeDocument/2006/relationships/slideLayout" Target="../slideLayouts/slideLayout204.xml"/><Relationship Id="rId48" Type="http://schemas.openxmlformats.org/officeDocument/2006/relationships/slideLayout" Target="../slideLayouts/slideLayout209.xml"/><Relationship Id="rId56" Type="http://schemas.openxmlformats.org/officeDocument/2006/relationships/slideLayout" Target="../slideLayouts/slideLayout217.xml"/><Relationship Id="rId8" Type="http://schemas.openxmlformats.org/officeDocument/2006/relationships/slideLayout" Target="../slideLayouts/slideLayout169.xml"/><Relationship Id="rId51" Type="http://schemas.openxmlformats.org/officeDocument/2006/relationships/slideLayout" Target="../slideLayouts/slideLayout212.xml"/><Relationship Id="rId3" Type="http://schemas.openxmlformats.org/officeDocument/2006/relationships/slideLayout" Target="../slideLayouts/slideLayout164.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5" Type="http://schemas.openxmlformats.org/officeDocument/2006/relationships/slideLayout" Target="../slideLayouts/slideLayout186.xml"/><Relationship Id="rId33" Type="http://schemas.openxmlformats.org/officeDocument/2006/relationships/slideLayout" Target="../slideLayouts/slideLayout194.xml"/><Relationship Id="rId38" Type="http://schemas.openxmlformats.org/officeDocument/2006/relationships/slideLayout" Target="../slideLayouts/slideLayout199.xml"/><Relationship Id="rId46" Type="http://schemas.openxmlformats.org/officeDocument/2006/relationships/slideLayout" Target="../slideLayouts/slideLayout207.xml"/><Relationship Id="rId59" Type="http://schemas.openxmlformats.org/officeDocument/2006/relationships/slideLayout" Target="../slideLayouts/slideLayout220.xml"/><Relationship Id="rId20" Type="http://schemas.openxmlformats.org/officeDocument/2006/relationships/slideLayout" Target="../slideLayouts/slideLayout181.xml"/><Relationship Id="rId41" Type="http://schemas.openxmlformats.org/officeDocument/2006/relationships/slideLayout" Target="../slideLayouts/slideLayout202.xml"/><Relationship Id="rId54" Type="http://schemas.openxmlformats.org/officeDocument/2006/relationships/slideLayout" Target="../slideLayouts/slideLayout215.xml"/><Relationship Id="rId62" Type="http://schemas.openxmlformats.org/officeDocument/2006/relationships/theme" Target="../theme/theme4.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5" Type="http://schemas.openxmlformats.org/officeDocument/2006/relationships/slideLayout" Target="../slideLayouts/slideLayout176.xml"/><Relationship Id="rId23" Type="http://schemas.openxmlformats.org/officeDocument/2006/relationships/slideLayout" Target="../slideLayouts/slideLayout184.xml"/><Relationship Id="rId28" Type="http://schemas.openxmlformats.org/officeDocument/2006/relationships/slideLayout" Target="../slideLayouts/slideLayout189.xml"/><Relationship Id="rId36" Type="http://schemas.openxmlformats.org/officeDocument/2006/relationships/slideLayout" Target="../slideLayouts/slideLayout197.xml"/><Relationship Id="rId49" Type="http://schemas.openxmlformats.org/officeDocument/2006/relationships/slideLayout" Target="../slideLayouts/slideLayout210.xml"/><Relationship Id="rId57" Type="http://schemas.openxmlformats.org/officeDocument/2006/relationships/slideLayout" Target="../slideLayouts/slideLayout218.xml"/><Relationship Id="rId10" Type="http://schemas.openxmlformats.org/officeDocument/2006/relationships/slideLayout" Target="../slideLayouts/slideLayout171.xml"/><Relationship Id="rId31" Type="http://schemas.openxmlformats.org/officeDocument/2006/relationships/slideLayout" Target="../slideLayouts/slideLayout192.xml"/><Relationship Id="rId44" Type="http://schemas.openxmlformats.org/officeDocument/2006/relationships/slideLayout" Target="../slideLayouts/slideLayout205.xml"/><Relationship Id="rId52" Type="http://schemas.openxmlformats.org/officeDocument/2006/relationships/slideLayout" Target="../slideLayouts/slideLayout213.xml"/><Relationship Id="rId60" Type="http://schemas.openxmlformats.org/officeDocument/2006/relationships/slideLayout" Target="../slideLayouts/slideLayout221.xml"/><Relationship Id="rId4" Type="http://schemas.openxmlformats.org/officeDocument/2006/relationships/slideLayout" Target="../slideLayouts/slideLayout165.xml"/><Relationship Id="rId9" Type="http://schemas.openxmlformats.org/officeDocument/2006/relationships/slideLayout" Target="../slideLayouts/slideLayout1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theme" Target="../theme/theme5.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2" Type="http://schemas.openxmlformats.org/officeDocument/2006/relationships/slideLayout" Target="../slideLayouts/slideLayout224.xml"/><Relationship Id="rId16" Type="http://schemas.openxmlformats.org/officeDocument/2006/relationships/image" Target="../media/image36.emf"/><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oleObject" Target="../embeddings/oleObject4.bin"/><Relationship Id="rId10" Type="http://schemas.openxmlformats.org/officeDocument/2006/relationships/slideLayout" Target="../slideLayouts/slideLayout232.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5" Type="http://schemas.openxmlformats.org/officeDocument/2006/relationships/slideLayout" Target="../slideLayouts/slideLayout239.xml"/><Relationship Id="rId4" Type="http://schemas.openxmlformats.org/officeDocument/2006/relationships/slideLayout" Target="../slideLayouts/slideLayout2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891639"/>
      </p:ext>
    </p:extLst>
  </p:cSld>
  <p:clrMap bg1="lt1" tx1="dk1" bg2="lt2" tx2="dk2" accent1="accent1" accent2="accent2" accent3="accent3" accent4="accent4" accent5="accent5" accent6="accent6" hlink="hlink" folHlink="folHlink"/>
  <p:sldLayoutIdLst>
    <p:sldLayoutId id="2147483663" r:id="rId1"/>
    <p:sldLayoutId id="2147483726" r:id="rId2"/>
    <p:sldLayoutId id="2147483776" r:id="rId3"/>
    <p:sldLayoutId id="2147483778" r:id="rId4"/>
    <p:sldLayoutId id="2147483779" r:id="rId5"/>
    <p:sldLayoutId id="2147483780" r:id="rId6"/>
    <p:sldLayoutId id="2147483781" r:id="rId7"/>
    <p:sldLayoutId id="2147483777" r:id="rId8"/>
    <p:sldLayoutId id="2147483796" r:id="rId9"/>
    <p:sldLayoutId id="2147483812" r:id="rId10"/>
    <p:sldLayoutId id="2147483763" r:id="rId11"/>
    <p:sldLayoutId id="2147483775" r:id="rId12"/>
    <p:sldLayoutId id="2147483794" r:id="rId13"/>
    <p:sldLayoutId id="2147483795" r:id="rId14"/>
    <p:sldLayoutId id="2147483797" r:id="rId15"/>
    <p:sldLayoutId id="2147483798" r:id="rId16"/>
    <p:sldLayoutId id="2147483799" r:id="rId17"/>
    <p:sldLayoutId id="2147483800" r:id="rId18"/>
    <p:sldLayoutId id="2147483801" r:id="rId19"/>
    <p:sldLayoutId id="2147483802" r:id="rId20"/>
    <p:sldLayoutId id="2147483803" r:id="rId21"/>
    <p:sldLayoutId id="2147483804" r:id="rId22"/>
    <p:sldLayoutId id="2147483809" r:id="rId23"/>
    <p:sldLayoutId id="2147483810" r:id="rId24"/>
    <p:sldLayoutId id="2147483805" r:id="rId25"/>
    <p:sldLayoutId id="2147483806" r:id="rId26"/>
    <p:sldLayoutId id="2147483807" r:id="rId27"/>
    <p:sldLayoutId id="2147483808" r:id="rId28"/>
    <p:sldLayoutId id="2147483753" r:id="rId29"/>
    <p:sldLayoutId id="2147483757" r:id="rId30"/>
    <p:sldLayoutId id="2147483758" r:id="rId31"/>
    <p:sldLayoutId id="2147483761" r:id="rId32"/>
    <p:sldLayoutId id="2147483762" r:id="rId33"/>
    <p:sldLayoutId id="2147483755" r:id="rId34"/>
    <p:sldLayoutId id="2147483756" r:id="rId35"/>
    <p:sldLayoutId id="2147483793" r:id="rId36"/>
    <p:sldLayoutId id="2147483774" r:id="rId37"/>
    <p:sldLayoutId id="2147483746" r:id="rId38"/>
    <p:sldLayoutId id="2147483747" r:id="rId39"/>
    <p:sldLayoutId id="2147483748" r:id="rId40"/>
    <p:sldLayoutId id="2147483749" r:id="rId41"/>
    <p:sldLayoutId id="2147483750" r:id="rId42"/>
    <p:sldLayoutId id="2147483751" r:id="rId43"/>
    <p:sldLayoutId id="2147483791" r:id="rId44"/>
    <p:sldLayoutId id="2147483677" r:id="rId45"/>
    <p:sldLayoutId id="2147483769" r:id="rId46"/>
    <p:sldLayoutId id="2147483773" r:id="rId47"/>
    <p:sldLayoutId id="2147483770" r:id="rId48"/>
    <p:sldLayoutId id="2147483771" r:id="rId49"/>
    <p:sldLayoutId id="2147483772" r:id="rId50"/>
    <p:sldLayoutId id="2147483792" r:id="rId51"/>
    <p:sldLayoutId id="2147483679" r:id="rId52"/>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261660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 id="2147483838" r:id="rId25"/>
    <p:sldLayoutId id="2147483839" r:id="rId26"/>
    <p:sldLayoutId id="2147483840" r:id="rId27"/>
    <p:sldLayoutId id="2147483841" r:id="rId28"/>
    <p:sldLayoutId id="2147483842" r:id="rId29"/>
    <p:sldLayoutId id="2147483843" r:id="rId30"/>
    <p:sldLayoutId id="2147483844" r:id="rId31"/>
    <p:sldLayoutId id="2147483845" r:id="rId32"/>
    <p:sldLayoutId id="2147483846" r:id="rId33"/>
    <p:sldLayoutId id="2147483847" r:id="rId34"/>
    <p:sldLayoutId id="2147483848" r:id="rId35"/>
    <p:sldLayoutId id="2147483849" r:id="rId36"/>
    <p:sldLayoutId id="2147483850" r:id="rId37"/>
    <p:sldLayoutId id="2147483851" r:id="rId38"/>
    <p:sldLayoutId id="2147483852" r:id="rId39"/>
    <p:sldLayoutId id="2147483853" r:id="rId40"/>
    <p:sldLayoutId id="2147483854" r:id="rId41"/>
    <p:sldLayoutId id="2147483855" r:id="rId42"/>
    <p:sldLayoutId id="2147483856" r:id="rId43"/>
    <p:sldLayoutId id="2147483857" r:id="rId44"/>
    <p:sldLayoutId id="2147483858" r:id="rId45"/>
    <p:sldLayoutId id="2147483859" r:id="rId46"/>
    <p:sldLayoutId id="2147483860" r:id="rId47"/>
    <p:sldLayoutId id="2147483861" r:id="rId48"/>
    <p:sldLayoutId id="2147483862" r:id="rId49"/>
    <p:sldLayoutId id="2147483863" r:id="rId50"/>
    <p:sldLayoutId id="2147483864" r:id="rId51"/>
    <p:sldLayoutId id="2147483865" r:id="rId52"/>
    <p:sldLayoutId id="2147483866" r:id="rId53"/>
    <p:sldLayoutId id="2147483867" r:id="rId54"/>
    <p:sldLayoutId id="2147483868" r:id="rId55"/>
    <p:sldLayoutId id="2147483869" r:id="rId56"/>
    <p:sldLayoutId id="2147483870" r:id="rId57"/>
    <p:sldLayoutId id="2147483871" r:id="rId58"/>
    <p:sldLayoutId id="2147483872" r:id="rId59"/>
    <p:sldLayoutId id="2147483873" r:id="rId60"/>
    <p:sldLayoutId id="2147483874" r:id="rId61"/>
    <p:sldLayoutId id="2147483875" r:id="rId62"/>
    <p:sldLayoutId id="2147483876" r:id="rId63"/>
    <p:sldLayoutId id="2147483877" r:id="rId64"/>
    <p:sldLayoutId id="2147483878" r:id="rId65"/>
    <p:sldLayoutId id="2147483879" r:id="rId66"/>
    <p:sldLayoutId id="2147483880" r:id="rId67"/>
    <p:sldLayoutId id="2147483881" r:id="rId68"/>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2028972"/>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760485"/>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 id="2147483948" r:id="rId24"/>
    <p:sldLayoutId id="2147483949" r:id="rId25"/>
    <p:sldLayoutId id="2147483950" r:id="rId26"/>
    <p:sldLayoutId id="2147483951" r:id="rId27"/>
    <p:sldLayoutId id="2147483952" r:id="rId28"/>
    <p:sldLayoutId id="2147483953" r:id="rId29"/>
    <p:sldLayoutId id="2147483954" r:id="rId30"/>
    <p:sldLayoutId id="2147483955" r:id="rId31"/>
    <p:sldLayoutId id="2147483956" r:id="rId32"/>
    <p:sldLayoutId id="2147483957" r:id="rId33"/>
    <p:sldLayoutId id="2147483958" r:id="rId34"/>
    <p:sldLayoutId id="2147483959"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6" r:id="rId51"/>
    <p:sldLayoutId id="2147483977" r:id="rId52"/>
    <p:sldLayoutId id="2147483978" r:id="rId53"/>
    <p:sldLayoutId id="2147483979" r:id="rId54"/>
    <p:sldLayoutId id="2147483980" r:id="rId55"/>
    <p:sldLayoutId id="2147483981" r:id="rId56"/>
    <p:sldLayoutId id="2147483985" r:id="rId57"/>
    <p:sldLayoutId id="2147483988" r:id="rId58"/>
    <p:sldLayoutId id="2147483989" r:id="rId59"/>
    <p:sldLayoutId id="2147483990" r:id="rId60"/>
    <p:sldLayoutId id="2147483991" r:id="rId61"/>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07FB66-4D2A-4E2A-A322-DA418816C743}"/>
              </a:ext>
            </a:extLst>
          </p:cNvPr>
          <p:cNvGraphicFramePr>
            <a:graphicFrameLocks noChangeAspect="1"/>
          </p:cNvGraphicFramePr>
          <p:nvPr userDrawn="1">
            <p:custDataLst>
              <p:tags r:id="rId14"/>
            </p:custDataLst>
            <p:extLst>
              <p:ext uri="{D42A27DB-BD31-4B8C-83A1-F6EECF244321}">
                <p14:modId xmlns:p14="http://schemas.microsoft.com/office/powerpoint/2010/main" val="792295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96" imgH="296" progId="TCLayout.ActiveDocument.1">
                  <p:embed/>
                </p:oleObj>
              </mc:Choice>
              <mc:Fallback>
                <p:oleObj name="think-cell Slide" r:id="rId15" imgW="296" imgH="296" progId="TCLayout.ActiveDocument.1">
                  <p:embed/>
                  <p:pic>
                    <p:nvPicPr>
                      <p:cNvPr id="2" name="Object 1" hidden="1">
                        <a:extLst>
                          <a:ext uri="{FF2B5EF4-FFF2-40B4-BE49-F238E27FC236}">
                            <a16:creationId xmlns:a16="http://schemas.microsoft.com/office/drawing/2014/main" id="{2307FB66-4D2A-4E2A-A322-DA418816C74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9" name="Footer Placeholder 2">
            <a:extLst>
              <a:ext uri="{FF2B5EF4-FFF2-40B4-BE49-F238E27FC236}">
                <a16:creationId xmlns:a16="http://schemas.microsoft.com/office/drawing/2014/main" id="{0106D99E-E600-C8FB-1129-B800B18B17D4}"/>
              </a:ext>
            </a:extLst>
          </p:cNvPr>
          <p:cNvSpPr>
            <a:spLocks noGrp="1"/>
          </p:cNvSpPr>
          <p:nvPr>
            <p:ph type="ftr" sz="quarter" idx="3"/>
          </p:nvPr>
        </p:nvSpPr>
        <p:spPr>
          <a:xfrm>
            <a:off x="1504610" y="4873695"/>
            <a:ext cx="3357110" cy="108000"/>
          </a:xfrm>
          <a:prstGeom prst="rect">
            <a:avLst/>
          </a:prstGeom>
        </p:spPr>
        <p:txBody>
          <a:bodyPr vert="horz" wrap="none" lIns="0" tIns="0" rIns="0" bIns="0" rtlCol="0" anchor="b" anchorCtr="0"/>
          <a:lstStyle>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Confidential</a:t>
            </a:r>
          </a:p>
        </p:txBody>
      </p:sp>
      <p:grpSp>
        <p:nvGrpSpPr>
          <p:cNvPr id="4" name="Group 3">
            <a:extLst>
              <a:ext uri="{FF2B5EF4-FFF2-40B4-BE49-F238E27FC236}">
                <a16:creationId xmlns:a16="http://schemas.microsoft.com/office/drawing/2014/main" id="{F18B7E04-4405-4DC3-B6B2-34E57B599DDC}"/>
              </a:ext>
            </a:extLst>
          </p:cNvPr>
          <p:cNvGrpSpPr/>
          <p:nvPr userDrawn="1"/>
        </p:nvGrpSpPr>
        <p:grpSpPr>
          <a:xfrm>
            <a:off x="-259765" y="1600250"/>
            <a:ext cx="144000" cy="2446845"/>
            <a:chOff x="-259765" y="1600250"/>
            <a:chExt cx="144000" cy="2446845"/>
          </a:xfrm>
        </p:grpSpPr>
        <p:sp>
          <p:nvSpPr>
            <p:cNvPr id="5" name="Oval 2">
              <a:extLst>
                <a:ext uri="{FF2B5EF4-FFF2-40B4-BE49-F238E27FC236}">
                  <a16:creationId xmlns:a16="http://schemas.microsoft.com/office/drawing/2014/main" id="{33D4FD86-88A2-4A5E-9A55-686C341DF643}"/>
                </a:ext>
              </a:extLst>
            </p:cNvPr>
            <p:cNvSpPr>
              <a:spLocks noChangeAspect="1"/>
            </p:cNvSpPr>
            <p:nvPr/>
          </p:nvSpPr>
          <p:spPr>
            <a:xfrm>
              <a:off x="-259765" y="1600250"/>
              <a:ext cx="144000" cy="144000"/>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1000">
                  <a:solidFill>
                    <a:schemeClr val="bg1"/>
                  </a:solidFill>
                </a:rPr>
                <a:t> </a:t>
              </a:r>
            </a:p>
          </p:txBody>
        </p:sp>
        <p:sp>
          <p:nvSpPr>
            <p:cNvPr id="6" name="Oval 3">
              <a:extLst>
                <a:ext uri="{FF2B5EF4-FFF2-40B4-BE49-F238E27FC236}">
                  <a16:creationId xmlns:a16="http://schemas.microsoft.com/office/drawing/2014/main" id="{6251C67A-3EE7-4B15-B17D-140F7B93A102}"/>
                </a:ext>
              </a:extLst>
            </p:cNvPr>
            <p:cNvSpPr>
              <a:spLocks noChangeAspect="1"/>
            </p:cNvSpPr>
            <p:nvPr/>
          </p:nvSpPr>
          <p:spPr>
            <a:xfrm>
              <a:off x="-259765" y="2492588"/>
              <a:ext cx="144000" cy="144000"/>
            </a:xfrm>
            <a:prstGeom prst="rect">
              <a:avLst/>
            </a:prstGeom>
            <a:solidFill>
              <a:srgbClr val="F47F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7" name="Oval 9">
              <a:extLst>
                <a:ext uri="{FF2B5EF4-FFF2-40B4-BE49-F238E27FC236}">
                  <a16:creationId xmlns:a16="http://schemas.microsoft.com/office/drawing/2014/main" id="{C782E1BC-C9E3-4A75-B5CF-E6BF8B8464C7}"/>
                </a:ext>
              </a:extLst>
            </p:cNvPr>
            <p:cNvSpPr>
              <a:spLocks noChangeAspect="1"/>
            </p:cNvSpPr>
            <p:nvPr/>
          </p:nvSpPr>
          <p:spPr>
            <a:xfrm>
              <a:off x="-259765" y="2319865"/>
              <a:ext cx="144000" cy="144000"/>
            </a:xfrm>
            <a:prstGeom prst="rect">
              <a:avLst/>
            </a:prstGeom>
            <a:solidFill>
              <a:srgbClr val="F7B7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3200">
                <a:solidFill>
                  <a:schemeClr val="tx2"/>
                </a:solidFill>
              </a:endParaRPr>
            </a:p>
          </p:txBody>
        </p:sp>
        <p:sp>
          <p:nvSpPr>
            <p:cNvPr id="8" name="Oval 10">
              <a:extLst>
                <a:ext uri="{FF2B5EF4-FFF2-40B4-BE49-F238E27FC236}">
                  <a16:creationId xmlns:a16="http://schemas.microsoft.com/office/drawing/2014/main" id="{4D94A41C-C6ED-491F-B340-7552F813C6D6}"/>
                </a:ext>
              </a:extLst>
            </p:cNvPr>
            <p:cNvSpPr>
              <a:spLocks noChangeAspect="1"/>
            </p:cNvSpPr>
            <p:nvPr/>
          </p:nvSpPr>
          <p:spPr>
            <a:xfrm>
              <a:off x="-259765" y="3010757"/>
              <a:ext cx="144000" cy="144000"/>
            </a:xfrm>
            <a:prstGeom prst="rect">
              <a:avLst/>
            </a:prstGeom>
            <a:solidFill>
              <a:srgbClr val="7D33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0" name="Oval 11">
              <a:extLst>
                <a:ext uri="{FF2B5EF4-FFF2-40B4-BE49-F238E27FC236}">
                  <a16:creationId xmlns:a16="http://schemas.microsoft.com/office/drawing/2014/main" id="{7EA2992C-7B39-4B1F-A1DB-FFE3345E0ED7}"/>
                </a:ext>
              </a:extLst>
            </p:cNvPr>
            <p:cNvSpPr>
              <a:spLocks noChangeAspect="1"/>
            </p:cNvSpPr>
            <p:nvPr/>
          </p:nvSpPr>
          <p:spPr>
            <a:xfrm>
              <a:off x="-259765" y="2147142"/>
              <a:ext cx="144000" cy="144000"/>
            </a:xfrm>
            <a:prstGeom prst="rect">
              <a:avLst/>
            </a:prstGeom>
            <a:solidFill>
              <a:srgbClr val="37CC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1" name="Oval 12">
              <a:extLst>
                <a:ext uri="{FF2B5EF4-FFF2-40B4-BE49-F238E27FC236}">
                  <a16:creationId xmlns:a16="http://schemas.microsoft.com/office/drawing/2014/main" id="{A49E0120-CE3A-4071-B8EE-BCD5A2C8C777}"/>
                </a:ext>
              </a:extLst>
            </p:cNvPr>
            <p:cNvSpPr>
              <a:spLocks noChangeAspect="1"/>
            </p:cNvSpPr>
            <p:nvPr/>
          </p:nvSpPr>
          <p:spPr>
            <a:xfrm>
              <a:off x="-259765" y="2838034"/>
              <a:ext cx="144000" cy="144000"/>
            </a:xfrm>
            <a:prstGeom prst="rect">
              <a:avLst/>
            </a:prstGeom>
            <a:solidFill>
              <a:srgbClr val="E03DC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2" name="Oval 13">
              <a:extLst>
                <a:ext uri="{FF2B5EF4-FFF2-40B4-BE49-F238E27FC236}">
                  <a16:creationId xmlns:a16="http://schemas.microsoft.com/office/drawing/2014/main" id="{E2C85E5F-D9ED-44E0-864F-6CC3BBCA769A}"/>
                </a:ext>
              </a:extLst>
            </p:cNvPr>
            <p:cNvSpPr>
              <a:spLocks noChangeAspect="1"/>
            </p:cNvSpPr>
            <p:nvPr/>
          </p:nvSpPr>
          <p:spPr>
            <a:xfrm>
              <a:off x="-259765" y="2665311"/>
              <a:ext cx="144000" cy="144000"/>
            </a:xfrm>
            <a:prstGeom prst="rect">
              <a:avLst/>
            </a:prstGeom>
            <a:solidFill>
              <a:srgbClr val="E23B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3200">
                <a:solidFill>
                  <a:schemeClr val="tx2"/>
                </a:solidFill>
              </a:endParaRPr>
            </a:p>
          </p:txBody>
        </p:sp>
        <p:sp>
          <p:nvSpPr>
            <p:cNvPr id="13" name="Oval 14">
              <a:extLst>
                <a:ext uri="{FF2B5EF4-FFF2-40B4-BE49-F238E27FC236}">
                  <a16:creationId xmlns:a16="http://schemas.microsoft.com/office/drawing/2014/main" id="{F10D61F2-8A85-48D8-B824-105806984F7B}"/>
                </a:ext>
              </a:extLst>
            </p:cNvPr>
            <p:cNvSpPr>
              <a:spLocks noChangeAspect="1"/>
            </p:cNvSpPr>
            <p:nvPr/>
          </p:nvSpPr>
          <p:spPr>
            <a:xfrm>
              <a:off x="-259765" y="1974419"/>
              <a:ext cx="144000" cy="14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4" name="Oval 15">
              <a:extLst>
                <a:ext uri="{FF2B5EF4-FFF2-40B4-BE49-F238E27FC236}">
                  <a16:creationId xmlns:a16="http://schemas.microsoft.com/office/drawing/2014/main" id="{D5BA78E6-4F59-4DE0-8EF0-B900CF8B6F5A}"/>
                </a:ext>
              </a:extLst>
            </p:cNvPr>
            <p:cNvSpPr>
              <a:spLocks noChangeAspect="1"/>
            </p:cNvSpPr>
            <p:nvPr userDrawn="1"/>
          </p:nvSpPr>
          <p:spPr>
            <a:xfrm>
              <a:off x="-259765" y="3557649"/>
              <a:ext cx="144000" cy="144000"/>
            </a:xfrm>
            <a:prstGeom prst="rect">
              <a:avLst/>
            </a:prstGeom>
            <a:solidFill>
              <a:srgbClr val="CCCCCC"/>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15" name="Oval 16">
              <a:extLst>
                <a:ext uri="{FF2B5EF4-FFF2-40B4-BE49-F238E27FC236}">
                  <a16:creationId xmlns:a16="http://schemas.microsoft.com/office/drawing/2014/main" id="{0C85E781-C927-44A3-BAD3-82EF1D41F371}"/>
                </a:ext>
              </a:extLst>
            </p:cNvPr>
            <p:cNvSpPr>
              <a:spLocks noChangeAspect="1"/>
            </p:cNvSpPr>
            <p:nvPr userDrawn="1"/>
          </p:nvSpPr>
          <p:spPr>
            <a:xfrm>
              <a:off x="-259765" y="3730372"/>
              <a:ext cx="144000" cy="144000"/>
            </a:xfrm>
            <a:prstGeom prst="rect">
              <a:avLst/>
            </a:prstGeom>
            <a:solidFill>
              <a:srgbClr val="757575"/>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sp>
          <p:nvSpPr>
            <p:cNvPr id="16" name="Oval 17">
              <a:extLst>
                <a:ext uri="{FF2B5EF4-FFF2-40B4-BE49-F238E27FC236}">
                  <a16:creationId xmlns:a16="http://schemas.microsoft.com/office/drawing/2014/main" id="{961106DA-ADA2-4E16-90E1-4D4D53903EFB}"/>
                </a:ext>
              </a:extLst>
            </p:cNvPr>
            <p:cNvSpPr>
              <a:spLocks noChangeAspect="1"/>
            </p:cNvSpPr>
            <p:nvPr userDrawn="1"/>
          </p:nvSpPr>
          <p:spPr>
            <a:xfrm>
              <a:off x="-259765" y="1772973"/>
              <a:ext cx="144000" cy="144000"/>
            </a:xfrm>
            <a:prstGeom prst="rect">
              <a:avLst/>
            </a:prstGeom>
            <a:solidFill>
              <a:srgbClr val="00113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r>
                <a:rPr lang="en-US" sz="1000">
                  <a:solidFill>
                    <a:schemeClr val="bg1"/>
                  </a:solidFill>
                </a:rPr>
                <a:t> </a:t>
              </a:r>
            </a:p>
          </p:txBody>
        </p:sp>
        <p:cxnSp>
          <p:nvCxnSpPr>
            <p:cNvPr id="17" name="Straight Connector 16">
              <a:extLst>
                <a:ext uri="{FF2B5EF4-FFF2-40B4-BE49-F238E27FC236}">
                  <a16:creationId xmlns:a16="http://schemas.microsoft.com/office/drawing/2014/main" id="{CCC04C6E-A5DE-4C72-825E-7B99537037E2}"/>
                </a:ext>
              </a:extLst>
            </p:cNvPr>
            <p:cNvCxnSpPr>
              <a:cxnSpLocks/>
            </p:cNvCxnSpPr>
            <p:nvPr userDrawn="1"/>
          </p:nvCxnSpPr>
          <p:spPr>
            <a:xfrm>
              <a:off x="-259765" y="1945696"/>
              <a:ext cx="14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017291D-569B-48C6-8ED5-54AB89C8E929}"/>
                </a:ext>
              </a:extLst>
            </p:cNvPr>
            <p:cNvCxnSpPr>
              <a:cxnSpLocks/>
            </p:cNvCxnSpPr>
            <p:nvPr userDrawn="1"/>
          </p:nvCxnSpPr>
          <p:spPr>
            <a:xfrm>
              <a:off x="-259765" y="3183480"/>
              <a:ext cx="144000"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Oval 20">
              <a:extLst>
                <a:ext uri="{FF2B5EF4-FFF2-40B4-BE49-F238E27FC236}">
                  <a16:creationId xmlns:a16="http://schemas.microsoft.com/office/drawing/2014/main" id="{8054FCBB-7432-4678-8B31-C400E342D86F}"/>
                </a:ext>
              </a:extLst>
            </p:cNvPr>
            <p:cNvSpPr>
              <a:spLocks noChangeAspect="1"/>
            </p:cNvSpPr>
            <p:nvPr userDrawn="1"/>
          </p:nvSpPr>
          <p:spPr>
            <a:xfrm>
              <a:off x="-259765" y="3212203"/>
              <a:ext cx="144000" cy="144000"/>
            </a:xfrm>
            <a:prstGeom prst="rect">
              <a:avLst/>
            </a:prstGeom>
            <a:solidFill>
              <a:srgbClr val="F9F9F9"/>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rtl="0">
                <a:spcAft>
                  <a:spcPts val="300"/>
                </a:spcAft>
                <a:buSzPct val="100000"/>
              </a:pPr>
              <a:endParaRPr lang="en-US" sz="1200">
                <a:solidFill>
                  <a:schemeClr val="tx2"/>
                </a:solidFill>
              </a:endParaRPr>
            </a:p>
          </p:txBody>
        </p:sp>
        <p:sp>
          <p:nvSpPr>
            <p:cNvPr id="20" name="Oval 21">
              <a:extLst>
                <a:ext uri="{FF2B5EF4-FFF2-40B4-BE49-F238E27FC236}">
                  <a16:creationId xmlns:a16="http://schemas.microsoft.com/office/drawing/2014/main" id="{72DEB2B0-F134-4115-9445-FD3F6DA2FF0B}"/>
                </a:ext>
              </a:extLst>
            </p:cNvPr>
            <p:cNvSpPr>
              <a:spLocks noChangeAspect="1"/>
            </p:cNvSpPr>
            <p:nvPr userDrawn="1"/>
          </p:nvSpPr>
          <p:spPr>
            <a:xfrm>
              <a:off x="-259765" y="3384926"/>
              <a:ext cx="144000" cy="144000"/>
            </a:xfrm>
            <a:prstGeom prst="rect">
              <a:avLst/>
            </a:prstGeom>
            <a:solidFill>
              <a:srgbClr val="EBEBEB"/>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sp>
          <p:nvSpPr>
            <p:cNvPr id="21" name="Oval 22">
              <a:extLst>
                <a:ext uri="{FF2B5EF4-FFF2-40B4-BE49-F238E27FC236}">
                  <a16:creationId xmlns:a16="http://schemas.microsoft.com/office/drawing/2014/main" id="{F414C336-5AE9-4A19-BC65-F6EE5F51C613}"/>
                </a:ext>
              </a:extLst>
            </p:cNvPr>
            <p:cNvSpPr>
              <a:spLocks noChangeAspect="1"/>
            </p:cNvSpPr>
            <p:nvPr userDrawn="1"/>
          </p:nvSpPr>
          <p:spPr>
            <a:xfrm>
              <a:off x="-259765" y="3903095"/>
              <a:ext cx="144000" cy="144000"/>
            </a:xfrm>
            <a:prstGeom prst="rect">
              <a:avLst/>
            </a:prstGeom>
            <a:solidFill>
              <a:srgbClr val="333333"/>
            </a:solidFill>
            <a:ln w="127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Aft>
                  <a:spcPts val="300"/>
                </a:spcAft>
                <a:buSzPct val="100000"/>
              </a:pPr>
              <a:endParaRPr lang="en-US" sz="2800">
                <a:solidFill>
                  <a:schemeClr val="tx2"/>
                </a:solidFill>
              </a:endParaRPr>
            </a:p>
          </p:txBody>
        </p:sp>
      </p:grpSp>
    </p:spTree>
    <p:extLst>
      <p:ext uri="{BB962C8B-B14F-4D97-AF65-F5344CB8AC3E}">
        <p14:creationId xmlns:p14="http://schemas.microsoft.com/office/powerpoint/2010/main" val="2340712093"/>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hf sldNum="0"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554092"/>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Lst>
  <p:hf sldNum="0" hdr="0" ftr="0" dt="0"/>
  <p:txStyles>
    <p:titleStyle>
      <a:lvl1pPr algn="l" defTabSz="457189" rtl="0" eaLnBrk="0" fontAlgn="base" hangingPunct="0">
        <a:spcBef>
          <a:spcPct val="0"/>
        </a:spcBef>
        <a:spcAft>
          <a:spcPct val="0"/>
        </a:spcAft>
        <a:defRPr sz="2000" b="0" kern="1200">
          <a:solidFill>
            <a:schemeClr val="bg1"/>
          </a:solidFill>
          <a:latin typeface="+mj-lt"/>
          <a:ea typeface="Nokia Pure Headline Ultra Light" panose="020B0204020202020204" pitchFamily="34" charset="0"/>
          <a:cs typeface="Arial"/>
        </a:defRPr>
      </a:lvl1pPr>
      <a:lvl2pPr algn="l" defTabSz="457189"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2pPr>
      <a:lvl3pPr algn="l" defTabSz="457189"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3pPr>
      <a:lvl4pPr algn="l" defTabSz="457189"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4pPr>
      <a:lvl5pPr algn="l" defTabSz="457189" rtl="0" eaLnBrk="0" fontAlgn="base" hangingPunct="0">
        <a:spcBef>
          <a:spcPct val="0"/>
        </a:spcBef>
        <a:spcAft>
          <a:spcPct val="0"/>
        </a:spcAft>
        <a:defRPr sz="4400" b="1">
          <a:solidFill>
            <a:schemeClr val="tx2"/>
          </a:solidFill>
          <a:latin typeface="Arial" charset="0"/>
          <a:ea typeface="ヒラギノ角ゴ Pro W3" charset="0"/>
          <a:cs typeface="Arial" pitchFamily="34" charset="0"/>
        </a:defRPr>
      </a:lvl5pPr>
      <a:lvl6pPr marL="457189" algn="l" defTabSz="457189" rtl="0" eaLnBrk="1" fontAlgn="base" hangingPunct="1">
        <a:spcBef>
          <a:spcPct val="0"/>
        </a:spcBef>
        <a:spcAft>
          <a:spcPct val="0"/>
        </a:spcAft>
        <a:defRPr b="1">
          <a:solidFill>
            <a:schemeClr val="bg2"/>
          </a:solidFill>
          <a:latin typeface="Arial" charset="0"/>
          <a:ea typeface="ヒラギノ角ゴ Pro W3" charset="0"/>
        </a:defRPr>
      </a:lvl6pPr>
      <a:lvl7pPr marL="914378" algn="l" defTabSz="457189" rtl="0" eaLnBrk="1" fontAlgn="base" hangingPunct="1">
        <a:spcBef>
          <a:spcPct val="0"/>
        </a:spcBef>
        <a:spcAft>
          <a:spcPct val="0"/>
        </a:spcAft>
        <a:defRPr b="1">
          <a:solidFill>
            <a:schemeClr val="bg2"/>
          </a:solidFill>
          <a:latin typeface="Arial" charset="0"/>
          <a:ea typeface="ヒラギノ角ゴ Pro W3" charset="0"/>
        </a:defRPr>
      </a:lvl7pPr>
      <a:lvl8pPr marL="1371566" algn="l" defTabSz="457189" rtl="0" eaLnBrk="1" fontAlgn="base" hangingPunct="1">
        <a:spcBef>
          <a:spcPct val="0"/>
        </a:spcBef>
        <a:spcAft>
          <a:spcPct val="0"/>
        </a:spcAft>
        <a:defRPr b="1">
          <a:solidFill>
            <a:schemeClr val="bg2"/>
          </a:solidFill>
          <a:latin typeface="Arial" charset="0"/>
          <a:ea typeface="ヒラギノ角ゴ Pro W3" charset="0"/>
        </a:defRPr>
      </a:lvl8pPr>
      <a:lvl9pPr marL="1828754" algn="l" defTabSz="457189"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3" indent="-230183" algn="l" defTabSz="457189" rtl="0" eaLnBrk="0" fontAlgn="base" hangingPunct="0">
        <a:spcBef>
          <a:spcPct val="0"/>
        </a:spcBef>
        <a:spcAft>
          <a:spcPts val="600"/>
        </a:spcAft>
        <a:buFont typeface="Arial" charset="0"/>
        <a:buChar char="•"/>
        <a:defRPr sz="3200" kern="1200">
          <a:solidFill>
            <a:schemeClr val="bg1"/>
          </a:solidFill>
          <a:latin typeface="+mn-lt"/>
          <a:ea typeface="ヒラギノ角ゴ Pro W3" charset="0"/>
          <a:cs typeface="ヒラギノ角ゴ Pro W3" charset="0"/>
        </a:defRPr>
      </a:lvl1pPr>
      <a:lvl2pPr marL="458777" indent="-228594" algn="l" defTabSz="457189" rtl="0" eaLnBrk="0" fontAlgn="base" hangingPunct="0">
        <a:spcBef>
          <a:spcPct val="0"/>
        </a:spcBef>
        <a:spcAft>
          <a:spcPts val="600"/>
        </a:spcAft>
        <a:buFont typeface="Lucida Grande"/>
        <a:buChar char="-"/>
        <a:defRPr sz="2800" kern="1200">
          <a:solidFill>
            <a:schemeClr val="bg1"/>
          </a:solidFill>
          <a:latin typeface="+mn-lt"/>
          <a:ea typeface="ヒラギノ角ゴ Pro W3" charset="0"/>
          <a:cs typeface="ヒラギノ角ゴ Pro W3"/>
        </a:defRPr>
      </a:lvl2pPr>
      <a:lvl3pPr marL="684196" indent="-225419" algn="l" defTabSz="457189" rtl="0" eaLnBrk="0" fontAlgn="base" hangingPunct="0">
        <a:spcBef>
          <a:spcPct val="0"/>
        </a:spcBef>
        <a:spcAft>
          <a:spcPts val="600"/>
        </a:spcAft>
        <a:buFont typeface="Arial" charset="0"/>
        <a:buChar char="•"/>
        <a:defRPr sz="2400" kern="1200">
          <a:solidFill>
            <a:schemeClr val="bg1"/>
          </a:solidFill>
          <a:latin typeface="+mn-lt"/>
          <a:ea typeface="ヒラギノ角ゴ Pro W3" charset="0"/>
          <a:cs typeface="ヒラギノ角ゴ Pro W3"/>
        </a:defRPr>
      </a:lvl3pPr>
      <a:lvl4pPr marL="912791" indent="-228594" algn="l" defTabSz="457189" rtl="0" eaLnBrk="0" fontAlgn="base" hangingPunct="0">
        <a:spcBef>
          <a:spcPct val="0"/>
        </a:spcBef>
        <a:spcAft>
          <a:spcPts val="600"/>
        </a:spcAft>
        <a:buFont typeface="Lucida Grande"/>
        <a:buChar char="-"/>
        <a:defRPr sz="2000" kern="1200">
          <a:solidFill>
            <a:schemeClr val="bg1"/>
          </a:solidFill>
          <a:latin typeface="+mn-lt"/>
          <a:ea typeface="ヒラギノ角ゴ Pro W3" charset="0"/>
          <a:cs typeface="ヒラギノ角ゴ Pro W3"/>
        </a:defRPr>
      </a:lvl4pPr>
      <a:lvl5pPr marL="1142972" indent="-230183" algn="l" defTabSz="457189" rtl="0" eaLnBrk="0" fontAlgn="base" hangingPunct="0">
        <a:spcBef>
          <a:spcPct val="0"/>
        </a:spcBef>
        <a:spcAft>
          <a:spcPts val="600"/>
        </a:spcAft>
        <a:buFont typeface="Arial" charset="0"/>
        <a:buChar char="•"/>
        <a:defRPr sz="2000" kern="1200">
          <a:solidFill>
            <a:schemeClr val="bg1"/>
          </a:solidFill>
          <a:latin typeface="+mn-lt"/>
          <a:ea typeface="ヒラギノ角ゴ Pro W3" charset="0"/>
          <a:cs typeface="ヒラギノ角ゴ Pro W3"/>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svg"/><Relationship Id="rId7" Type="http://schemas.openxmlformats.org/officeDocument/2006/relationships/image" Target="../media/image98.svg"/><Relationship Id="rId2" Type="http://schemas.openxmlformats.org/officeDocument/2006/relationships/image" Target="../media/image93.png"/><Relationship Id="rId1" Type="http://schemas.openxmlformats.org/officeDocument/2006/relationships/slideLayout" Target="../slideLayouts/slideLayout122.xml"/><Relationship Id="rId6" Type="http://schemas.openxmlformats.org/officeDocument/2006/relationships/image" Target="../media/image97.png"/><Relationship Id="rId11" Type="http://schemas.openxmlformats.org/officeDocument/2006/relationships/image" Target="../media/image102.svg"/><Relationship Id="rId5" Type="http://schemas.openxmlformats.org/officeDocument/2006/relationships/image" Target="../media/image96.svg"/><Relationship Id="rId10" Type="http://schemas.openxmlformats.org/officeDocument/2006/relationships/image" Target="../media/image101.png"/><Relationship Id="rId4" Type="http://schemas.openxmlformats.org/officeDocument/2006/relationships/image" Target="../media/image95.png"/><Relationship Id="rId9" Type="http://schemas.openxmlformats.org/officeDocument/2006/relationships/image" Target="../media/image100.sv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05.xml"/><Relationship Id="rId1" Type="http://schemas.openxmlformats.org/officeDocument/2006/relationships/themeOverride" Target="../theme/themeOverride3.xml"/></Relationships>
</file>

<file path=ppt/slides/_rels/slide1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xml"/><Relationship Id="rId1" Type="http://schemas.openxmlformats.org/officeDocument/2006/relationships/slideLayout" Target="../slideLayouts/slideLayout54.xml"/><Relationship Id="rId6" Type="http://schemas.openxmlformats.org/officeDocument/2006/relationships/image" Target="../media/image106.svg"/><Relationship Id="rId5" Type="http://schemas.openxmlformats.org/officeDocument/2006/relationships/image" Target="../media/image105.png"/><Relationship Id="rId4" Type="http://schemas.openxmlformats.org/officeDocument/2006/relationships/image" Target="../media/image104.svg"/></Relationships>
</file>

<file path=ppt/slides/_rels/slide13.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xml"/><Relationship Id="rId1" Type="http://schemas.openxmlformats.org/officeDocument/2006/relationships/slideLayout" Target="../slideLayouts/slideLayout54.xml"/><Relationship Id="rId6" Type="http://schemas.openxmlformats.org/officeDocument/2006/relationships/image" Target="../media/image108.svg"/><Relationship Id="rId5" Type="http://schemas.openxmlformats.org/officeDocument/2006/relationships/image" Target="../media/image107.png"/><Relationship Id="rId4" Type="http://schemas.openxmlformats.org/officeDocument/2006/relationships/image" Target="../media/image104.svg"/></Relationships>
</file>

<file path=ppt/slides/_rels/slide14.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3.png"/><Relationship Id="rId18" Type="http://schemas.openxmlformats.org/officeDocument/2006/relationships/image" Target="../media/image118.svg"/><Relationship Id="rId3" Type="http://schemas.microsoft.com/office/2007/relationships/media" Target="../media/media2.mp4"/><Relationship Id="rId21" Type="http://schemas.openxmlformats.org/officeDocument/2006/relationships/image" Target="../media/image121.png"/><Relationship Id="rId7" Type="http://schemas.openxmlformats.org/officeDocument/2006/relationships/image" Target="../media/image109.png"/><Relationship Id="rId12" Type="http://schemas.openxmlformats.org/officeDocument/2006/relationships/image" Target="../media/image104.svg"/><Relationship Id="rId17" Type="http://schemas.openxmlformats.org/officeDocument/2006/relationships/image" Target="../media/image117.png"/><Relationship Id="rId25" Type="http://schemas.openxmlformats.org/officeDocument/2006/relationships/image" Target="../media/image125.png"/><Relationship Id="rId2" Type="http://schemas.openxmlformats.org/officeDocument/2006/relationships/video" Target="../media/media1.mp4"/><Relationship Id="rId16" Type="http://schemas.openxmlformats.org/officeDocument/2006/relationships/image" Target="../media/image116.png"/><Relationship Id="rId20" Type="http://schemas.openxmlformats.org/officeDocument/2006/relationships/image" Target="../media/image120.svg"/><Relationship Id="rId1" Type="http://schemas.microsoft.com/office/2007/relationships/media" Target="../media/media1.mp4"/><Relationship Id="rId6" Type="http://schemas.openxmlformats.org/officeDocument/2006/relationships/notesSlide" Target="../notesSlides/notesSlide6.xml"/><Relationship Id="rId11" Type="http://schemas.openxmlformats.org/officeDocument/2006/relationships/image" Target="../media/image103.png"/><Relationship Id="rId24" Type="http://schemas.openxmlformats.org/officeDocument/2006/relationships/image" Target="../media/image124.png"/><Relationship Id="rId5" Type="http://schemas.openxmlformats.org/officeDocument/2006/relationships/slideLayout" Target="../slideLayouts/slideLayout217.xml"/><Relationship Id="rId15" Type="http://schemas.openxmlformats.org/officeDocument/2006/relationships/image" Target="../media/image115.png"/><Relationship Id="rId23" Type="http://schemas.openxmlformats.org/officeDocument/2006/relationships/image" Target="../media/image123.png"/><Relationship Id="rId10" Type="http://schemas.openxmlformats.org/officeDocument/2006/relationships/image" Target="../media/image112.svg"/><Relationship Id="rId19" Type="http://schemas.openxmlformats.org/officeDocument/2006/relationships/image" Target="../media/image119.png"/><Relationship Id="rId4" Type="http://schemas.openxmlformats.org/officeDocument/2006/relationships/video" Target="../media/media2.mp4"/><Relationship Id="rId9" Type="http://schemas.openxmlformats.org/officeDocument/2006/relationships/image" Target="../media/image111.png"/><Relationship Id="rId14" Type="http://schemas.openxmlformats.org/officeDocument/2006/relationships/image" Target="../media/image114.svg"/><Relationship Id="rId22" Type="http://schemas.openxmlformats.org/officeDocument/2006/relationships/image" Target="../media/image122.svg"/></Relationships>
</file>

<file path=ppt/slides/_rels/slide15.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26.png"/><Relationship Id="rId7" Type="http://schemas.openxmlformats.org/officeDocument/2006/relationships/image" Target="../media/image107.png"/><Relationship Id="rId2" Type="http://schemas.openxmlformats.org/officeDocument/2006/relationships/notesSlide" Target="../notesSlides/notesSlide7.xml"/><Relationship Id="rId1" Type="http://schemas.openxmlformats.org/officeDocument/2006/relationships/slideLayout" Target="../slideLayouts/slideLayout163.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27.svg"/></Relationships>
</file>

<file path=ppt/slides/_rels/slide16.xml.rels><?xml version="1.0" encoding="UTF-8" standalone="yes"?>
<Relationships xmlns="http://schemas.openxmlformats.org/package/2006/relationships"><Relationship Id="rId3" Type="http://schemas.openxmlformats.org/officeDocument/2006/relationships/image" Target="../media/image128.png"/><Relationship Id="rId7" Type="http://schemas.openxmlformats.org/officeDocument/2006/relationships/image" Target="../media/image129.svg"/><Relationship Id="rId2" Type="http://schemas.openxmlformats.org/officeDocument/2006/relationships/notesSlide" Target="../notesSlides/notesSlide8.xml"/><Relationship Id="rId1" Type="http://schemas.openxmlformats.org/officeDocument/2006/relationships/slideLayout" Target="../slideLayouts/slideLayout163.xml"/><Relationship Id="rId6" Type="http://schemas.openxmlformats.org/officeDocument/2006/relationships/image" Target="../media/image107.png"/><Relationship Id="rId5" Type="http://schemas.openxmlformats.org/officeDocument/2006/relationships/image" Target="../media/image104.svg"/><Relationship Id="rId4" Type="http://schemas.openxmlformats.org/officeDocument/2006/relationships/image" Target="../media/image103.png"/></Relationships>
</file>

<file path=ppt/slides/_rels/slide17.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30.png"/><Relationship Id="rId7" Type="http://schemas.openxmlformats.org/officeDocument/2006/relationships/image" Target="../media/image107.png"/><Relationship Id="rId2" Type="http://schemas.openxmlformats.org/officeDocument/2006/relationships/notesSlide" Target="../notesSlides/notesSlide9.xml"/><Relationship Id="rId1" Type="http://schemas.openxmlformats.org/officeDocument/2006/relationships/slideLayout" Target="../slideLayouts/slideLayout163.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31.sv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05.xml"/><Relationship Id="rId1" Type="http://schemas.openxmlformats.org/officeDocument/2006/relationships/themeOverride" Target="../theme/themeOverride4.xml"/></Relationships>
</file>

<file path=ppt/slides/_rels/slide19.xml.rels><?xml version="1.0" encoding="UTF-8" standalone="yes"?>
<Relationships xmlns="http://schemas.openxmlformats.org/package/2006/relationships"><Relationship Id="rId8" Type="http://schemas.openxmlformats.org/officeDocument/2006/relationships/image" Target="../media/image137.png"/><Relationship Id="rId13" Type="http://schemas.openxmlformats.org/officeDocument/2006/relationships/image" Target="../media/image142.png"/><Relationship Id="rId18" Type="http://schemas.openxmlformats.org/officeDocument/2006/relationships/image" Target="../media/image147.png"/><Relationship Id="rId26" Type="http://schemas.openxmlformats.org/officeDocument/2006/relationships/image" Target="../media/image153.png"/><Relationship Id="rId3" Type="http://schemas.openxmlformats.org/officeDocument/2006/relationships/image" Target="../media/image132.png"/><Relationship Id="rId21" Type="http://schemas.openxmlformats.org/officeDocument/2006/relationships/image" Target="../media/image150.png"/><Relationship Id="rId7" Type="http://schemas.openxmlformats.org/officeDocument/2006/relationships/image" Target="../media/image136.png"/><Relationship Id="rId12" Type="http://schemas.openxmlformats.org/officeDocument/2006/relationships/image" Target="../media/image141.png"/><Relationship Id="rId17" Type="http://schemas.openxmlformats.org/officeDocument/2006/relationships/image" Target="../media/image146.png"/><Relationship Id="rId25" Type="http://schemas.openxmlformats.org/officeDocument/2006/relationships/image" Target="../media/image4.svg"/><Relationship Id="rId2" Type="http://schemas.openxmlformats.org/officeDocument/2006/relationships/notesSlide" Target="../notesSlides/notesSlide10.xml"/><Relationship Id="rId16" Type="http://schemas.openxmlformats.org/officeDocument/2006/relationships/image" Target="../media/image145.png"/><Relationship Id="rId20" Type="http://schemas.openxmlformats.org/officeDocument/2006/relationships/image" Target="../media/image149.png"/><Relationship Id="rId29" Type="http://schemas.openxmlformats.org/officeDocument/2006/relationships/image" Target="../media/image156.png"/><Relationship Id="rId1" Type="http://schemas.openxmlformats.org/officeDocument/2006/relationships/slideLayout" Target="../slideLayouts/slideLayout102.xml"/><Relationship Id="rId6" Type="http://schemas.openxmlformats.org/officeDocument/2006/relationships/image" Target="../media/image135.png"/><Relationship Id="rId11" Type="http://schemas.openxmlformats.org/officeDocument/2006/relationships/image" Target="../media/image140.png"/><Relationship Id="rId24" Type="http://schemas.openxmlformats.org/officeDocument/2006/relationships/image" Target="../media/image3.png"/><Relationship Id="rId5" Type="http://schemas.openxmlformats.org/officeDocument/2006/relationships/image" Target="../media/image134.png"/><Relationship Id="rId15" Type="http://schemas.openxmlformats.org/officeDocument/2006/relationships/image" Target="../media/image144.png"/><Relationship Id="rId23" Type="http://schemas.openxmlformats.org/officeDocument/2006/relationships/image" Target="../media/image152.png"/><Relationship Id="rId28" Type="http://schemas.openxmlformats.org/officeDocument/2006/relationships/image" Target="../media/image155.png"/><Relationship Id="rId10" Type="http://schemas.openxmlformats.org/officeDocument/2006/relationships/image" Target="../media/image139.png"/><Relationship Id="rId19" Type="http://schemas.openxmlformats.org/officeDocument/2006/relationships/image" Target="../media/image148.png"/><Relationship Id="rId4" Type="http://schemas.openxmlformats.org/officeDocument/2006/relationships/image" Target="../media/image133.png"/><Relationship Id="rId9" Type="http://schemas.openxmlformats.org/officeDocument/2006/relationships/image" Target="../media/image138.png"/><Relationship Id="rId14" Type="http://schemas.openxmlformats.org/officeDocument/2006/relationships/image" Target="../media/image143.png"/><Relationship Id="rId22" Type="http://schemas.openxmlformats.org/officeDocument/2006/relationships/image" Target="../media/image151.png"/><Relationship Id="rId27" Type="http://schemas.openxmlformats.org/officeDocument/2006/relationships/image" Target="../media/image154.png"/><Relationship Id="rId30" Type="http://schemas.openxmlformats.org/officeDocument/2006/relationships/image" Target="../media/image15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png"/><Relationship Id="rId3" Type="http://schemas.openxmlformats.org/officeDocument/2006/relationships/image" Target="../media/image53.png"/><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image" Target="../media/image52.png"/><Relationship Id="rId1" Type="http://schemas.openxmlformats.org/officeDocument/2006/relationships/slideLayout" Target="../slideLayouts/slideLayout54.xml"/><Relationship Id="rId6" Type="http://schemas.openxmlformats.org/officeDocument/2006/relationships/image" Target="../media/image56.png"/><Relationship Id="rId11" Type="http://schemas.openxmlformats.org/officeDocument/2006/relationships/image" Target="../media/image61.sv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4.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4.png"/><Relationship Id="rId7" Type="http://schemas.openxmlformats.org/officeDocument/2006/relationships/image" Target="../media/image68.jpeg"/><Relationship Id="rId2" Type="http://schemas.openxmlformats.org/officeDocument/2006/relationships/notesSlide" Target="../notesSlides/notesSlide2.xml"/><Relationship Id="rId1" Type="http://schemas.openxmlformats.org/officeDocument/2006/relationships/slideLayout" Target="../slideLayouts/slideLayout54.xml"/><Relationship Id="rId6" Type="http://schemas.openxmlformats.org/officeDocument/2006/relationships/image" Target="../media/image67.jpeg"/><Relationship Id="rId5" Type="http://schemas.openxmlformats.org/officeDocument/2006/relationships/image" Target="../media/image66.png"/><Relationship Id="rId4" Type="http://schemas.openxmlformats.org/officeDocument/2006/relationships/image" Target="../media/image65.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chart" Target="../charts/chart1.xml"/><Relationship Id="rId7" Type="http://schemas.openxmlformats.org/officeDocument/2006/relationships/image" Target="../media/image74.svg"/><Relationship Id="rId2" Type="http://schemas.openxmlformats.org/officeDocument/2006/relationships/image" Target="../media/image70.png"/><Relationship Id="rId1" Type="http://schemas.openxmlformats.org/officeDocument/2006/relationships/slideLayout" Target="../slideLayouts/slideLayout122.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image" Target="../media/image78.svg"/><Relationship Id="rId7" Type="http://schemas.openxmlformats.org/officeDocument/2006/relationships/image" Target="../media/image82.svg"/><Relationship Id="rId12" Type="http://schemas.openxmlformats.org/officeDocument/2006/relationships/image" Target="../media/image87.png"/><Relationship Id="rId2" Type="http://schemas.openxmlformats.org/officeDocument/2006/relationships/image" Target="../media/image77.png"/><Relationship Id="rId1" Type="http://schemas.openxmlformats.org/officeDocument/2006/relationships/slideLayout" Target="../slideLayouts/slideLayout54.xml"/><Relationship Id="rId6" Type="http://schemas.openxmlformats.org/officeDocument/2006/relationships/image" Target="../media/image81.png"/><Relationship Id="rId11" Type="http://schemas.openxmlformats.org/officeDocument/2006/relationships/image" Target="../media/image86.svg"/><Relationship Id="rId5" Type="http://schemas.openxmlformats.org/officeDocument/2006/relationships/image" Target="../media/image80.svg"/><Relationship Id="rId15" Type="http://schemas.openxmlformats.org/officeDocument/2006/relationships/image" Target="../media/image90.sv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svg"/><Relationship Id="rId14" Type="http://schemas.openxmlformats.org/officeDocument/2006/relationships/image" Target="../media/image89.png"/></Relationships>
</file>

<file path=ppt/slides/_rels/slide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xml"/><Relationship Id="rId1" Type="http://schemas.openxmlformats.org/officeDocument/2006/relationships/slideLayout" Target="../slideLayouts/slideLayout122.xml"/><Relationship Id="rId4" Type="http://schemas.openxmlformats.org/officeDocument/2006/relationships/image" Target="../media/image9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88359-E395-4EA6-B5AF-F80ABE29F58E}"/>
              </a:ext>
            </a:extLst>
          </p:cNvPr>
          <p:cNvSpPr>
            <a:spLocks noGrp="1"/>
          </p:cNvSpPr>
          <p:nvPr>
            <p:ph type="title"/>
          </p:nvPr>
        </p:nvSpPr>
        <p:spPr>
          <a:xfrm>
            <a:off x="417531" y="1099611"/>
            <a:ext cx="3909884" cy="1244465"/>
          </a:xfrm>
        </p:spPr>
        <p:txBody>
          <a:bodyPr/>
          <a:lstStyle/>
          <a:p>
            <a:r>
              <a:rPr lang="en-US" dirty="0"/>
              <a:t>The Metaverses </a:t>
            </a:r>
            <a:br>
              <a:rPr lang="en-US" dirty="0"/>
            </a:br>
            <a:r>
              <a:rPr lang="en-US" dirty="0"/>
              <a:t>and the Path to 6G</a:t>
            </a:r>
          </a:p>
        </p:txBody>
      </p:sp>
      <p:sp>
        <p:nvSpPr>
          <p:cNvPr id="3" name="Text Placeholder 2">
            <a:extLst>
              <a:ext uri="{FF2B5EF4-FFF2-40B4-BE49-F238E27FC236}">
                <a16:creationId xmlns:a16="http://schemas.microsoft.com/office/drawing/2014/main" id="{62C88A0E-0C33-481C-86B9-B14903E35A0B}"/>
              </a:ext>
            </a:extLst>
          </p:cNvPr>
          <p:cNvSpPr>
            <a:spLocks noGrp="1"/>
          </p:cNvSpPr>
          <p:nvPr>
            <p:ph type="body" sz="quarter" idx="12"/>
          </p:nvPr>
        </p:nvSpPr>
        <p:spPr>
          <a:xfrm>
            <a:off x="417531" y="3305839"/>
            <a:ext cx="4328141" cy="590953"/>
          </a:xfrm>
        </p:spPr>
        <p:txBody>
          <a:bodyPr/>
          <a:lstStyle/>
          <a:p>
            <a:pPr marL="0" indent="0">
              <a:buNone/>
            </a:pPr>
            <a:r>
              <a:rPr lang="en-GB" sz="1600" i="1" dirty="0">
                <a:solidFill>
                  <a:schemeClr val="tx2">
                    <a:lumMod val="50000"/>
                    <a:lumOff val="50000"/>
                  </a:schemeClr>
                </a:solidFill>
              </a:rPr>
              <a:t>Dr Volker Ziegler</a:t>
            </a:r>
          </a:p>
          <a:p>
            <a:pPr marL="0" indent="0">
              <a:buNone/>
            </a:pPr>
            <a:r>
              <a:rPr lang="en-GB" sz="1600" i="1" dirty="0">
                <a:solidFill>
                  <a:schemeClr val="tx2">
                    <a:lumMod val="50000"/>
                    <a:lumOff val="50000"/>
                  </a:schemeClr>
                </a:solidFill>
              </a:rPr>
              <a:t>Senior Technology Advisor, Chief Architect</a:t>
            </a:r>
          </a:p>
          <a:p>
            <a:pPr marL="0" indent="0">
              <a:buNone/>
            </a:pPr>
            <a:r>
              <a:rPr lang="en-GB" sz="1200" dirty="0"/>
              <a:t>July 10, 2023</a:t>
            </a:r>
          </a:p>
          <a:p>
            <a:pPr marL="0" indent="0">
              <a:buNone/>
            </a:pPr>
            <a:r>
              <a:rPr lang="en-GB" sz="1600" b="1" dirty="0"/>
              <a:t>6G Wireless Foundations Forum</a:t>
            </a:r>
          </a:p>
          <a:p>
            <a:pPr marL="0" indent="0">
              <a:buNone/>
            </a:pPr>
            <a:r>
              <a:rPr lang="en-GB" sz="1200" dirty="0"/>
              <a:t>SOPHIATECH CAMPUS</a:t>
            </a:r>
          </a:p>
          <a:p>
            <a:endParaRPr lang="en-US" dirty="0"/>
          </a:p>
        </p:txBody>
      </p:sp>
      <p:sp>
        <p:nvSpPr>
          <p:cNvPr id="4" name="Footer Placeholder 3">
            <a:extLst>
              <a:ext uri="{FF2B5EF4-FFF2-40B4-BE49-F238E27FC236}">
                <a16:creationId xmlns:a16="http://schemas.microsoft.com/office/drawing/2014/main" id="{66C0F12B-511C-4BCE-878E-0997C6D6C9EC}"/>
              </a:ext>
            </a:extLst>
          </p:cNvPr>
          <p:cNvSpPr>
            <a:spLocks noGrp="1"/>
          </p:cNvSpPr>
          <p:nvPr>
            <p:ph type="ftr" sz="quarter" idx="3"/>
          </p:nvPr>
        </p:nvSpPr>
        <p:spPr/>
        <p:txBody>
          <a:bodyPr/>
          <a:lstStyle/>
          <a:p>
            <a:r>
              <a:rPr lang="en-US" dirty="0"/>
              <a:t>Public</a:t>
            </a:r>
          </a:p>
        </p:txBody>
      </p:sp>
    </p:spTree>
    <p:extLst>
      <p:ext uri="{BB962C8B-B14F-4D97-AF65-F5344CB8AC3E}">
        <p14:creationId xmlns:p14="http://schemas.microsoft.com/office/powerpoint/2010/main" val="1374886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F69CF55-C6BA-524D-167C-1E08D35F59FC}"/>
              </a:ext>
            </a:extLst>
          </p:cNvPr>
          <p:cNvSpPr>
            <a:spLocks noGrp="1"/>
          </p:cNvSpPr>
          <p:nvPr>
            <p:ph type="body" sz="quarter" idx="12"/>
          </p:nvPr>
        </p:nvSpPr>
        <p:spPr/>
        <p:txBody>
          <a:bodyPr/>
          <a:lstStyle/>
          <a:p>
            <a:r>
              <a:rPr lang="en-US" dirty="0"/>
              <a:t>Release 21 – the key focal point</a:t>
            </a:r>
          </a:p>
        </p:txBody>
      </p:sp>
      <p:sp>
        <p:nvSpPr>
          <p:cNvPr id="87" name="TextBox 86">
            <a:extLst>
              <a:ext uri="{FF2B5EF4-FFF2-40B4-BE49-F238E27FC236}">
                <a16:creationId xmlns:a16="http://schemas.microsoft.com/office/drawing/2014/main" id="{F537D2FD-4308-102C-F790-A6892B3CDDA3}"/>
              </a:ext>
            </a:extLst>
          </p:cNvPr>
          <p:cNvSpPr txBox="1"/>
          <p:nvPr/>
        </p:nvSpPr>
        <p:spPr>
          <a:xfrm>
            <a:off x="2298879" y="1021899"/>
            <a:ext cx="4721606" cy="685059"/>
          </a:xfrm>
          <a:prstGeom prst="rect">
            <a:avLst/>
          </a:prstGeom>
          <a:noFill/>
        </p:spPr>
        <p:txBody>
          <a:bodyPr wrap="square" lIns="0" tIns="0" rIns="0" bIns="0">
            <a:spAutoFit/>
          </a:bodyPr>
          <a:lstStyle/>
          <a:p>
            <a:pPr marL="285750" marR="0" lvl="0" indent="-285750"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1135"/>
                </a:solidFill>
                <a:effectLst/>
                <a:uLnTx/>
                <a:uFillTx/>
                <a:latin typeface="Nokia Pure Text Light"/>
                <a:ea typeface="+mn-ea"/>
                <a:cs typeface="+mn-cs"/>
              </a:rPr>
              <a:t>Highly optimized for XR+MBB</a:t>
            </a:r>
          </a:p>
          <a:p>
            <a:pPr marL="285750" marR="0" lvl="0" indent="-285750"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1135"/>
                </a:solidFill>
                <a:effectLst/>
                <a:uLnTx/>
                <a:uFillTx/>
                <a:latin typeface="Nokia Pure Text Light"/>
                <a:ea typeface="+mn-ea"/>
                <a:cs typeface="+mn-cs"/>
              </a:rPr>
              <a:t>3D networks: Terrestrial + Satellites </a:t>
            </a:r>
          </a:p>
          <a:p>
            <a:pPr marL="285750" marR="0" lvl="0" indent="-285750"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1135"/>
                </a:solidFill>
                <a:effectLst/>
                <a:uLnTx/>
                <a:uFillTx/>
                <a:latin typeface="Nokia Pure Text Light"/>
                <a:ea typeface="+mn-ea"/>
                <a:cs typeface="+mn-cs"/>
              </a:rPr>
              <a:t>Low Power LAN &amp; WAN IoT; Lean(er) Industrial IoT</a:t>
            </a:r>
          </a:p>
        </p:txBody>
      </p:sp>
      <p:sp>
        <p:nvSpPr>
          <p:cNvPr id="88" name="TextBox 87">
            <a:extLst>
              <a:ext uri="{FF2B5EF4-FFF2-40B4-BE49-F238E27FC236}">
                <a16:creationId xmlns:a16="http://schemas.microsoft.com/office/drawing/2014/main" id="{549DB442-1A4D-090B-D337-34B888202570}"/>
              </a:ext>
            </a:extLst>
          </p:cNvPr>
          <p:cNvSpPr txBox="1"/>
          <p:nvPr/>
        </p:nvSpPr>
        <p:spPr>
          <a:xfrm>
            <a:off x="774631" y="2175876"/>
            <a:ext cx="2780634" cy="1179554"/>
          </a:xfrm>
          <a:prstGeom prst="rect">
            <a:avLst/>
          </a:prstGeom>
          <a:noFill/>
        </p:spPr>
        <p:txBody>
          <a:bodyPr wrap="square" lIns="0" tIns="0" rIns="0" bIns="0">
            <a:spAutoFit/>
          </a:bodyPr>
          <a:lstStyle/>
          <a:p>
            <a:pPr marL="0" marR="0" lvl="0" indent="0" algn="l" defTabSz="685800" rtl="0" eaLnBrk="1" fontAlgn="auto"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dirty="0">
                <a:ln>
                  <a:noFill/>
                </a:ln>
                <a:solidFill>
                  <a:srgbClr val="005AFF"/>
                </a:solidFill>
                <a:effectLst/>
                <a:uLnTx/>
                <a:uFillTx/>
                <a:latin typeface="Nokia Pure Text Light"/>
                <a:ea typeface="+mn-ea"/>
                <a:cs typeface="+mn-cs"/>
              </a:rPr>
              <a:t>Architecture</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Standalone 6G</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Smooth evolution</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Carrier Aggregation and</a:t>
            </a:r>
            <a:b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b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Multi Radio Spectrum Sharing</a:t>
            </a:r>
          </a:p>
        </p:txBody>
      </p:sp>
      <p:sp>
        <p:nvSpPr>
          <p:cNvPr id="89" name="TextBox 88">
            <a:extLst>
              <a:ext uri="{FF2B5EF4-FFF2-40B4-BE49-F238E27FC236}">
                <a16:creationId xmlns:a16="http://schemas.microsoft.com/office/drawing/2014/main" id="{3066C94F-9ACE-D5DA-E310-76A1D4FFF61C}"/>
              </a:ext>
            </a:extLst>
          </p:cNvPr>
          <p:cNvSpPr txBox="1"/>
          <p:nvPr/>
        </p:nvSpPr>
        <p:spPr>
          <a:xfrm>
            <a:off x="6245638" y="2175876"/>
            <a:ext cx="2574512" cy="985654"/>
          </a:xfrm>
          <a:prstGeom prst="rect">
            <a:avLst/>
          </a:prstGeom>
          <a:noFill/>
        </p:spPr>
        <p:txBody>
          <a:bodyPr wrap="square" lIns="0" tIns="0" rIns="0" bIns="0">
            <a:spAutoFit/>
          </a:bodyPr>
          <a:lstStyle/>
          <a:p>
            <a:pPr marL="0" marR="0" lvl="0" indent="0" algn="l" defTabSz="685800" rtl="0" eaLnBrk="1" fontAlgn="auto"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dirty="0">
                <a:ln>
                  <a:noFill/>
                </a:ln>
                <a:solidFill>
                  <a:srgbClr val="005AFF"/>
                </a:solidFill>
                <a:effectLst/>
                <a:uLnTx/>
                <a:uFillTx/>
                <a:latin typeface="Nokia Pure Text Light"/>
                <a:ea typeface="+mn-ea"/>
                <a:cs typeface="+mn-cs"/>
              </a:rPr>
              <a:t>Air Interface</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OFDM + DFT-s-OFDM</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Extreme MIMO @ 7-15GHz</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666666"/>
                </a:solidFill>
                <a:effectLst/>
                <a:uLnTx/>
                <a:uFillTx/>
                <a:latin typeface="Nokia Pure Text Light"/>
                <a:ea typeface="+mn-ea"/>
                <a:cs typeface="+mn-cs"/>
              </a:rPr>
              <a:t>Duplexing</a:t>
            </a:r>
          </a:p>
        </p:txBody>
      </p:sp>
      <p:sp>
        <p:nvSpPr>
          <p:cNvPr id="90" name="TextBox 89">
            <a:extLst>
              <a:ext uri="{FF2B5EF4-FFF2-40B4-BE49-F238E27FC236}">
                <a16:creationId xmlns:a16="http://schemas.microsoft.com/office/drawing/2014/main" id="{84A1FCC1-6D1C-20D2-BAE1-9743947AF21E}"/>
              </a:ext>
            </a:extLst>
          </p:cNvPr>
          <p:cNvSpPr txBox="1"/>
          <p:nvPr/>
        </p:nvSpPr>
        <p:spPr>
          <a:xfrm>
            <a:off x="774632" y="3654167"/>
            <a:ext cx="3107270" cy="985654"/>
          </a:xfrm>
          <a:prstGeom prst="rect">
            <a:avLst/>
          </a:prstGeom>
          <a:noFill/>
        </p:spPr>
        <p:txBody>
          <a:bodyPr wrap="square" lIns="0" tIns="0" rIns="0" bIns="0">
            <a:spAutoFit/>
          </a:bodyPr>
          <a:lstStyle/>
          <a:p>
            <a:pPr marL="0" marR="0" lvl="0" indent="0" algn="l" defTabSz="685800" rtl="0" eaLnBrk="1" fontAlgn="auto"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solidFill>
                  <a:srgbClr val="005AFF"/>
                </a:solidFill>
                <a:effectLst/>
                <a:uLnTx/>
                <a:uFillTx/>
                <a:latin typeface="Nokia Pure Text Light"/>
                <a:ea typeface="+mn-ea"/>
                <a:cs typeface="+mn-cs"/>
              </a:rPr>
              <a:t>Extreme Energy Efficiency</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Zero traffic =&gt; zero energy</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Hybrid beamforming</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Smart scheduling</a:t>
            </a:r>
            <a:endParaRPr kumimoji="0" lang="en-US" sz="11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91" name="TextBox 90">
            <a:extLst>
              <a:ext uri="{FF2B5EF4-FFF2-40B4-BE49-F238E27FC236}">
                <a16:creationId xmlns:a16="http://schemas.microsoft.com/office/drawing/2014/main" id="{8A3FB752-69A4-D727-1B29-8069A737E4D8}"/>
              </a:ext>
            </a:extLst>
          </p:cNvPr>
          <p:cNvSpPr txBox="1"/>
          <p:nvPr/>
        </p:nvSpPr>
        <p:spPr>
          <a:xfrm>
            <a:off x="5944093" y="3654167"/>
            <a:ext cx="2711391" cy="985654"/>
          </a:xfrm>
          <a:prstGeom prst="rect">
            <a:avLst/>
          </a:prstGeom>
          <a:noFill/>
        </p:spPr>
        <p:txBody>
          <a:bodyPr wrap="square" lIns="0" tIns="0" rIns="0" bIns="0">
            <a:spAutoFit/>
          </a:bodyPr>
          <a:lstStyle/>
          <a:p>
            <a:pPr marL="0" marR="0" lvl="0" indent="0" algn="l" defTabSz="685800" rtl="0" eaLnBrk="1" fontAlgn="auto" latinLnBrk="0" hangingPunct="1">
              <a:lnSpc>
                <a:spcPct val="90000"/>
              </a:lnSpc>
              <a:spcBef>
                <a:spcPts val="0"/>
              </a:spcBef>
              <a:spcAft>
                <a:spcPts val="400"/>
              </a:spcAft>
              <a:buClrTx/>
              <a:buSzTx/>
              <a:buFontTx/>
              <a:buNone/>
              <a:tabLst/>
              <a:defRPr/>
            </a:pPr>
            <a:r>
              <a:rPr kumimoji="0" lang="en-US" sz="1800" b="1" i="0" u="none" strike="noStrike" kern="1200" cap="none" spc="0" normalizeH="0" baseline="0" noProof="0">
                <a:ln>
                  <a:noFill/>
                </a:ln>
                <a:solidFill>
                  <a:srgbClr val="005AFF"/>
                </a:solidFill>
                <a:effectLst/>
                <a:uLnTx/>
                <a:uFillTx/>
                <a:latin typeface="Nokia Pure Text Light"/>
                <a:ea typeface="+mn-ea"/>
                <a:cs typeface="+mn-cs"/>
              </a:rPr>
              <a:t>AI-native</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Collaborative two-sided AI</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Deep RX</a:t>
            </a:r>
          </a:p>
          <a:p>
            <a:pPr marL="285750" marR="0" lvl="0" indent="-285750" algn="l" defTabSz="685800" rtl="0" eaLnBrk="1" fontAlgn="auto" latinLnBrk="0" hangingPunct="1">
              <a:lnSpc>
                <a:spcPct val="90000"/>
              </a:lnSpc>
              <a:spcBef>
                <a:spcPts val="0"/>
              </a:spcBef>
              <a:spcAft>
                <a:spcPts val="4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666666"/>
                </a:solidFill>
                <a:effectLst/>
                <a:uLnTx/>
                <a:uFillTx/>
                <a:latin typeface="Nokia Pure Text Light"/>
                <a:ea typeface="+mn-ea"/>
                <a:cs typeface="+mn-cs"/>
              </a:rPr>
              <a:t>Deep scheduler</a:t>
            </a:r>
          </a:p>
        </p:txBody>
      </p:sp>
      <p:sp>
        <p:nvSpPr>
          <p:cNvPr id="92" name="Pentagon 19">
            <a:extLst>
              <a:ext uri="{FF2B5EF4-FFF2-40B4-BE49-F238E27FC236}">
                <a16:creationId xmlns:a16="http://schemas.microsoft.com/office/drawing/2014/main" id="{8E95449A-2BBE-B6B3-EACE-CC1970D64AF7}"/>
              </a:ext>
            </a:extLst>
          </p:cNvPr>
          <p:cNvSpPr/>
          <p:nvPr/>
        </p:nvSpPr>
        <p:spPr>
          <a:xfrm>
            <a:off x="3482863" y="1932481"/>
            <a:ext cx="2365282" cy="2206928"/>
          </a:xfrm>
          <a:prstGeom prst="pentagon">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93" name="Oval 92">
            <a:extLst>
              <a:ext uri="{FF2B5EF4-FFF2-40B4-BE49-F238E27FC236}">
                <a16:creationId xmlns:a16="http://schemas.microsoft.com/office/drawing/2014/main" id="{E87421D9-FF9C-E809-AD58-816F0D677236}"/>
              </a:ext>
            </a:extLst>
          </p:cNvPr>
          <p:cNvSpPr/>
          <p:nvPr/>
        </p:nvSpPr>
        <p:spPr>
          <a:xfrm>
            <a:off x="4350912" y="1762803"/>
            <a:ext cx="632348" cy="632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94" name="Oval 93">
            <a:extLst>
              <a:ext uri="{FF2B5EF4-FFF2-40B4-BE49-F238E27FC236}">
                <a16:creationId xmlns:a16="http://schemas.microsoft.com/office/drawing/2014/main" id="{E7F73E68-28FA-B197-39D0-106CF685B7BE}"/>
              </a:ext>
            </a:extLst>
          </p:cNvPr>
          <p:cNvSpPr/>
          <p:nvPr/>
        </p:nvSpPr>
        <p:spPr>
          <a:xfrm>
            <a:off x="4397031" y="1808922"/>
            <a:ext cx="540110" cy="54011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grpSp>
        <p:nvGrpSpPr>
          <p:cNvPr id="95" name="Group 94">
            <a:extLst>
              <a:ext uri="{FF2B5EF4-FFF2-40B4-BE49-F238E27FC236}">
                <a16:creationId xmlns:a16="http://schemas.microsoft.com/office/drawing/2014/main" id="{C27BDABA-2270-0609-AF32-219DB33BDC80}"/>
              </a:ext>
            </a:extLst>
          </p:cNvPr>
          <p:cNvGrpSpPr/>
          <p:nvPr/>
        </p:nvGrpSpPr>
        <p:grpSpPr>
          <a:xfrm>
            <a:off x="3272152" y="2571106"/>
            <a:ext cx="632348" cy="632348"/>
            <a:chOff x="3278948" y="1482644"/>
            <a:chExt cx="632348" cy="632348"/>
          </a:xfrm>
          <a:solidFill>
            <a:schemeClr val="accent1"/>
          </a:solidFill>
        </p:grpSpPr>
        <p:sp useBgFill="1">
          <p:nvSpPr>
            <p:cNvPr id="96" name="Oval 95">
              <a:extLst>
                <a:ext uri="{FF2B5EF4-FFF2-40B4-BE49-F238E27FC236}">
                  <a16:creationId xmlns:a16="http://schemas.microsoft.com/office/drawing/2014/main" id="{10F55336-7FF1-08FC-8D4E-C99F8E9DF131}"/>
                </a:ext>
              </a:extLst>
            </p:cNvPr>
            <p:cNvSpPr/>
            <p:nvPr/>
          </p:nvSpPr>
          <p:spPr>
            <a:xfrm>
              <a:off x="3278948" y="1482644"/>
              <a:ext cx="632348" cy="6323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97" name="Oval 96">
              <a:extLst>
                <a:ext uri="{FF2B5EF4-FFF2-40B4-BE49-F238E27FC236}">
                  <a16:creationId xmlns:a16="http://schemas.microsoft.com/office/drawing/2014/main" id="{4CD8C4FE-41F6-AF8F-F613-4BB7C9403295}"/>
                </a:ext>
              </a:extLst>
            </p:cNvPr>
            <p:cNvSpPr/>
            <p:nvPr/>
          </p:nvSpPr>
          <p:spPr>
            <a:xfrm>
              <a:off x="3325067" y="1528763"/>
              <a:ext cx="540110" cy="54011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grpSp>
      <p:grpSp>
        <p:nvGrpSpPr>
          <p:cNvPr id="98" name="Group 97">
            <a:extLst>
              <a:ext uri="{FF2B5EF4-FFF2-40B4-BE49-F238E27FC236}">
                <a16:creationId xmlns:a16="http://schemas.microsoft.com/office/drawing/2014/main" id="{300D1291-45FB-8085-6B90-70DC6AC1DB4A}"/>
              </a:ext>
            </a:extLst>
          </p:cNvPr>
          <p:cNvGrpSpPr/>
          <p:nvPr/>
        </p:nvGrpSpPr>
        <p:grpSpPr>
          <a:xfrm>
            <a:off x="3677390" y="3896910"/>
            <a:ext cx="632348" cy="632348"/>
            <a:chOff x="3286763" y="1474829"/>
            <a:chExt cx="632348" cy="632348"/>
          </a:xfrm>
          <a:solidFill>
            <a:schemeClr val="accent1"/>
          </a:solidFill>
        </p:grpSpPr>
        <p:sp useBgFill="1">
          <p:nvSpPr>
            <p:cNvPr id="99" name="Oval 98">
              <a:extLst>
                <a:ext uri="{FF2B5EF4-FFF2-40B4-BE49-F238E27FC236}">
                  <a16:creationId xmlns:a16="http://schemas.microsoft.com/office/drawing/2014/main" id="{C2FCDAF1-2549-8D68-A453-53E35A1CF924}"/>
                </a:ext>
              </a:extLst>
            </p:cNvPr>
            <p:cNvSpPr/>
            <p:nvPr/>
          </p:nvSpPr>
          <p:spPr>
            <a:xfrm>
              <a:off x="3286763" y="1474829"/>
              <a:ext cx="632348" cy="6323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00" name="Oval 99">
              <a:extLst>
                <a:ext uri="{FF2B5EF4-FFF2-40B4-BE49-F238E27FC236}">
                  <a16:creationId xmlns:a16="http://schemas.microsoft.com/office/drawing/2014/main" id="{99133D88-93DA-6BDB-7659-C9BA2E89A2B9}"/>
                </a:ext>
              </a:extLst>
            </p:cNvPr>
            <p:cNvSpPr/>
            <p:nvPr/>
          </p:nvSpPr>
          <p:spPr>
            <a:xfrm>
              <a:off x="3325067" y="1528763"/>
              <a:ext cx="540110" cy="54011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grpSp>
      <p:grpSp>
        <p:nvGrpSpPr>
          <p:cNvPr id="101" name="Group 100">
            <a:extLst>
              <a:ext uri="{FF2B5EF4-FFF2-40B4-BE49-F238E27FC236}">
                <a16:creationId xmlns:a16="http://schemas.microsoft.com/office/drawing/2014/main" id="{EA4B472B-C000-973C-BFBA-0DD98DC9FDFB}"/>
              </a:ext>
            </a:extLst>
          </p:cNvPr>
          <p:cNvGrpSpPr/>
          <p:nvPr/>
        </p:nvGrpSpPr>
        <p:grpSpPr>
          <a:xfrm>
            <a:off x="5036259" y="3904725"/>
            <a:ext cx="632348" cy="632348"/>
            <a:chOff x="3278948" y="1482644"/>
            <a:chExt cx="632348" cy="632348"/>
          </a:xfrm>
          <a:solidFill>
            <a:schemeClr val="accent1"/>
          </a:solidFill>
        </p:grpSpPr>
        <p:sp useBgFill="1">
          <p:nvSpPr>
            <p:cNvPr id="102" name="Oval 101">
              <a:extLst>
                <a:ext uri="{FF2B5EF4-FFF2-40B4-BE49-F238E27FC236}">
                  <a16:creationId xmlns:a16="http://schemas.microsoft.com/office/drawing/2014/main" id="{2CCB3243-9814-EBF4-7D24-7A90B2DD7889}"/>
                </a:ext>
              </a:extLst>
            </p:cNvPr>
            <p:cNvSpPr/>
            <p:nvPr/>
          </p:nvSpPr>
          <p:spPr>
            <a:xfrm>
              <a:off x="3278948" y="1482644"/>
              <a:ext cx="632348" cy="6323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03" name="Oval 102">
              <a:extLst>
                <a:ext uri="{FF2B5EF4-FFF2-40B4-BE49-F238E27FC236}">
                  <a16:creationId xmlns:a16="http://schemas.microsoft.com/office/drawing/2014/main" id="{D8FB6392-C2F7-26DE-C345-E53B74004778}"/>
                </a:ext>
              </a:extLst>
            </p:cNvPr>
            <p:cNvSpPr/>
            <p:nvPr/>
          </p:nvSpPr>
          <p:spPr>
            <a:xfrm>
              <a:off x="3325067" y="1528763"/>
              <a:ext cx="540110" cy="54011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grpSp>
      <p:grpSp>
        <p:nvGrpSpPr>
          <p:cNvPr id="104" name="Group 103">
            <a:extLst>
              <a:ext uri="{FF2B5EF4-FFF2-40B4-BE49-F238E27FC236}">
                <a16:creationId xmlns:a16="http://schemas.microsoft.com/office/drawing/2014/main" id="{26E85BAD-189D-210F-F635-E62B756EF089}"/>
              </a:ext>
            </a:extLst>
          </p:cNvPr>
          <p:cNvGrpSpPr/>
          <p:nvPr/>
        </p:nvGrpSpPr>
        <p:grpSpPr>
          <a:xfrm>
            <a:off x="5442886" y="2522828"/>
            <a:ext cx="632348" cy="632348"/>
            <a:chOff x="3278948" y="1482644"/>
            <a:chExt cx="632348" cy="632348"/>
          </a:xfrm>
          <a:solidFill>
            <a:schemeClr val="accent1"/>
          </a:solidFill>
        </p:grpSpPr>
        <p:sp useBgFill="1">
          <p:nvSpPr>
            <p:cNvPr id="105" name="Oval 104">
              <a:extLst>
                <a:ext uri="{FF2B5EF4-FFF2-40B4-BE49-F238E27FC236}">
                  <a16:creationId xmlns:a16="http://schemas.microsoft.com/office/drawing/2014/main" id="{04BCB5A6-8372-05A7-2F89-EBFEED06E11C}"/>
                </a:ext>
              </a:extLst>
            </p:cNvPr>
            <p:cNvSpPr/>
            <p:nvPr/>
          </p:nvSpPr>
          <p:spPr>
            <a:xfrm>
              <a:off x="3278948" y="1482644"/>
              <a:ext cx="632348" cy="63234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06" name="Oval 105">
              <a:extLst>
                <a:ext uri="{FF2B5EF4-FFF2-40B4-BE49-F238E27FC236}">
                  <a16:creationId xmlns:a16="http://schemas.microsoft.com/office/drawing/2014/main" id="{CA3AC6A9-BFB2-822B-4832-A3714CD6885E}"/>
                </a:ext>
              </a:extLst>
            </p:cNvPr>
            <p:cNvSpPr/>
            <p:nvPr/>
          </p:nvSpPr>
          <p:spPr>
            <a:xfrm>
              <a:off x="3325067" y="1528763"/>
              <a:ext cx="540110" cy="54011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a:ln>
                  <a:noFill/>
                </a:ln>
                <a:solidFill>
                  <a:srgbClr val="001135"/>
                </a:solidFill>
                <a:effectLst/>
                <a:uLnTx/>
                <a:uFillTx/>
                <a:latin typeface="Nokia Pure Text Light"/>
                <a:ea typeface="+mn-ea"/>
                <a:cs typeface="+mn-cs"/>
              </a:endParaRPr>
            </a:p>
          </p:txBody>
        </p:sp>
      </p:grpSp>
      <p:pic>
        <p:nvPicPr>
          <p:cNvPr id="107" name="Graphic 106">
            <a:extLst>
              <a:ext uri="{FF2B5EF4-FFF2-40B4-BE49-F238E27FC236}">
                <a16:creationId xmlns:a16="http://schemas.microsoft.com/office/drawing/2014/main" id="{848EC4FC-6025-6FAE-28FC-07CCF5458C99}"/>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522467" y="1941527"/>
            <a:ext cx="289238" cy="289238"/>
          </a:xfrm>
          <a:prstGeom prst="rect">
            <a:avLst/>
          </a:prstGeom>
        </p:spPr>
      </p:pic>
      <p:pic>
        <p:nvPicPr>
          <p:cNvPr id="118" name="Graphic 117" descr="Cell Tower with solid fill">
            <a:extLst>
              <a:ext uri="{FF2B5EF4-FFF2-40B4-BE49-F238E27FC236}">
                <a16:creationId xmlns:a16="http://schemas.microsoft.com/office/drawing/2014/main" id="{76E2819B-3B17-3356-F96C-CCB671CA497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78318" y="2664009"/>
            <a:ext cx="360764" cy="360764"/>
          </a:xfrm>
          <a:prstGeom prst="rect">
            <a:avLst/>
          </a:prstGeom>
        </p:spPr>
      </p:pic>
      <p:pic>
        <p:nvPicPr>
          <p:cNvPr id="120" name="Graphic 119" descr="Artificial Intelligence with solid fill">
            <a:extLst>
              <a:ext uri="{FF2B5EF4-FFF2-40B4-BE49-F238E27FC236}">
                <a16:creationId xmlns:a16="http://schemas.microsoft.com/office/drawing/2014/main" id="{DF9B0B06-2AD0-3610-4EED-6B316B04BFD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12339" y="4062534"/>
            <a:ext cx="316730" cy="316730"/>
          </a:xfrm>
          <a:prstGeom prst="rect">
            <a:avLst/>
          </a:prstGeom>
        </p:spPr>
      </p:pic>
      <p:pic>
        <p:nvPicPr>
          <p:cNvPr id="122" name="Graphic 121" descr="Open hand with plant outline">
            <a:extLst>
              <a:ext uri="{FF2B5EF4-FFF2-40B4-BE49-F238E27FC236}">
                <a16:creationId xmlns:a16="http://schemas.microsoft.com/office/drawing/2014/main" id="{53887331-181D-E967-979D-69E6F60B32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75086" y="3997018"/>
            <a:ext cx="432131" cy="432131"/>
          </a:xfrm>
          <a:prstGeom prst="rect">
            <a:avLst/>
          </a:prstGeom>
        </p:spPr>
      </p:pic>
      <p:sp>
        <p:nvSpPr>
          <p:cNvPr id="4" name="Hexagon 3">
            <a:extLst>
              <a:ext uri="{FF2B5EF4-FFF2-40B4-BE49-F238E27FC236}">
                <a16:creationId xmlns:a16="http://schemas.microsoft.com/office/drawing/2014/main" id="{D297672A-3478-944A-E56F-5AD4C5DC560F}"/>
              </a:ext>
            </a:extLst>
          </p:cNvPr>
          <p:cNvSpPr/>
          <p:nvPr/>
        </p:nvSpPr>
        <p:spPr>
          <a:xfrm>
            <a:off x="4014761" y="2632939"/>
            <a:ext cx="1373888" cy="1152281"/>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225"/>
              </a:spcAft>
              <a:buClrTx/>
              <a:buSzPct val="100000"/>
              <a:buFontTx/>
              <a:buNone/>
              <a:tabLst/>
              <a:defRPr/>
            </a:pPr>
            <a:r>
              <a:rPr kumimoji="0" lang="en-GB" sz="5000" b="0" i="0" u="none" strike="noStrike" kern="1200" cap="none" spc="0" normalizeH="0" baseline="0" noProof="0">
                <a:ln>
                  <a:noFill/>
                </a:ln>
                <a:solidFill>
                  <a:srgbClr val="005AFF"/>
                </a:solidFill>
                <a:effectLst/>
                <a:uLnTx/>
                <a:uFillTx/>
                <a:latin typeface="Nokia Pure Text Light"/>
                <a:ea typeface="+mn-ea"/>
                <a:cs typeface="+mn-cs"/>
              </a:rPr>
              <a:t>6G</a:t>
            </a:r>
          </a:p>
        </p:txBody>
      </p:sp>
      <p:pic>
        <p:nvPicPr>
          <p:cNvPr id="110" name="Graphic 109">
            <a:extLst>
              <a:ext uri="{FF2B5EF4-FFF2-40B4-BE49-F238E27FC236}">
                <a16:creationId xmlns:a16="http://schemas.microsoft.com/office/drawing/2014/main" id="{6C5F794A-FE21-BC66-55C6-E74D5FA7EFB2}"/>
              </a:ext>
            </a:extLst>
          </p:cNvPr>
          <p:cNvPicPr>
            <a:picLocks noChangeAspect="1"/>
          </p:cNvPicPr>
          <p:nvPr/>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3400895" y="2701361"/>
            <a:ext cx="380264" cy="380264"/>
          </a:xfrm>
          <a:prstGeom prst="rect">
            <a:avLst/>
          </a:prstGeom>
        </p:spPr>
      </p:pic>
      <p:sp>
        <p:nvSpPr>
          <p:cNvPr id="2" name="Footer Placeholder 1">
            <a:extLst>
              <a:ext uri="{FF2B5EF4-FFF2-40B4-BE49-F238E27FC236}">
                <a16:creationId xmlns:a16="http://schemas.microsoft.com/office/drawing/2014/main" id="{CC5077AA-B62D-C2A5-915F-524B1D0C6785}"/>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4190021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2F5ED7-18AB-BAED-EB59-84AE0AA1CB8A}"/>
              </a:ext>
            </a:extLst>
          </p:cNvPr>
          <p:cNvSpPr>
            <a:spLocks noGrp="1"/>
          </p:cNvSpPr>
          <p:nvPr>
            <p:ph type="body" sz="quarter" idx="11"/>
          </p:nvPr>
        </p:nvSpPr>
        <p:spPr/>
        <p:txBody>
          <a:bodyPr/>
          <a:lstStyle/>
          <a:p>
            <a:r>
              <a:rPr lang="en-GB" dirty="0"/>
              <a:t>Agenda</a:t>
            </a:r>
            <a:endParaRPr lang="en-US" dirty="0"/>
          </a:p>
        </p:txBody>
      </p:sp>
      <p:sp>
        <p:nvSpPr>
          <p:cNvPr id="4" name="Rectangle 3">
            <a:extLst>
              <a:ext uri="{FF2B5EF4-FFF2-40B4-BE49-F238E27FC236}">
                <a16:creationId xmlns:a16="http://schemas.microsoft.com/office/drawing/2014/main" id="{60C9EAEB-DF3D-A380-EF9F-3BB27AD95118}"/>
              </a:ext>
            </a:extLst>
          </p:cNvPr>
          <p:cNvSpPr/>
          <p:nvPr/>
        </p:nvSpPr>
        <p:spPr>
          <a:xfrm>
            <a:off x="3758829" y="1724853"/>
            <a:ext cx="4726494" cy="2338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FFFFFF"/>
                </a:solidFill>
                <a:latin typeface="Nokia Pure Headline Light" panose="020B0304020202020204" pitchFamily="34" charset="0"/>
              </a:rPr>
              <a:t>Opportunity of the metaverses and  requirement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FFFFFF"/>
                </a:solidFill>
                <a:latin typeface="Nokia Pure Headline Light" panose="020B0304020202020204" pitchFamily="34" charset="0"/>
              </a:rPr>
              <a:t>6G timeline and focu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AU" sz="2000" dirty="0">
                <a:solidFill>
                  <a:srgbClr val="001135"/>
                </a:solidFill>
                <a:latin typeface="Nokia Pure Headline Light" panose="020B0304020202020204" pitchFamily="34" charset="0"/>
              </a:rPr>
              <a:t>Six key technology area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GB"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6G collaborative advantage</a:t>
            </a:r>
          </a:p>
        </p:txBody>
      </p:sp>
      <p:sp>
        <p:nvSpPr>
          <p:cNvPr id="5" name="Footer Placeholder 1">
            <a:extLst>
              <a:ext uri="{FF2B5EF4-FFF2-40B4-BE49-F238E27FC236}">
                <a16:creationId xmlns:a16="http://schemas.microsoft.com/office/drawing/2014/main" id="{C3AF372E-CEBB-6745-6AFD-A770BF0AF258}"/>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23558005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9F3BFA-7FD6-11BE-D639-61839680A3DE}"/>
              </a:ext>
            </a:extLst>
          </p:cNvPr>
          <p:cNvSpPr>
            <a:spLocks noGrp="1"/>
          </p:cNvSpPr>
          <p:nvPr>
            <p:ph type="body" sz="quarter" idx="12"/>
          </p:nvPr>
        </p:nvSpPr>
        <p:spPr/>
        <p:txBody>
          <a:bodyPr/>
          <a:lstStyle/>
          <a:p>
            <a:r>
              <a:rPr lang="en-US" dirty="0"/>
              <a:t>Bringing future to life</a:t>
            </a:r>
          </a:p>
        </p:txBody>
      </p:sp>
      <p:sp>
        <p:nvSpPr>
          <p:cNvPr id="4" name="Text Placeholder 3">
            <a:extLst>
              <a:ext uri="{FF2B5EF4-FFF2-40B4-BE49-F238E27FC236}">
                <a16:creationId xmlns:a16="http://schemas.microsoft.com/office/drawing/2014/main" id="{4CB76B6D-C19E-759C-12BB-62E370B36EDA}"/>
              </a:ext>
            </a:extLst>
          </p:cNvPr>
          <p:cNvSpPr>
            <a:spLocks noGrp="1"/>
          </p:cNvSpPr>
          <p:nvPr>
            <p:ph type="body" sz="quarter" idx="13"/>
          </p:nvPr>
        </p:nvSpPr>
        <p:spPr>
          <a:prstGeom prst="rect">
            <a:avLst/>
          </a:prstGeom>
        </p:spPr>
        <p:txBody>
          <a:bodyPr/>
          <a:lstStyle/>
          <a:p>
            <a:r>
              <a:rPr lang="en-US" dirty="0"/>
              <a:t>Six key technology areas for the 6G essential infrastructure</a:t>
            </a:r>
          </a:p>
        </p:txBody>
      </p:sp>
      <p:grpSp>
        <p:nvGrpSpPr>
          <p:cNvPr id="42" name="Group 41">
            <a:extLst>
              <a:ext uri="{FF2B5EF4-FFF2-40B4-BE49-F238E27FC236}">
                <a16:creationId xmlns:a16="http://schemas.microsoft.com/office/drawing/2014/main" id="{576D6015-A012-00F7-453C-791E3015A56F}"/>
              </a:ext>
            </a:extLst>
          </p:cNvPr>
          <p:cNvGrpSpPr/>
          <p:nvPr/>
        </p:nvGrpSpPr>
        <p:grpSpPr>
          <a:xfrm>
            <a:off x="2619791" y="1184199"/>
            <a:ext cx="3619077" cy="3553575"/>
            <a:chOff x="2619791" y="1184199"/>
            <a:chExt cx="3619077" cy="3553575"/>
          </a:xfrm>
        </p:grpSpPr>
        <p:grpSp>
          <p:nvGrpSpPr>
            <p:cNvPr id="6" name="Group 5">
              <a:extLst>
                <a:ext uri="{FF2B5EF4-FFF2-40B4-BE49-F238E27FC236}">
                  <a16:creationId xmlns:a16="http://schemas.microsoft.com/office/drawing/2014/main" id="{5CA51219-0672-D9EF-F9D1-CD1591B447F8}"/>
                </a:ext>
              </a:extLst>
            </p:cNvPr>
            <p:cNvGrpSpPr>
              <a:grpSpLocks noChangeAspect="1"/>
            </p:cNvGrpSpPr>
            <p:nvPr/>
          </p:nvGrpSpPr>
          <p:grpSpPr>
            <a:xfrm>
              <a:off x="2619791" y="1184199"/>
              <a:ext cx="3619077" cy="3553575"/>
              <a:chOff x="2619791" y="1184199"/>
              <a:chExt cx="3619077" cy="3553575"/>
            </a:xfrm>
          </p:grpSpPr>
          <p:sp>
            <p:nvSpPr>
              <p:cNvPr id="106" name="Hexagon 105">
                <a:extLst>
                  <a:ext uri="{FF2B5EF4-FFF2-40B4-BE49-F238E27FC236}">
                    <a16:creationId xmlns:a16="http://schemas.microsoft.com/office/drawing/2014/main" id="{17928204-AF9E-6D19-9488-25955F33383C}"/>
                  </a:ext>
                </a:extLst>
              </p:cNvPr>
              <p:cNvSpPr/>
              <p:nvPr/>
            </p:nvSpPr>
            <p:spPr>
              <a:xfrm>
                <a:off x="2619791" y="1789724"/>
                <a:ext cx="1373887" cy="1152281"/>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107" name="Rectangle 106">
                <a:extLst>
                  <a:ext uri="{FF2B5EF4-FFF2-40B4-BE49-F238E27FC236}">
                    <a16:creationId xmlns:a16="http://schemas.microsoft.com/office/drawing/2014/main" id="{A3E72E53-442C-7371-EC14-FE5B69187A06}"/>
                  </a:ext>
                </a:extLst>
              </p:cNvPr>
              <p:cNvSpPr/>
              <p:nvPr/>
            </p:nvSpPr>
            <p:spPr>
              <a:xfrm>
                <a:off x="2704141" y="2076661"/>
                <a:ext cx="1205186" cy="3153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Security, trust </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nd privacy</a:t>
                </a:r>
              </a:p>
            </p:txBody>
          </p:sp>
          <p:grpSp>
            <p:nvGrpSpPr>
              <p:cNvPr id="108" name="Group 107">
                <a:extLst>
                  <a:ext uri="{FF2B5EF4-FFF2-40B4-BE49-F238E27FC236}">
                    <a16:creationId xmlns:a16="http://schemas.microsoft.com/office/drawing/2014/main" id="{72DAF26B-EF7B-0620-0C38-23977B1A91E3}"/>
                  </a:ext>
                </a:extLst>
              </p:cNvPr>
              <p:cNvGrpSpPr/>
              <p:nvPr/>
            </p:nvGrpSpPr>
            <p:grpSpPr>
              <a:xfrm>
                <a:off x="3743243" y="1184199"/>
                <a:ext cx="1373888" cy="1152281"/>
                <a:chOff x="3720946" y="1071109"/>
                <a:chExt cx="1338549" cy="1134000"/>
              </a:xfrm>
            </p:grpSpPr>
            <p:sp>
              <p:nvSpPr>
                <p:cNvPr id="109" name="Hexagon 108">
                  <a:extLst>
                    <a:ext uri="{FF2B5EF4-FFF2-40B4-BE49-F238E27FC236}">
                      <a16:creationId xmlns:a16="http://schemas.microsoft.com/office/drawing/2014/main" id="{4758F4EA-5637-4C56-1D0F-43BEFFB28AFE}"/>
                    </a:ext>
                  </a:extLst>
                </p:cNvPr>
                <p:cNvSpPr/>
                <p:nvPr/>
              </p:nvSpPr>
              <p:spPr>
                <a:xfrm>
                  <a:off x="3720946" y="1071109"/>
                  <a:ext cx="1338549" cy="113400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110" name="Rectangle 109">
                  <a:extLst>
                    <a:ext uri="{FF2B5EF4-FFF2-40B4-BE49-F238E27FC236}">
                      <a16:creationId xmlns:a16="http://schemas.microsoft.com/office/drawing/2014/main" id="{9F5B6A13-C775-EBE5-1492-041BD517CAC1}"/>
                    </a:ext>
                  </a:extLst>
                </p:cNvPr>
                <p:cNvSpPr/>
                <p:nvPr/>
              </p:nvSpPr>
              <p:spPr>
                <a:xfrm>
                  <a:off x="3803127" y="1320066"/>
                  <a:ext cx="1174187" cy="3115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Spectrum</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technologies</a:t>
                  </a:r>
                </a:p>
              </p:txBody>
            </p:sp>
          </p:grpSp>
          <p:grpSp>
            <p:nvGrpSpPr>
              <p:cNvPr id="111" name="Group 110">
                <a:extLst>
                  <a:ext uri="{FF2B5EF4-FFF2-40B4-BE49-F238E27FC236}">
                    <a16:creationId xmlns:a16="http://schemas.microsoft.com/office/drawing/2014/main" id="{E47ACD16-BAEF-D3A4-3DF3-A52604A03794}"/>
                  </a:ext>
                </a:extLst>
              </p:cNvPr>
              <p:cNvGrpSpPr/>
              <p:nvPr/>
            </p:nvGrpSpPr>
            <p:grpSpPr>
              <a:xfrm>
                <a:off x="3749731" y="2386632"/>
                <a:ext cx="1373888" cy="1178902"/>
                <a:chOff x="3708538" y="2148352"/>
                <a:chExt cx="1338549" cy="1160199"/>
              </a:xfrm>
            </p:grpSpPr>
            <p:sp>
              <p:nvSpPr>
                <p:cNvPr id="112" name="Hexagon 111">
                  <a:extLst>
                    <a:ext uri="{FF2B5EF4-FFF2-40B4-BE49-F238E27FC236}">
                      <a16:creationId xmlns:a16="http://schemas.microsoft.com/office/drawing/2014/main" id="{BED61426-37A8-4A09-92F1-3A3BCC055B1F}"/>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113" name="Rectangle 112">
                  <a:extLst>
                    <a:ext uri="{FF2B5EF4-FFF2-40B4-BE49-F238E27FC236}">
                      <a16:creationId xmlns:a16="http://schemas.microsoft.com/office/drawing/2014/main" id="{2ACC8452-14DF-6FD9-7752-312D582D8727}"/>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srgbClr val="FFFFFF"/>
                      </a:solidFill>
                      <a:effectLst/>
                      <a:uLnTx/>
                      <a:uFillTx/>
                      <a:latin typeface="Nokia Pure Text Light"/>
                      <a:ea typeface="+mn-ea"/>
                      <a:cs typeface="+mn-cs"/>
                    </a:rPr>
                    <a:t>6G</a:t>
                  </a:r>
                </a:p>
              </p:txBody>
            </p:sp>
          </p:grpSp>
          <p:grpSp>
            <p:nvGrpSpPr>
              <p:cNvPr id="114" name="Group 113">
                <a:extLst>
                  <a:ext uri="{FF2B5EF4-FFF2-40B4-BE49-F238E27FC236}">
                    <a16:creationId xmlns:a16="http://schemas.microsoft.com/office/drawing/2014/main" id="{E1341C61-1D44-80D3-4893-8C39B19E73F5}"/>
                  </a:ext>
                </a:extLst>
              </p:cNvPr>
              <p:cNvGrpSpPr/>
              <p:nvPr/>
            </p:nvGrpSpPr>
            <p:grpSpPr>
              <a:xfrm>
                <a:off x="4864980" y="1797344"/>
                <a:ext cx="1373888" cy="1152281"/>
                <a:chOff x="4700550" y="1630052"/>
                <a:chExt cx="1338549" cy="1134000"/>
              </a:xfrm>
            </p:grpSpPr>
            <p:sp>
              <p:nvSpPr>
                <p:cNvPr id="115" name="Hexagon 114">
                  <a:extLst>
                    <a:ext uri="{FF2B5EF4-FFF2-40B4-BE49-F238E27FC236}">
                      <a16:creationId xmlns:a16="http://schemas.microsoft.com/office/drawing/2014/main" id="{8660022E-AEAA-4E7C-B577-91258F31B2EC}"/>
                    </a:ext>
                  </a:extLst>
                </p:cNvPr>
                <p:cNvSpPr/>
                <p:nvPr/>
              </p:nvSpPr>
              <p:spPr>
                <a:xfrm>
                  <a:off x="4700550" y="1630052"/>
                  <a:ext cx="1338549" cy="113400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116" name="Rectangle 115">
                  <a:extLst>
                    <a:ext uri="{FF2B5EF4-FFF2-40B4-BE49-F238E27FC236}">
                      <a16:creationId xmlns:a16="http://schemas.microsoft.com/office/drawing/2014/main" id="{B87054D9-939B-C182-20C3-3181D9D9679F}"/>
                    </a:ext>
                  </a:extLst>
                </p:cNvPr>
                <p:cNvSpPr/>
                <p:nvPr/>
              </p:nvSpPr>
              <p:spPr>
                <a:xfrm>
                  <a:off x="4759553" y="1904938"/>
                  <a:ext cx="1174187" cy="3172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I-native air</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interface</a:t>
                  </a:r>
                </a:p>
              </p:txBody>
            </p:sp>
          </p:grpSp>
          <p:grpSp>
            <p:nvGrpSpPr>
              <p:cNvPr id="117" name="Group 116">
                <a:extLst>
                  <a:ext uri="{FF2B5EF4-FFF2-40B4-BE49-F238E27FC236}">
                    <a16:creationId xmlns:a16="http://schemas.microsoft.com/office/drawing/2014/main" id="{0E6111BE-F237-5BC8-87FF-605E0BE00BC2}"/>
                  </a:ext>
                </a:extLst>
              </p:cNvPr>
              <p:cNvGrpSpPr/>
              <p:nvPr/>
            </p:nvGrpSpPr>
            <p:grpSpPr>
              <a:xfrm>
                <a:off x="4864980" y="2981066"/>
                <a:ext cx="1373888" cy="1152281"/>
                <a:chOff x="4693336" y="2676940"/>
                <a:chExt cx="1338549" cy="1134000"/>
              </a:xfrm>
            </p:grpSpPr>
            <p:sp>
              <p:nvSpPr>
                <p:cNvPr id="118" name="Hexagon 117">
                  <a:extLst>
                    <a:ext uri="{FF2B5EF4-FFF2-40B4-BE49-F238E27FC236}">
                      <a16:creationId xmlns:a16="http://schemas.microsoft.com/office/drawing/2014/main" id="{964FD5FD-87F1-3AAC-0575-7091852964BD}"/>
                    </a:ext>
                  </a:extLst>
                </p:cNvPr>
                <p:cNvSpPr/>
                <p:nvPr/>
              </p:nvSpPr>
              <p:spPr>
                <a:xfrm>
                  <a:off x="4693336" y="2676940"/>
                  <a:ext cx="1338549" cy="113400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119" name="Rectangle 118">
                  <a:extLst>
                    <a:ext uri="{FF2B5EF4-FFF2-40B4-BE49-F238E27FC236}">
                      <a16:creationId xmlns:a16="http://schemas.microsoft.com/office/drawing/2014/main" id="{628FF4B6-90CA-A99C-9B9F-6BD80A44C781}"/>
                    </a:ext>
                  </a:extLst>
                </p:cNvPr>
                <p:cNvSpPr/>
                <p:nvPr/>
              </p:nvSpPr>
              <p:spPr>
                <a:xfrm>
                  <a:off x="4782731" y="2929557"/>
                  <a:ext cx="1174187" cy="288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Network as</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 sensor</a:t>
                  </a:r>
                </a:p>
              </p:txBody>
            </p:sp>
          </p:grpSp>
          <p:grpSp>
            <p:nvGrpSpPr>
              <p:cNvPr id="120" name="Group 119">
                <a:extLst>
                  <a:ext uri="{FF2B5EF4-FFF2-40B4-BE49-F238E27FC236}">
                    <a16:creationId xmlns:a16="http://schemas.microsoft.com/office/drawing/2014/main" id="{59D166D3-4740-C596-A9DF-CB08527FDC18}"/>
                  </a:ext>
                </a:extLst>
              </p:cNvPr>
              <p:cNvGrpSpPr/>
              <p:nvPr/>
            </p:nvGrpSpPr>
            <p:grpSpPr>
              <a:xfrm>
                <a:off x="3743243" y="3585493"/>
                <a:ext cx="1373888" cy="1152281"/>
                <a:chOff x="3743096" y="3184971"/>
                <a:chExt cx="1338549" cy="1134000"/>
              </a:xfrm>
            </p:grpSpPr>
            <p:sp>
              <p:nvSpPr>
                <p:cNvPr id="121" name="Hexagon 120">
                  <a:extLst>
                    <a:ext uri="{FF2B5EF4-FFF2-40B4-BE49-F238E27FC236}">
                      <a16:creationId xmlns:a16="http://schemas.microsoft.com/office/drawing/2014/main" id="{BC7EE8FE-E4C8-816E-8C81-64BCF705D3E2}"/>
                    </a:ext>
                  </a:extLst>
                </p:cNvPr>
                <p:cNvSpPr/>
                <p:nvPr/>
              </p:nvSpPr>
              <p:spPr>
                <a:xfrm>
                  <a:off x="3743096" y="3184971"/>
                  <a:ext cx="1338549" cy="113400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122" name="Rectangle 121">
                  <a:extLst>
                    <a:ext uri="{FF2B5EF4-FFF2-40B4-BE49-F238E27FC236}">
                      <a16:creationId xmlns:a16="http://schemas.microsoft.com/office/drawing/2014/main" id="{E888462A-8D6B-58EF-28FB-D789398E5375}"/>
                    </a:ext>
                  </a:extLst>
                </p:cNvPr>
                <p:cNvSpPr/>
                <p:nvPr/>
              </p:nvSpPr>
              <p:spPr>
                <a:xfrm>
                  <a:off x="3825277" y="3370249"/>
                  <a:ext cx="1174187" cy="3499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Extreme</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connectivity</a:t>
                  </a:r>
                </a:p>
              </p:txBody>
            </p:sp>
          </p:grpSp>
          <p:grpSp>
            <p:nvGrpSpPr>
              <p:cNvPr id="123" name="Group 122">
                <a:extLst>
                  <a:ext uri="{FF2B5EF4-FFF2-40B4-BE49-F238E27FC236}">
                    <a16:creationId xmlns:a16="http://schemas.microsoft.com/office/drawing/2014/main" id="{F04F03C5-3E53-4CB2-D303-CFDE57F492B9}"/>
                  </a:ext>
                </a:extLst>
              </p:cNvPr>
              <p:cNvGrpSpPr/>
              <p:nvPr/>
            </p:nvGrpSpPr>
            <p:grpSpPr>
              <a:xfrm>
                <a:off x="2619791" y="2981066"/>
                <a:ext cx="1373888" cy="1152281"/>
                <a:chOff x="2755731" y="2670111"/>
                <a:chExt cx="1338549" cy="1134000"/>
              </a:xfrm>
            </p:grpSpPr>
            <p:sp>
              <p:nvSpPr>
                <p:cNvPr id="124" name="Hexagon 123">
                  <a:extLst>
                    <a:ext uri="{FF2B5EF4-FFF2-40B4-BE49-F238E27FC236}">
                      <a16:creationId xmlns:a16="http://schemas.microsoft.com/office/drawing/2014/main" id="{F8C63F71-C7F8-BB65-3A80-2391CA918FD1}"/>
                    </a:ext>
                  </a:extLst>
                </p:cNvPr>
                <p:cNvSpPr/>
                <p:nvPr/>
              </p:nvSpPr>
              <p:spPr>
                <a:xfrm>
                  <a:off x="2755731" y="2670111"/>
                  <a:ext cx="1338549" cy="113400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125" name="Rectangle 124">
                  <a:extLst>
                    <a:ext uri="{FF2B5EF4-FFF2-40B4-BE49-F238E27FC236}">
                      <a16:creationId xmlns:a16="http://schemas.microsoft.com/office/drawing/2014/main" id="{3CF2034F-7E26-620F-C389-B579C35463CF}"/>
                    </a:ext>
                  </a:extLst>
                </p:cNvPr>
                <p:cNvSpPr/>
                <p:nvPr/>
              </p:nvSpPr>
              <p:spPr>
                <a:xfrm>
                  <a:off x="2797861" y="2921128"/>
                  <a:ext cx="1254288" cy="441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Cognitive, </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utomated &amp; </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specialized</a:t>
                  </a:r>
                  <a:b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900" b="1"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rchitectures</a:t>
                  </a:r>
                </a:p>
              </p:txBody>
            </p:sp>
          </p:grpSp>
          <p:pic>
            <p:nvPicPr>
              <p:cNvPr id="128" name="Graphic 127">
                <a:extLst>
                  <a:ext uri="{FF2B5EF4-FFF2-40B4-BE49-F238E27FC236}">
                    <a16:creationId xmlns:a16="http://schemas.microsoft.com/office/drawing/2014/main" id="{B021467B-3B73-FEFA-914D-F0CD0B093E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86810" y="1817433"/>
                <a:ext cx="486754" cy="376128"/>
              </a:xfrm>
              <a:prstGeom prst="rect">
                <a:avLst/>
              </a:prstGeom>
            </p:spPr>
          </p:pic>
        </p:grpSp>
        <p:pic>
          <p:nvPicPr>
            <p:cNvPr id="7" name="Graphic 6">
              <a:extLst>
                <a:ext uri="{FF2B5EF4-FFF2-40B4-BE49-F238E27FC236}">
                  <a16:creationId xmlns:a16="http://schemas.microsoft.com/office/drawing/2014/main" id="{A51C2961-654E-9CA6-BA39-74566E66A4C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92929" y="3530409"/>
              <a:ext cx="642303" cy="642303"/>
            </a:xfrm>
            <a:prstGeom prst="rect">
              <a:avLst/>
            </a:prstGeom>
          </p:spPr>
        </p:pic>
        <p:grpSp>
          <p:nvGrpSpPr>
            <p:cNvPr id="9" name="Graphic 7">
              <a:extLst>
                <a:ext uri="{FF2B5EF4-FFF2-40B4-BE49-F238E27FC236}">
                  <a16:creationId xmlns:a16="http://schemas.microsoft.com/office/drawing/2014/main" id="{51A12297-A49B-0E46-C191-5BAF13BB64D6}"/>
                </a:ext>
              </a:extLst>
            </p:cNvPr>
            <p:cNvGrpSpPr>
              <a:grpSpLocks noChangeAspect="1"/>
            </p:cNvGrpSpPr>
            <p:nvPr/>
          </p:nvGrpSpPr>
          <p:grpSpPr>
            <a:xfrm>
              <a:off x="4222341" y="4161633"/>
              <a:ext cx="428667" cy="432000"/>
              <a:chOff x="4113029" y="4111365"/>
              <a:chExt cx="555552" cy="559872"/>
            </a:xfrm>
            <a:solidFill>
              <a:schemeClr val="accent2"/>
            </a:solidFill>
          </p:grpSpPr>
          <p:sp>
            <p:nvSpPr>
              <p:cNvPr id="10" name="Freeform: Shape 9">
                <a:extLst>
                  <a:ext uri="{FF2B5EF4-FFF2-40B4-BE49-F238E27FC236}">
                    <a16:creationId xmlns:a16="http://schemas.microsoft.com/office/drawing/2014/main" id="{F194A606-B6A4-23E1-F306-B8100EFDE832}"/>
                  </a:ext>
                </a:extLst>
              </p:cNvPr>
              <p:cNvSpPr/>
              <p:nvPr/>
            </p:nvSpPr>
            <p:spPr>
              <a:xfrm>
                <a:off x="4141109" y="4142469"/>
                <a:ext cx="497663" cy="497664"/>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1" name="Freeform: Shape 10">
                <a:extLst>
                  <a:ext uri="{FF2B5EF4-FFF2-40B4-BE49-F238E27FC236}">
                    <a16:creationId xmlns:a16="http://schemas.microsoft.com/office/drawing/2014/main" id="{B6586536-22C4-A825-E21A-5BCE460C4826}"/>
                  </a:ext>
                </a:extLst>
              </p:cNvPr>
              <p:cNvSpPr/>
              <p:nvPr/>
            </p:nvSpPr>
            <p:spPr>
              <a:xfrm>
                <a:off x="4358405" y="4111365"/>
                <a:ext cx="61343" cy="63071"/>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2" name="Freeform: Shape 11">
                <a:extLst>
                  <a:ext uri="{FF2B5EF4-FFF2-40B4-BE49-F238E27FC236}">
                    <a16:creationId xmlns:a16="http://schemas.microsoft.com/office/drawing/2014/main" id="{220B897C-CF19-F23D-7069-0E35158E1858}"/>
                  </a:ext>
                </a:extLst>
              </p:cNvPr>
              <p:cNvSpPr/>
              <p:nvPr/>
            </p:nvSpPr>
            <p:spPr>
              <a:xfrm>
                <a:off x="4358405" y="4608165"/>
                <a:ext cx="61343" cy="63072"/>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3" name="Freeform: Shape 12">
                <a:extLst>
                  <a:ext uri="{FF2B5EF4-FFF2-40B4-BE49-F238E27FC236}">
                    <a16:creationId xmlns:a16="http://schemas.microsoft.com/office/drawing/2014/main" id="{D91B6DA3-ECA4-DE86-6760-9799C3A610EF}"/>
                  </a:ext>
                </a:extLst>
              </p:cNvPr>
              <p:cNvSpPr/>
              <p:nvPr/>
            </p:nvSpPr>
            <p:spPr>
              <a:xfrm>
                <a:off x="4443077" y="4360629"/>
                <a:ext cx="61343" cy="63071"/>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4" name="Freeform: Shape 13">
                <a:extLst>
                  <a:ext uri="{FF2B5EF4-FFF2-40B4-BE49-F238E27FC236}">
                    <a16:creationId xmlns:a16="http://schemas.microsoft.com/office/drawing/2014/main" id="{931428BF-609D-E5D1-62A2-1B8EA0A7E2D4}"/>
                  </a:ext>
                </a:extLst>
              </p:cNvPr>
              <p:cNvSpPr/>
              <p:nvPr/>
            </p:nvSpPr>
            <p:spPr>
              <a:xfrm>
                <a:off x="4272869" y="4360629"/>
                <a:ext cx="61343" cy="63071"/>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5" name="Freeform: Shape 14">
                <a:extLst>
                  <a:ext uri="{FF2B5EF4-FFF2-40B4-BE49-F238E27FC236}">
                    <a16:creationId xmlns:a16="http://schemas.microsoft.com/office/drawing/2014/main" id="{5E717201-7CDA-1A4B-6D45-BB9F87FCAC5B}"/>
                  </a:ext>
                </a:extLst>
              </p:cNvPr>
              <p:cNvSpPr/>
              <p:nvPr/>
            </p:nvSpPr>
            <p:spPr>
              <a:xfrm>
                <a:off x="4607237" y="4360629"/>
                <a:ext cx="61343" cy="63071"/>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16" name="Freeform: Shape 15">
                <a:extLst>
                  <a:ext uri="{FF2B5EF4-FFF2-40B4-BE49-F238E27FC236}">
                    <a16:creationId xmlns:a16="http://schemas.microsoft.com/office/drawing/2014/main" id="{FEC1AF78-B87C-0D27-13C8-36600050FC41}"/>
                  </a:ext>
                </a:extLst>
              </p:cNvPr>
              <p:cNvSpPr/>
              <p:nvPr/>
            </p:nvSpPr>
            <p:spPr>
              <a:xfrm>
                <a:off x="4113029" y="4360629"/>
                <a:ext cx="61344" cy="63071"/>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grpFill/>
              <a:ln w="15875"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sp>
          <p:nvSpPr>
            <p:cNvPr id="20" name="Freeform: Shape 19">
              <a:extLst>
                <a:ext uri="{FF2B5EF4-FFF2-40B4-BE49-F238E27FC236}">
                  <a16:creationId xmlns:a16="http://schemas.microsoft.com/office/drawing/2014/main" id="{D6D326B1-7B9E-6921-45B6-49C5E58E9CC1}"/>
                </a:ext>
              </a:extLst>
            </p:cNvPr>
            <p:cNvSpPr>
              <a:spLocks noChangeAspect="1"/>
            </p:cNvSpPr>
            <p:nvPr/>
          </p:nvSpPr>
          <p:spPr>
            <a:xfrm>
              <a:off x="3158156" y="2469244"/>
              <a:ext cx="286084" cy="318432"/>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13652"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nvGrpSpPr>
            <p:cNvPr id="24" name="Graphic 20">
              <a:extLst>
                <a:ext uri="{FF2B5EF4-FFF2-40B4-BE49-F238E27FC236}">
                  <a16:creationId xmlns:a16="http://schemas.microsoft.com/office/drawing/2014/main" id="{E6C8C4EB-E142-4B4C-AAAD-CDF8BFAF6202}"/>
                </a:ext>
              </a:extLst>
            </p:cNvPr>
            <p:cNvGrpSpPr>
              <a:grpSpLocks noChangeAspect="1"/>
            </p:cNvGrpSpPr>
            <p:nvPr/>
          </p:nvGrpSpPr>
          <p:grpSpPr>
            <a:xfrm>
              <a:off x="5389316" y="2466460"/>
              <a:ext cx="325215" cy="324000"/>
              <a:chOff x="5414442" y="2476835"/>
              <a:chExt cx="274277" cy="273252"/>
            </a:xfrm>
            <a:noFill/>
          </p:grpSpPr>
          <p:sp>
            <p:nvSpPr>
              <p:cNvPr id="25" name="Freeform: Shape 24">
                <a:extLst>
                  <a:ext uri="{FF2B5EF4-FFF2-40B4-BE49-F238E27FC236}">
                    <a16:creationId xmlns:a16="http://schemas.microsoft.com/office/drawing/2014/main" id="{37C0F542-2482-F17B-0C84-FD4ABDCDB596}"/>
                  </a:ext>
                </a:extLst>
              </p:cNvPr>
              <p:cNvSpPr/>
              <p:nvPr/>
            </p:nvSpPr>
            <p:spPr>
              <a:xfrm>
                <a:off x="5584070" y="2476835"/>
                <a:ext cx="104649" cy="104649"/>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13652"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26" name="Freeform: Shape 25">
                <a:extLst>
                  <a:ext uri="{FF2B5EF4-FFF2-40B4-BE49-F238E27FC236}">
                    <a16:creationId xmlns:a16="http://schemas.microsoft.com/office/drawing/2014/main" id="{5B2907DE-6F66-0B75-D5E4-EE3B1F0C7127}"/>
                  </a:ext>
                </a:extLst>
              </p:cNvPr>
              <p:cNvSpPr/>
              <p:nvPr/>
            </p:nvSpPr>
            <p:spPr>
              <a:xfrm>
                <a:off x="5415126" y="2476835"/>
                <a:ext cx="136797" cy="177278"/>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13652"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27" name="Freeform: Shape 26">
                <a:extLst>
                  <a:ext uri="{FF2B5EF4-FFF2-40B4-BE49-F238E27FC236}">
                    <a16:creationId xmlns:a16="http://schemas.microsoft.com/office/drawing/2014/main" id="{3D9223A9-B185-78A9-F6BD-EAC4DE661B28}"/>
                  </a:ext>
                </a:extLst>
              </p:cNvPr>
              <p:cNvSpPr/>
              <p:nvPr/>
            </p:nvSpPr>
            <p:spPr>
              <a:xfrm>
                <a:off x="5414442" y="2613632"/>
                <a:ext cx="177620" cy="136455"/>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13652"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28" name="Freeform: Shape 27">
                <a:extLst>
                  <a:ext uri="{FF2B5EF4-FFF2-40B4-BE49-F238E27FC236}">
                    <a16:creationId xmlns:a16="http://schemas.microsoft.com/office/drawing/2014/main" id="{10204A7C-55E1-1E31-8E77-A24D8C2B7227}"/>
                  </a:ext>
                </a:extLst>
              </p:cNvPr>
              <p:cNvSpPr/>
              <p:nvPr/>
            </p:nvSpPr>
            <p:spPr>
              <a:xfrm>
                <a:off x="5551923" y="2573150"/>
                <a:ext cx="136797" cy="176594"/>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13652"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nvGrpSpPr>
            <p:cNvPr id="41" name="Group 40">
              <a:extLst>
                <a:ext uri="{FF2B5EF4-FFF2-40B4-BE49-F238E27FC236}">
                  <a16:creationId xmlns:a16="http://schemas.microsoft.com/office/drawing/2014/main" id="{8F269F0C-1DF8-6B0C-6A7E-F070293EAEE7}"/>
                </a:ext>
              </a:extLst>
            </p:cNvPr>
            <p:cNvGrpSpPr>
              <a:grpSpLocks noChangeAspect="1"/>
            </p:cNvGrpSpPr>
            <p:nvPr/>
          </p:nvGrpSpPr>
          <p:grpSpPr>
            <a:xfrm>
              <a:off x="5299896" y="3591779"/>
              <a:ext cx="518864" cy="288000"/>
              <a:chOff x="5395333" y="3664169"/>
              <a:chExt cx="268635" cy="149108"/>
            </a:xfrm>
          </p:grpSpPr>
          <p:sp>
            <p:nvSpPr>
              <p:cNvPr id="32" name="Freeform: Shape 31">
                <a:extLst>
                  <a:ext uri="{FF2B5EF4-FFF2-40B4-BE49-F238E27FC236}">
                    <a16:creationId xmlns:a16="http://schemas.microsoft.com/office/drawing/2014/main" id="{F3AB4343-4C53-4082-63A8-6DBCD24EB6C1}"/>
                  </a:ext>
                </a:extLst>
              </p:cNvPr>
              <p:cNvSpPr/>
              <p:nvPr/>
            </p:nvSpPr>
            <p:spPr>
              <a:xfrm>
                <a:off x="5519391" y="3728463"/>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nvGrpSpPr>
              <p:cNvPr id="33" name="Graphic 28">
                <a:extLst>
                  <a:ext uri="{FF2B5EF4-FFF2-40B4-BE49-F238E27FC236}">
                    <a16:creationId xmlns:a16="http://schemas.microsoft.com/office/drawing/2014/main" id="{4C17706A-1EAB-5C7F-0BF6-7ACB7DBFAF29}"/>
                  </a:ext>
                </a:extLst>
              </p:cNvPr>
              <p:cNvGrpSpPr/>
              <p:nvPr/>
            </p:nvGrpSpPr>
            <p:grpSpPr>
              <a:xfrm>
                <a:off x="5573768" y="3664511"/>
                <a:ext cx="90200" cy="148766"/>
                <a:chOff x="5573768" y="3664511"/>
                <a:chExt cx="90200" cy="148766"/>
              </a:xfrm>
              <a:noFill/>
            </p:grpSpPr>
            <p:sp>
              <p:nvSpPr>
                <p:cNvPr id="34" name="Freeform: Shape 33">
                  <a:extLst>
                    <a:ext uri="{FF2B5EF4-FFF2-40B4-BE49-F238E27FC236}">
                      <a16:creationId xmlns:a16="http://schemas.microsoft.com/office/drawing/2014/main" id="{5EECD76C-BE51-6D27-E9D8-A1EBB8EE1193}"/>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35" name="Freeform: Shape 34">
                  <a:extLst>
                    <a:ext uri="{FF2B5EF4-FFF2-40B4-BE49-F238E27FC236}">
                      <a16:creationId xmlns:a16="http://schemas.microsoft.com/office/drawing/2014/main" id="{DDA56DB2-4D07-FEF0-6A1D-9965047A0C8B}"/>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36" name="Freeform: Shape 35">
                  <a:extLst>
                    <a:ext uri="{FF2B5EF4-FFF2-40B4-BE49-F238E27FC236}">
                      <a16:creationId xmlns:a16="http://schemas.microsoft.com/office/drawing/2014/main" id="{87896D11-F49C-59DC-130B-C3C82DD8E85E}"/>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nvGrpSpPr>
              <p:cNvPr id="37" name="Graphic 28">
                <a:extLst>
                  <a:ext uri="{FF2B5EF4-FFF2-40B4-BE49-F238E27FC236}">
                    <a16:creationId xmlns:a16="http://schemas.microsoft.com/office/drawing/2014/main" id="{298FE3B1-D8EB-F164-2075-2E0940BE9D1C}"/>
                  </a:ext>
                </a:extLst>
              </p:cNvPr>
              <p:cNvGrpSpPr/>
              <p:nvPr/>
            </p:nvGrpSpPr>
            <p:grpSpPr>
              <a:xfrm>
                <a:off x="5395333" y="3664169"/>
                <a:ext cx="90200" cy="148766"/>
                <a:chOff x="5395333" y="3664169"/>
                <a:chExt cx="90200" cy="148766"/>
              </a:xfrm>
              <a:noFill/>
            </p:grpSpPr>
            <p:sp>
              <p:nvSpPr>
                <p:cNvPr id="38" name="Freeform: Shape 37">
                  <a:extLst>
                    <a:ext uri="{FF2B5EF4-FFF2-40B4-BE49-F238E27FC236}">
                      <a16:creationId xmlns:a16="http://schemas.microsoft.com/office/drawing/2014/main" id="{22D358B1-CA4F-1EC1-F40E-21ADC271EC98}"/>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39" name="Freeform: Shape 38">
                  <a:extLst>
                    <a:ext uri="{FF2B5EF4-FFF2-40B4-BE49-F238E27FC236}">
                      <a16:creationId xmlns:a16="http://schemas.microsoft.com/office/drawing/2014/main" id="{8D25AB87-A332-B6C5-2E93-B0E2E502B2B9}"/>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0" name="Freeform: Shape 39">
                  <a:extLst>
                    <a:ext uri="{FF2B5EF4-FFF2-40B4-BE49-F238E27FC236}">
                      <a16:creationId xmlns:a16="http://schemas.microsoft.com/office/drawing/2014/main" id="{F7C43B3C-54F1-5252-8FF7-918E49E02334}"/>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13652"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grpSp>
      <p:sp>
        <p:nvSpPr>
          <p:cNvPr id="5" name="Footer Placeholder 1">
            <a:extLst>
              <a:ext uri="{FF2B5EF4-FFF2-40B4-BE49-F238E27FC236}">
                <a16:creationId xmlns:a16="http://schemas.microsoft.com/office/drawing/2014/main" id="{2DDE7257-2BD5-BE2F-EEB1-A15F39B6AF29}"/>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3137981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9F3BFA-7FD6-11BE-D639-61839680A3DE}"/>
              </a:ext>
            </a:extLst>
          </p:cNvPr>
          <p:cNvSpPr>
            <a:spLocks noGrp="1"/>
          </p:cNvSpPr>
          <p:nvPr>
            <p:ph type="body" sz="quarter" idx="12"/>
          </p:nvPr>
        </p:nvSpPr>
        <p:spPr/>
        <p:txBody>
          <a:bodyPr/>
          <a:lstStyle/>
          <a:p>
            <a:r>
              <a:rPr lang="en-US" dirty="0"/>
              <a:t>6G AI native air interface</a:t>
            </a:r>
          </a:p>
        </p:txBody>
      </p:sp>
      <p:sp>
        <p:nvSpPr>
          <p:cNvPr id="4" name="Text Placeholder 3">
            <a:extLst>
              <a:ext uri="{FF2B5EF4-FFF2-40B4-BE49-F238E27FC236}">
                <a16:creationId xmlns:a16="http://schemas.microsoft.com/office/drawing/2014/main" id="{4CB76B6D-C19E-759C-12BB-62E370B36EDA}"/>
              </a:ext>
            </a:extLst>
          </p:cNvPr>
          <p:cNvSpPr>
            <a:spLocks noGrp="1"/>
          </p:cNvSpPr>
          <p:nvPr>
            <p:ph type="body" sz="quarter" idx="13"/>
          </p:nvPr>
        </p:nvSpPr>
        <p:spPr/>
        <p:txBody>
          <a:bodyPr/>
          <a:lstStyle/>
          <a:p>
            <a:r>
              <a:rPr lang="en-US" dirty="0"/>
              <a:t>The roadmap to learning radios</a:t>
            </a:r>
          </a:p>
        </p:txBody>
      </p:sp>
      <p:sp>
        <p:nvSpPr>
          <p:cNvPr id="2" name="Footer Placeholder 1">
            <a:extLst>
              <a:ext uri="{FF2B5EF4-FFF2-40B4-BE49-F238E27FC236}">
                <a16:creationId xmlns:a16="http://schemas.microsoft.com/office/drawing/2014/main" id="{A2E3C08F-90EF-4F5C-898F-5EB16E1D7ABF}"/>
              </a:ext>
            </a:extLst>
          </p:cNvPr>
          <p:cNvSpPr>
            <a:spLocks noGrp="1"/>
          </p:cNvSpPr>
          <p:nvPr>
            <p:ph type="ftr" sz="quarter" idx="3"/>
          </p:nvPr>
        </p:nvSpPr>
        <p:spPr/>
        <p:txBody>
          <a:bodyPr/>
          <a:lstStyle/>
          <a:p>
            <a:r>
              <a:rPr lang="en-US"/>
              <a:t>Public</a:t>
            </a:r>
            <a:endParaRPr lang="en-US" dirty="0"/>
          </a:p>
        </p:txBody>
      </p:sp>
      <p:grpSp>
        <p:nvGrpSpPr>
          <p:cNvPr id="26" name="Group 25">
            <a:extLst>
              <a:ext uri="{FF2B5EF4-FFF2-40B4-BE49-F238E27FC236}">
                <a16:creationId xmlns:a16="http://schemas.microsoft.com/office/drawing/2014/main" id="{28ECE64D-8755-0AD3-0C42-1F907576286D}"/>
              </a:ext>
            </a:extLst>
          </p:cNvPr>
          <p:cNvGrpSpPr/>
          <p:nvPr/>
        </p:nvGrpSpPr>
        <p:grpSpPr>
          <a:xfrm>
            <a:off x="623935" y="1164883"/>
            <a:ext cx="8168271" cy="3249062"/>
            <a:chOff x="700135" y="1262397"/>
            <a:chExt cx="8168271" cy="3249062"/>
          </a:xfrm>
        </p:grpSpPr>
        <p:sp>
          <p:nvSpPr>
            <p:cNvPr id="481" name="Rectangle: Rounded Corners 3">
              <a:extLst>
                <a:ext uri="{FF2B5EF4-FFF2-40B4-BE49-F238E27FC236}">
                  <a16:creationId xmlns:a16="http://schemas.microsoft.com/office/drawing/2014/main" id="{C0B41171-50E0-DD27-CDCB-A9301635E2BB}"/>
                </a:ext>
              </a:extLst>
            </p:cNvPr>
            <p:cNvSpPr/>
            <p:nvPr/>
          </p:nvSpPr>
          <p:spPr>
            <a:xfrm>
              <a:off x="798115" y="1520540"/>
              <a:ext cx="1939046" cy="799394"/>
            </a:xfrm>
            <a:prstGeom prst="rect">
              <a:avLst/>
            </a:prstGeom>
            <a:solidFill>
              <a:schemeClr val="tx1">
                <a:alpha val="25263"/>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82" name="TextBox 481">
              <a:extLst>
                <a:ext uri="{FF2B5EF4-FFF2-40B4-BE49-F238E27FC236}">
                  <a16:creationId xmlns:a16="http://schemas.microsoft.com/office/drawing/2014/main" id="{7E56AF01-B94A-6CF0-554D-AF3F1E4D0370}"/>
                </a:ext>
              </a:extLst>
            </p:cNvPr>
            <p:cNvSpPr txBox="1"/>
            <p:nvPr/>
          </p:nvSpPr>
          <p:spPr>
            <a:xfrm>
              <a:off x="719368" y="1262397"/>
              <a:ext cx="998991"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Transmitter</a:t>
              </a:r>
            </a:p>
          </p:txBody>
        </p:sp>
        <p:sp>
          <p:nvSpPr>
            <p:cNvPr id="483" name="Rectangle: Rounded Corners 15">
              <a:extLst>
                <a:ext uri="{FF2B5EF4-FFF2-40B4-BE49-F238E27FC236}">
                  <a16:creationId xmlns:a16="http://schemas.microsoft.com/office/drawing/2014/main" id="{08407AB5-80C6-8F09-6143-55FCBA14FA86}"/>
                </a:ext>
              </a:extLst>
            </p:cNvPr>
            <p:cNvSpPr/>
            <p:nvPr/>
          </p:nvSpPr>
          <p:spPr>
            <a:xfrm>
              <a:off x="3056382" y="1520542"/>
              <a:ext cx="3097090" cy="799394"/>
            </a:xfrm>
            <a:prstGeom prst="rect">
              <a:avLst/>
            </a:prstGeom>
            <a:solidFill>
              <a:schemeClr val="tx1">
                <a:alpha val="2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nvGrpSpPr>
            <p:cNvPr id="484" name="Group 483">
              <a:extLst>
                <a:ext uri="{FF2B5EF4-FFF2-40B4-BE49-F238E27FC236}">
                  <a16:creationId xmlns:a16="http://schemas.microsoft.com/office/drawing/2014/main" id="{CECF911D-8B6D-6257-41E0-3078F7570C16}"/>
                </a:ext>
              </a:extLst>
            </p:cNvPr>
            <p:cNvGrpSpPr/>
            <p:nvPr/>
          </p:nvGrpSpPr>
          <p:grpSpPr>
            <a:xfrm>
              <a:off x="3150290" y="1616555"/>
              <a:ext cx="2874469" cy="640738"/>
              <a:chOff x="4411987" y="479773"/>
              <a:chExt cx="4119894" cy="951392"/>
            </a:xfrm>
          </p:grpSpPr>
          <p:sp>
            <p:nvSpPr>
              <p:cNvPr id="485" name="Rectangle: Rounded Corners 17">
                <a:extLst>
                  <a:ext uri="{FF2B5EF4-FFF2-40B4-BE49-F238E27FC236}">
                    <a16:creationId xmlns:a16="http://schemas.microsoft.com/office/drawing/2014/main" id="{879F1656-4BC3-0BE2-BC1E-26ED6A4B1547}"/>
                  </a:ext>
                </a:extLst>
              </p:cNvPr>
              <p:cNvSpPr/>
              <p:nvPr/>
            </p:nvSpPr>
            <p:spPr>
              <a:xfrm>
                <a:off x="4411987" y="479773"/>
                <a:ext cx="685042"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Sync.</a:t>
                </a:r>
              </a:p>
            </p:txBody>
          </p:sp>
          <p:sp>
            <p:nvSpPr>
              <p:cNvPr id="486" name="Rectangle: Rounded Corners 18">
                <a:extLst>
                  <a:ext uri="{FF2B5EF4-FFF2-40B4-BE49-F238E27FC236}">
                    <a16:creationId xmlns:a16="http://schemas.microsoft.com/office/drawing/2014/main" id="{D803E4C4-D6CA-DEEF-C9C4-3EA43974CB0C}"/>
                  </a:ext>
                </a:extLst>
              </p:cNvPr>
              <p:cNvSpPr/>
              <p:nvPr/>
            </p:nvSpPr>
            <p:spPr>
              <a:xfrm>
                <a:off x="5270698" y="479773"/>
                <a:ext cx="685042"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Channel </a:t>
                </a:r>
                <a:r>
                  <a:rPr kumimoji="0" lang="en-US" sz="800" b="0" i="0" u="none" strike="noStrike" kern="1200" cap="none" spc="0" normalizeH="0" baseline="0" noProof="0" err="1">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Esti-mation</a:t>
                </a:r>
                <a:endPar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87" name="Rectangle: Rounded Corners 19">
                <a:extLst>
                  <a:ext uri="{FF2B5EF4-FFF2-40B4-BE49-F238E27FC236}">
                    <a16:creationId xmlns:a16="http://schemas.microsoft.com/office/drawing/2014/main" id="{1BF17BEA-AB84-BC18-7534-E185C033DE8E}"/>
                  </a:ext>
                </a:extLst>
              </p:cNvPr>
              <p:cNvSpPr/>
              <p:nvPr/>
            </p:nvSpPr>
            <p:spPr>
              <a:xfrm>
                <a:off x="6129410" y="479773"/>
                <a:ext cx="685043"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Equali-</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zation</a:t>
                </a:r>
              </a:p>
            </p:txBody>
          </p:sp>
          <p:sp>
            <p:nvSpPr>
              <p:cNvPr id="488" name="Rectangle: Rounded Corners 20">
                <a:extLst>
                  <a:ext uri="{FF2B5EF4-FFF2-40B4-BE49-F238E27FC236}">
                    <a16:creationId xmlns:a16="http://schemas.microsoft.com/office/drawing/2014/main" id="{001E3389-6CA4-5255-1836-B29F8E5DD18C}"/>
                  </a:ext>
                </a:extLst>
              </p:cNvPr>
              <p:cNvSpPr/>
              <p:nvPr/>
            </p:nvSpPr>
            <p:spPr>
              <a:xfrm>
                <a:off x="6988123" y="479773"/>
                <a:ext cx="685043"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Symbol Dema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ping</a:t>
                </a:r>
              </a:p>
            </p:txBody>
          </p:sp>
          <p:sp>
            <p:nvSpPr>
              <p:cNvPr id="489" name="Rectangle: Rounded Corners 21">
                <a:extLst>
                  <a:ext uri="{FF2B5EF4-FFF2-40B4-BE49-F238E27FC236}">
                    <a16:creationId xmlns:a16="http://schemas.microsoft.com/office/drawing/2014/main" id="{45D27326-8351-08BF-1E5C-620BE681C733}"/>
                  </a:ext>
                </a:extLst>
              </p:cNvPr>
              <p:cNvSpPr/>
              <p:nvPr/>
            </p:nvSpPr>
            <p:spPr>
              <a:xfrm>
                <a:off x="7846838" y="479773"/>
                <a:ext cx="685043" cy="9513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Dec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ding</a:t>
                </a:r>
              </a:p>
            </p:txBody>
          </p:sp>
          <p:cxnSp>
            <p:nvCxnSpPr>
              <p:cNvPr id="490" name="Straight Arrow Connector 489">
                <a:extLst>
                  <a:ext uri="{FF2B5EF4-FFF2-40B4-BE49-F238E27FC236}">
                    <a16:creationId xmlns:a16="http://schemas.microsoft.com/office/drawing/2014/main" id="{581D824B-5075-73BD-4898-1B9F9630712D}"/>
                  </a:ext>
                </a:extLst>
              </p:cNvPr>
              <p:cNvCxnSpPr>
                <a:cxnSpLocks/>
                <a:stCxn id="485" idx="3"/>
                <a:endCxn id="486" idx="1"/>
              </p:cNvCxnSpPr>
              <p:nvPr/>
            </p:nvCxnSpPr>
            <p:spPr>
              <a:xfrm>
                <a:off x="5097028" y="955469"/>
                <a:ext cx="17367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1" name="Straight Arrow Connector 490">
                <a:extLst>
                  <a:ext uri="{FF2B5EF4-FFF2-40B4-BE49-F238E27FC236}">
                    <a16:creationId xmlns:a16="http://schemas.microsoft.com/office/drawing/2014/main" id="{48BD8113-67EB-8101-4A76-50FD3EBCAA13}"/>
                  </a:ext>
                </a:extLst>
              </p:cNvPr>
              <p:cNvCxnSpPr>
                <a:cxnSpLocks/>
                <a:stCxn id="486" idx="3"/>
                <a:endCxn id="487" idx="1"/>
              </p:cNvCxnSpPr>
              <p:nvPr/>
            </p:nvCxnSpPr>
            <p:spPr>
              <a:xfrm>
                <a:off x="5955740" y="955469"/>
                <a:ext cx="17367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38982F7A-A5DF-C934-108F-EAB98C265F7A}"/>
                  </a:ext>
                </a:extLst>
              </p:cNvPr>
              <p:cNvCxnSpPr>
                <a:cxnSpLocks/>
                <a:stCxn id="487" idx="3"/>
                <a:endCxn id="488" idx="1"/>
              </p:cNvCxnSpPr>
              <p:nvPr/>
            </p:nvCxnSpPr>
            <p:spPr>
              <a:xfrm>
                <a:off x="6814453" y="955469"/>
                <a:ext cx="17367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3" name="Straight Arrow Connector 492">
                <a:extLst>
                  <a:ext uri="{FF2B5EF4-FFF2-40B4-BE49-F238E27FC236}">
                    <a16:creationId xmlns:a16="http://schemas.microsoft.com/office/drawing/2014/main" id="{7F842FE3-DA9D-CE63-22EE-6E3F5090D572}"/>
                  </a:ext>
                </a:extLst>
              </p:cNvPr>
              <p:cNvCxnSpPr>
                <a:cxnSpLocks/>
                <a:stCxn id="488" idx="3"/>
                <a:endCxn id="489" idx="1"/>
              </p:cNvCxnSpPr>
              <p:nvPr/>
            </p:nvCxnSpPr>
            <p:spPr>
              <a:xfrm>
                <a:off x="7673166" y="955469"/>
                <a:ext cx="173671"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94" name="TextBox 493">
              <a:extLst>
                <a:ext uri="{FF2B5EF4-FFF2-40B4-BE49-F238E27FC236}">
                  <a16:creationId xmlns:a16="http://schemas.microsoft.com/office/drawing/2014/main" id="{3C0D7CE4-184A-18D9-0574-C33182CB4691}"/>
                </a:ext>
              </a:extLst>
            </p:cNvPr>
            <p:cNvSpPr txBox="1"/>
            <p:nvPr/>
          </p:nvSpPr>
          <p:spPr>
            <a:xfrm>
              <a:off x="2976125" y="1262397"/>
              <a:ext cx="761747"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Receiver</a:t>
              </a:r>
            </a:p>
          </p:txBody>
        </p:sp>
        <p:grpSp>
          <p:nvGrpSpPr>
            <p:cNvPr id="495" name="Group 494">
              <a:extLst>
                <a:ext uri="{FF2B5EF4-FFF2-40B4-BE49-F238E27FC236}">
                  <a16:creationId xmlns:a16="http://schemas.microsoft.com/office/drawing/2014/main" id="{20B1D11F-6D20-B178-1C48-4B4148E2E723}"/>
                </a:ext>
              </a:extLst>
            </p:cNvPr>
            <p:cNvGrpSpPr/>
            <p:nvPr/>
          </p:nvGrpSpPr>
          <p:grpSpPr>
            <a:xfrm>
              <a:off x="3150291" y="2563450"/>
              <a:ext cx="2874466" cy="320868"/>
              <a:chOff x="4068802" y="1926618"/>
              <a:chExt cx="4119894" cy="546108"/>
            </a:xfrm>
          </p:grpSpPr>
          <p:sp>
            <p:nvSpPr>
              <p:cNvPr id="496" name="Rectangle: Rounded Corners 36">
                <a:extLst>
                  <a:ext uri="{FF2B5EF4-FFF2-40B4-BE49-F238E27FC236}">
                    <a16:creationId xmlns:a16="http://schemas.microsoft.com/office/drawing/2014/main" id="{095C8EB5-95AD-7243-0C68-E18F5181297C}"/>
                  </a:ext>
                </a:extLst>
              </p:cNvPr>
              <p:cNvSpPr/>
              <p:nvPr/>
            </p:nvSpPr>
            <p:spPr>
              <a:xfrm>
                <a:off x="4068802" y="1926624"/>
                <a:ext cx="685042" cy="54610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sp>
            <p:nvSpPr>
              <p:cNvPr id="497" name="Rectangle: Rounded Corners 37">
                <a:extLst>
                  <a:ext uri="{FF2B5EF4-FFF2-40B4-BE49-F238E27FC236}">
                    <a16:creationId xmlns:a16="http://schemas.microsoft.com/office/drawing/2014/main" id="{DCA1C5B2-7D66-A495-3B12-BA72004AA836}"/>
                  </a:ext>
                </a:extLst>
              </p:cNvPr>
              <p:cNvSpPr/>
              <p:nvPr/>
            </p:nvSpPr>
            <p:spPr>
              <a:xfrm>
                <a:off x="4927514" y="1926624"/>
                <a:ext cx="685042" cy="54610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sp>
            <p:nvSpPr>
              <p:cNvPr id="498" name="Rectangle: Rounded Corners 38">
                <a:extLst>
                  <a:ext uri="{FF2B5EF4-FFF2-40B4-BE49-F238E27FC236}">
                    <a16:creationId xmlns:a16="http://schemas.microsoft.com/office/drawing/2014/main" id="{F487AA94-E2F6-6D8A-76CA-BF5A71139FC0}"/>
                  </a:ext>
                </a:extLst>
              </p:cNvPr>
              <p:cNvSpPr/>
              <p:nvPr/>
            </p:nvSpPr>
            <p:spPr>
              <a:xfrm>
                <a:off x="5786225" y="1926624"/>
                <a:ext cx="685043" cy="54610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sp>
            <p:nvSpPr>
              <p:cNvPr id="499" name="Rectangle: Rounded Corners 39">
                <a:extLst>
                  <a:ext uri="{FF2B5EF4-FFF2-40B4-BE49-F238E27FC236}">
                    <a16:creationId xmlns:a16="http://schemas.microsoft.com/office/drawing/2014/main" id="{6A59B763-19E6-AFAF-89AA-3103BEC9FBDE}"/>
                  </a:ext>
                </a:extLst>
              </p:cNvPr>
              <p:cNvSpPr/>
              <p:nvPr/>
            </p:nvSpPr>
            <p:spPr>
              <a:xfrm>
                <a:off x="6644939" y="1926624"/>
                <a:ext cx="685043" cy="54610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sp>
            <p:nvSpPr>
              <p:cNvPr id="500" name="Rectangle: Rounded Corners 40">
                <a:extLst>
                  <a:ext uri="{FF2B5EF4-FFF2-40B4-BE49-F238E27FC236}">
                    <a16:creationId xmlns:a16="http://schemas.microsoft.com/office/drawing/2014/main" id="{730A9417-9513-6F08-49F5-28412E5EFC12}"/>
                  </a:ext>
                </a:extLst>
              </p:cNvPr>
              <p:cNvSpPr/>
              <p:nvPr/>
            </p:nvSpPr>
            <p:spPr>
              <a:xfrm>
                <a:off x="7503653" y="1926618"/>
                <a:ext cx="685043" cy="546101"/>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grpSp>
        <p:grpSp>
          <p:nvGrpSpPr>
            <p:cNvPr id="501" name="Group 500">
              <a:extLst>
                <a:ext uri="{FF2B5EF4-FFF2-40B4-BE49-F238E27FC236}">
                  <a16:creationId xmlns:a16="http://schemas.microsoft.com/office/drawing/2014/main" id="{B899BEC3-CB37-E63F-0981-45466EDAB760}"/>
                </a:ext>
              </a:extLst>
            </p:cNvPr>
            <p:cNvGrpSpPr/>
            <p:nvPr/>
          </p:nvGrpSpPr>
          <p:grpSpPr>
            <a:xfrm>
              <a:off x="3389269" y="2257293"/>
              <a:ext cx="2396511" cy="306162"/>
              <a:chOff x="3642203" y="2185616"/>
              <a:chExt cx="2608094" cy="228531"/>
            </a:xfrm>
          </p:grpSpPr>
          <p:cxnSp>
            <p:nvCxnSpPr>
              <p:cNvPr id="502" name="Straight Arrow Connector 501">
                <a:extLst>
                  <a:ext uri="{FF2B5EF4-FFF2-40B4-BE49-F238E27FC236}">
                    <a16:creationId xmlns:a16="http://schemas.microsoft.com/office/drawing/2014/main" id="{4FDB809D-96F2-A52F-89BC-23F5E30A9198}"/>
                  </a:ext>
                </a:extLst>
              </p:cNvPr>
              <p:cNvCxnSpPr>
                <a:cxnSpLocks/>
                <a:stCxn id="485" idx="2"/>
                <a:endCxn id="496" idx="0"/>
              </p:cNvCxnSpPr>
              <p:nvPr/>
            </p:nvCxnSpPr>
            <p:spPr>
              <a:xfrm>
                <a:off x="3642203" y="2185616"/>
                <a:ext cx="0" cy="22853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3" name="Straight Arrow Connector 502">
                <a:extLst>
                  <a:ext uri="{FF2B5EF4-FFF2-40B4-BE49-F238E27FC236}">
                    <a16:creationId xmlns:a16="http://schemas.microsoft.com/office/drawing/2014/main" id="{52EBCC2F-88BD-869F-1B3C-090D507C8DAB}"/>
                  </a:ext>
                </a:extLst>
              </p:cNvPr>
              <p:cNvCxnSpPr>
                <a:cxnSpLocks/>
                <a:stCxn id="486" idx="2"/>
                <a:endCxn id="497" idx="0"/>
              </p:cNvCxnSpPr>
              <p:nvPr/>
            </p:nvCxnSpPr>
            <p:spPr>
              <a:xfrm>
                <a:off x="4294226" y="2185616"/>
                <a:ext cx="0" cy="22853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4" name="Straight Arrow Connector 503">
                <a:extLst>
                  <a:ext uri="{FF2B5EF4-FFF2-40B4-BE49-F238E27FC236}">
                    <a16:creationId xmlns:a16="http://schemas.microsoft.com/office/drawing/2014/main" id="{F46FEB40-DC34-75A8-3903-CDC361138CB8}"/>
                  </a:ext>
                </a:extLst>
              </p:cNvPr>
              <p:cNvCxnSpPr>
                <a:cxnSpLocks/>
                <a:stCxn id="487" idx="2"/>
                <a:endCxn id="498" idx="0"/>
              </p:cNvCxnSpPr>
              <p:nvPr/>
            </p:nvCxnSpPr>
            <p:spPr>
              <a:xfrm>
                <a:off x="4946248" y="2185616"/>
                <a:ext cx="0" cy="22853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5" name="Straight Arrow Connector 504">
                <a:extLst>
                  <a:ext uri="{FF2B5EF4-FFF2-40B4-BE49-F238E27FC236}">
                    <a16:creationId xmlns:a16="http://schemas.microsoft.com/office/drawing/2014/main" id="{ED0C81AB-0130-8168-08A7-1A50F0F82919}"/>
                  </a:ext>
                </a:extLst>
              </p:cNvPr>
              <p:cNvCxnSpPr>
                <a:cxnSpLocks/>
                <a:stCxn id="488" idx="2"/>
                <a:endCxn id="499" idx="0"/>
              </p:cNvCxnSpPr>
              <p:nvPr/>
            </p:nvCxnSpPr>
            <p:spPr>
              <a:xfrm>
                <a:off x="5598272" y="2185616"/>
                <a:ext cx="0" cy="22853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06" name="Straight Arrow Connector 505">
                <a:extLst>
                  <a:ext uri="{FF2B5EF4-FFF2-40B4-BE49-F238E27FC236}">
                    <a16:creationId xmlns:a16="http://schemas.microsoft.com/office/drawing/2014/main" id="{47D1AD5E-F983-A688-4542-1941604FBCF8}"/>
                  </a:ext>
                </a:extLst>
              </p:cNvPr>
              <p:cNvCxnSpPr>
                <a:cxnSpLocks/>
                <a:stCxn id="489" idx="2"/>
                <a:endCxn id="500" idx="0"/>
              </p:cNvCxnSpPr>
              <p:nvPr/>
            </p:nvCxnSpPr>
            <p:spPr>
              <a:xfrm flipH="1">
                <a:off x="6250296" y="2185617"/>
                <a:ext cx="1" cy="228527"/>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grpSp>
          <p:nvGrpSpPr>
            <p:cNvPr id="507" name="Group 506">
              <a:extLst>
                <a:ext uri="{FF2B5EF4-FFF2-40B4-BE49-F238E27FC236}">
                  <a16:creationId xmlns:a16="http://schemas.microsoft.com/office/drawing/2014/main" id="{357A720C-7059-671B-8188-6EA3A1B3070B}"/>
                </a:ext>
              </a:extLst>
            </p:cNvPr>
            <p:cNvGrpSpPr/>
            <p:nvPr/>
          </p:nvGrpSpPr>
          <p:grpSpPr>
            <a:xfrm>
              <a:off x="3150291" y="3306928"/>
              <a:ext cx="2874466" cy="346537"/>
              <a:chOff x="4068802" y="2885561"/>
              <a:chExt cx="4119894" cy="546100"/>
            </a:xfrm>
          </p:grpSpPr>
          <p:sp>
            <p:nvSpPr>
              <p:cNvPr id="508" name="Rectangle: Rounded Corners 49">
                <a:extLst>
                  <a:ext uri="{FF2B5EF4-FFF2-40B4-BE49-F238E27FC236}">
                    <a16:creationId xmlns:a16="http://schemas.microsoft.com/office/drawing/2014/main" id="{78F63E5F-CBF5-BC94-3CD7-6EACA954F760}"/>
                  </a:ext>
                </a:extLst>
              </p:cNvPr>
              <p:cNvSpPr/>
              <p:nvPr/>
            </p:nvSpPr>
            <p:spPr>
              <a:xfrm>
                <a:off x="4068802" y="2885561"/>
                <a:ext cx="685042" cy="54610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sp>
            <p:nvSpPr>
              <p:cNvPr id="509" name="Rectangle: Rounded Corners 50">
                <a:extLst>
                  <a:ext uri="{FF2B5EF4-FFF2-40B4-BE49-F238E27FC236}">
                    <a16:creationId xmlns:a16="http://schemas.microsoft.com/office/drawing/2014/main" id="{5DA6E66A-E3ED-66C8-96FE-DD8F24A646DA}"/>
                  </a:ext>
                </a:extLst>
              </p:cNvPr>
              <p:cNvSpPr/>
              <p:nvPr/>
            </p:nvSpPr>
            <p:spPr>
              <a:xfrm>
                <a:off x="4927514" y="2885561"/>
                <a:ext cx="2402468" cy="546100"/>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br>
                  <a:rPr kumimoji="0" lang="en-US" sz="900" b="0" i="0" u="none" strike="noStrike" kern="1200" cap="none" spc="0" normalizeH="0" baseline="0" noProof="0">
                    <a:ln>
                      <a:noFill/>
                    </a:ln>
                    <a:solidFill>
                      <a:schemeClr val="accent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br>
                <a:r>
                  <a:rPr kumimoji="0" lang="en-US" sz="900" b="0" i="0" u="none" strike="noStrike" kern="1200" cap="none" spc="0" normalizeH="0" baseline="0" noProof="0">
                    <a:ln>
                      <a:noFill/>
                    </a:ln>
                    <a:solidFill>
                      <a:schemeClr val="accent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Deep RX</a:t>
                </a:r>
              </a:p>
            </p:txBody>
          </p:sp>
          <p:sp>
            <p:nvSpPr>
              <p:cNvPr id="510" name="Rectangle: Rounded Corners 51">
                <a:extLst>
                  <a:ext uri="{FF2B5EF4-FFF2-40B4-BE49-F238E27FC236}">
                    <a16:creationId xmlns:a16="http://schemas.microsoft.com/office/drawing/2014/main" id="{22A88692-9861-4144-2D7C-631290A3B0FC}"/>
                  </a:ext>
                </a:extLst>
              </p:cNvPr>
              <p:cNvSpPr/>
              <p:nvPr/>
            </p:nvSpPr>
            <p:spPr>
              <a:xfrm>
                <a:off x="7503653" y="2885561"/>
                <a:ext cx="685043" cy="546100"/>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p:txBody>
          </p:sp>
        </p:grpSp>
        <p:grpSp>
          <p:nvGrpSpPr>
            <p:cNvPr id="511" name="Group 510">
              <a:extLst>
                <a:ext uri="{FF2B5EF4-FFF2-40B4-BE49-F238E27FC236}">
                  <a16:creationId xmlns:a16="http://schemas.microsoft.com/office/drawing/2014/main" id="{1D761AC4-7DA0-AE13-D5C2-DA16BD6CA189}"/>
                </a:ext>
              </a:extLst>
            </p:cNvPr>
            <p:cNvGrpSpPr/>
            <p:nvPr/>
          </p:nvGrpSpPr>
          <p:grpSpPr>
            <a:xfrm>
              <a:off x="3389269" y="2884317"/>
              <a:ext cx="2396510" cy="422617"/>
              <a:chOff x="3642204" y="2908916"/>
              <a:chExt cx="2608092" cy="314366"/>
            </a:xfrm>
          </p:grpSpPr>
          <p:cxnSp>
            <p:nvCxnSpPr>
              <p:cNvPr id="512" name="Straight Arrow Connector 511">
                <a:extLst>
                  <a:ext uri="{FF2B5EF4-FFF2-40B4-BE49-F238E27FC236}">
                    <a16:creationId xmlns:a16="http://schemas.microsoft.com/office/drawing/2014/main" id="{B44CC58F-357D-925D-236D-E1738AA3C81F}"/>
                  </a:ext>
                </a:extLst>
              </p:cNvPr>
              <p:cNvCxnSpPr>
                <a:cxnSpLocks/>
                <a:stCxn id="496" idx="2"/>
                <a:endCxn id="508" idx="0"/>
              </p:cNvCxnSpPr>
              <p:nvPr/>
            </p:nvCxnSpPr>
            <p:spPr>
              <a:xfrm>
                <a:off x="3642204" y="2908921"/>
                <a:ext cx="0" cy="31436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3" name="Straight Arrow Connector 512">
                <a:extLst>
                  <a:ext uri="{FF2B5EF4-FFF2-40B4-BE49-F238E27FC236}">
                    <a16:creationId xmlns:a16="http://schemas.microsoft.com/office/drawing/2014/main" id="{49624071-8699-B021-4908-501E1F3AA883}"/>
                  </a:ext>
                </a:extLst>
              </p:cNvPr>
              <p:cNvCxnSpPr>
                <a:cxnSpLocks/>
                <a:stCxn id="497" idx="2"/>
              </p:cNvCxnSpPr>
              <p:nvPr/>
            </p:nvCxnSpPr>
            <p:spPr>
              <a:xfrm>
                <a:off x="4294226" y="2937856"/>
                <a:ext cx="0" cy="276755"/>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4" name="Straight Arrow Connector 513">
                <a:extLst>
                  <a:ext uri="{FF2B5EF4-FFF2-40B4-BE49-F238E27FC236}">
                    <a16:creationId xmlns:a16="http://schemas.microsoft.com/office/drawing/2014/main" id="{0A4BA9FC-15B2-8530-2218-2ACA13A23E31}"/>
                  </a:ext>
                </a:extLst>
              </p:cNvPr>
              <p:cNvCxnSpPr>
                <a:cxnSpLocks/>
                <a:stCxn id="498" idx="2"/>
                <a:endCxn id="509" idx="0"/>
              </p:cNvCxnSpPr>
              <p:nvPr/>
            </p:nvCxnSpPr>
            <p:spPr>
              <a:xfrm>
                <a:off x="4946249" y="2908919"/>
                <a:ext cx="1" cy="31436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5" name="Straight Arrow Connector 514">
                <a:extLst>
                  <a:ext uri="{FF2B5EF4-FFF2-40B4-BE49-F238E27FC236}">
                    <a16:creationId xmlns:a16="http://schemas.microsoft.com/office/drawing/2014/main" id="{AF6E4A71-CA54-F9E5-AC05-C5E25C89C96A}"/>
                  </a:ext>
                </a:extLst>
              </p:cNvPr>
              <p:cNvCxnSpPr>
                <a:cxnSpLocks/>
                <a:stCxn id="499" idx="2"/>
              </p:cNvCxnSpPr>
              <p:nvPr/>
            </p:nvCxnSpPr>
            <p:spPr>
              <a:xfrm flipH="1">
                <a:off x="5598271" y="2937856"/>
                <a:ext cx="1" cy="276756"/>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16" name="Straight Arrow Connector 515">
                <a:extLst>
                  <a:ext uri="{FF2B5EF4-FFF2-40B4-BE49-F238E27FC236}">
                    <a16:creationId xmlns:a16="http://schemas.microsoft.com/office/drawing/2014/main" id="{D1528651-54A0-D1A3-4996-221513F24B70}"/>
                  </a:ext>
                </a:extLst>
              </p:cNvPr>
              <p:cNvCxnSpPr>
                <a:cxnSpLocks/>
                <a:stCxn id="500" idx="2"/>
                <a:endCxn id="510" idx="0"/>
              </p:cNvCxnSpPr>
              <p:nvPr/>
            </p:nvCxnSpPr>
            <p:spPr>
              <a:xfrm>
                <a:off x="6250296" y="2908916"/>
                <a:ext cx="0" cy="314364"/>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517" name="TextBox 516">
              <a:extLst>
                <a:ext uri="{FF2B5EF4-FFF2-40B4-BE49-F238E27FC236}">
                  <a16:creationId xmlns:a16="http://schemas.microsoft.com/office/drawing/2014/main" id="{B1EC3946-FD55-60FC-6EE4-305E6239967F}"/>
                </a:ext>
              </a:extLst>
            </p:cNvPr>
            <p:cNvSpPr txBox="1"/>
            <p:nvPr/>
          </p:nvSpPr>
          <p:spPr>
            <a:xfrm>
              <a:off x="6263264" y="2280304"/>
              <a:ext cx="2251913" cy="799431"/>
            </a:xfrm>
            <a:prstGeom prst="rect">
              <a:avLst/>
            </a:prstGeom>
            <a:noFill/>
          </p:spPr>
          <p:txBody>
            <a:bodyPr wrap="square" lIns="72000" tIns="72000" rIns="72000" bIns="72000" rtlCol="0">
              <a:spAutoFit/>
            </a:bodyPr>
            <a:lstStyle/>
            <a:p>
              <a:pPr>
                <a:spcAft>
                  <a:spcPts val="300"/>
                </a:spcAft>
                <a:buSzPct val="100000"/>
              </a:pPr>
              <a:r>
                <a:rPr kumimoji="0" lang="en-GB" sz="1600" i="0" u="none" strike="noStrike" kern="1200" cap="none" spc="0" normalizeH="0" baseline="0" noProof="0" dirty="0">
                  <a:ln>
                    <a:noFill/>
                  </a:ln>
                  <a:solidFill>
                    <a:schemeClr val="accent6"/>
                  </a:solidFill>
                  <a:effectLst/>
                  <a:uLnTx/>
                  <a:uFillTx/>
                  <a:latin typeface="Nokia Pure Text Light" panose="020B0403020202020204" pitchFamily="34" charset="0"/>
                  <a:ea typeface="Nokia Pure Text Light" panose="020B0403020202020204" pitchFamily="34" charset="0"/>
                </a:rPr>
                <a:t>5G-Advanced phase 1</a:t>
              </a:r>
            </a:p>
            <a:p>
              <a:pPr>
                <a:spcAft>
                  <a:spcPts val="300"/>
                </a:spcAft>
                <a:buSzPct val="100000"/>
              </a:pPr>
              <a:r>
                <a:rPr kumimoji="0" lang="en-GB" sz="1200" i="0" u="none" strike="noStrike" kern="1200" cap="none" spc="0" normalizeH="0" baseline="0" noProof="0" dirty="0">
                  <a:ln>
                    <a:noFill/>
                  </a:ln>
                  <a:solidFill>
                    <a:schemeClr val="accent6"/>
                  </a:solidFill>
                  <a:effectLst/>
                  <a:uLnTx/>
                  <a:uFillTx/>
                  <a:latin typeface="Nokia Pure Text Light" panose="020B0403020202020204" pitchFamily="34" charset="0"/>
                  <a:ea typeface="Nokia Pure Text Light" panose="020B0403020202020204" pitchFamily="34" charset="0"/>
                </a:rPr>
                <a:t>ML replaces/enhances individual processing blocks</a:t>
              </a:r>
              <a:endParaRPr lang="en-GB" sz="1200" dirty="0">
                <a:solidFill>
                  <a:schemeClr val="bg1"/>
                </a:solidFill>
                <a:latin typeface="Nokia Pure Text Light" panose="020B0403020202020204" pitchFamily="34" charset="0"/>
                <a:ea typeface="Nokia Pure Text Light" panose="020B0403020202020204" pitchFamily="34" charset="0"/>
              </a:endParaRPr>
            </a:p>
          </p:txBody>
        </p:sp>
        <p:sp>
          <p:nvSpPr>
            <p:cNvPr id="518" name="TextBox 517">
              <a:extLst>
                <a:ext uri="{FF2B5EF4-FFF2-40B4-BE49-F238E27FC236}">
                  <a16:creationId xmlns:a16="http://schemas.microsoft.com/office/drawing/2014/main" id="{8E802FFC-92B6-535D-5660-FF7F72F1EB2C}"/>
                </a:ext>
              </a:extLst>
            </p:cNvPr>
            <p:cNvSpPr txBox="1"/>
            <p:nvPr/>
          </p:nvSpPr>
          <p:spPr>
            <a:xfrm>
              <a:off x="6250373" y="3187963"/>
              <a:ext cx="2618033" cy="599377"/>
            </a:xfrm>
            <a:prstGeom prst="rect">
              <a:avLst/>
            </a:prstGeom>
            <a:noFill/>
          </p:spPr>
          <p:txBody>
            <a:bodyPr wrap="square" lIns="72000" tIns="72000" rIns="72000" bIns="72000" rtlCol="0">
              <a:spAutoFit/>
            </a:bodyPr>
            <a:lstStyle/>
            <a:p>
              <a:pPr>
                <a:spcAft>
                  <a:spcPts val="300"/>
                </a:spcAft>
                <a:buSzPct val="100000"/>
              </a:pPr>
              <a:r>
                <a:rPr lang="en-GB" sz="1600" dirty="0">
                  <a:solidFill>
                    <a:schemeClr val="accent5"/>
                  </a:solidFill>
                  <a:latin typeface="Nokia Pure Text Light" panose="020B0403020202020204" pitchFamily="34" charset="0"/>
                  <a:ea typeface="Nokia Pure Text Light" panose="020B0403020202020204" pitchFamily="34" charset="0"/>
                </a:rPr>
                <a:t>5G-Advanced phase 2</a:t>
              </a:r>
            </a:p>
            <a:p>
              <a:pPr>
                <a:spcAft>
                  <a:spcPts val="300"/>
                </a:spcAft>
                <a:buSzPct val="100000"/>
              </a:pPr>
              <a:r>
                <a:rPr kumimoji="0" lang="en-GB" sz="1100" i="0" u="none" strike="noStrike" kern="1200" cap="none" spc="0" normalizeH="0" baseline="0" noProof="0" dirty="0">
                  <a:ln>
                    <a:noFill/>
                  </a:ln>
                  <a:solidFill>
                    <a:schemeClr val="accent5"/>
                  </a:solidFill>
                  <a:effectLst/>
                  <a:uLnTx/>
                  <a:uFillTx/>
                  <a:latin typeface="Nokia Pure Text Light" panose="020B0403020202020204" pitchFamily="34" charset="0"/>
                  <a:ea typeface="Nokia Pure Text Light" panose="020B0403020202020204" pitchFamily="34" charset="0"/>
                </a:rPr>
                <a:t>ML replaces multiple processing blocks</a:t>
              </a:r>
              <a:endParaRPr lang="en-GB" sz="1100" dirty="0">
                <a:solidFill>
                  <a:schemeClr val="bg1"/>
                </a:solidFill>
                <a:latin typeface="Nokia Pure Text Light" panose="020B0403020202020204" pitchFamily="34" charset="0"/>
                <a:ea typeface="Nokia Pure Text Light" panose="020B0403020202020204" pitchFamily="34" charset="0"/>
              </a:endParaRPr>
            </a:p>
          </p:txBody>
        </p:sp>
        <p:sp>
          <p:nvSpPr>
            <p:cNvPr id="519" name="TextBox 518">
              <a:extLst>
                <a:ext uri="{FF2B5EF4-FFF2-40B4-BE49-F238E27FC236}">
                  <a16:creationId xmlns:a16="http://schemas.microsoft.com/office/drawing/2014/main" id="{07ABD5D5-5CC4-66C8-6E60-EBD1AC4D5BEE}"/>
                </a:ext>
              </a:extLst>
            </p:cNvPr>
            <p:cNvSpPr txBox="1"/>
            <p:nvPr/>
          </p:nvSpPr>
          <p:spPr>
            <a:xfrm>
              <a:off x="6250373" y="3866765"/>
              <a:ext cx="2452136" cy="644694"/>
            </a:xfrm>
            <a:prstGeom prst="rect">
              <a:avLst/>
            </a:prstGeom>
            <a:noFill/>
          </p:spPr>
          <p:txBody>
            <a:bodyPr wrap="square" lIns="72000" tIns="72000" rIns="72000" bIns="72000" rtlCol="0">
              <a:noAutofit/>
            </a:bodyPr>
            <a:lstStyle/>
            <a:p>
              <a:pPr>
                <a:spcAft>
                  <a:spcPts val="300"/>
                </a:spcAft>
                <a:buSzPct val="100000"/>
              </a:pPr>
              <a:r>
                <a:rPr lang="en-GB" sz="1600" dirty="0">
                  <a:solidFill>
                    <a:schemeClr val="accent1"/>
                  </a:solidFill>
                  <a:latin typeface="Nokia Pure Text Light" panose="020B0403020202020204" pitchFamily="34" charset="0"/>
                  <a:ea typeface="Nokia Pure Text Light" panose="020B0403020202020204" pitchFamily="34" charset="0"/>
                </a:rPr>
                <a:t>6G</a:t>
              </a:r>
            </a:p>
            <a:p>
              <a:pPr>
                <a:spcAft>
                  <a:spcPts val="300"/>
                </a:spcAft>
                <a:buSzPct val="100000"/>
              </a:pPr>
              <a:r>
                <a:rPr lang="en-GB" sz="1200" dirty="0">
                  <a:solidFill>
                    <a:schemeClr val="accent1"/>
                  </a:solidFill>
                  <a:latin typeface="Nokia Pure Text Light" panose="020B0403020202020204" pitchFamily="34" charset="0"/>
                  <a:ea typeface="Nokia Pure Text Light" panose="020B0403020202020204" pitchFamily="34" charset="0"/>
                </a:rPr>
                <a:t>ML designs </a:t>
              </a:r>
              <a:r>
                <a:rPr kumimoji="0" lang="en-GB" sz="1200" i="0" u="none" strike="noStrike" kern="1200" cap="none" spc="0" normalizeH="0" baseline="0" noProof="0" dirty="0">
                  <a:ln>
                    <a:noFill/>
                  </a:ln>
                  <a:solidFill>
                    <a:schemeClr val="accent1"/>
                  </a:solidFill>
                  <a:effectLst/>
                  <a:uLnTx/>
                  <a:uFillTx/>
                  <a:latin typeface="Nokia Pure Text Light" panose="020B0403020202020204" pitchFamily="34" charset="0"/>
                  <a:ea typeface="Nokia Pure Text Light" panose="020B0403020202020204" pitchFamily="34" charset="0"/>
                </a:rPr>
                <a:t>part of the PHY itself</a:t>
              </a:r>
              <a:endParaRPr lang="en-GB" sz="1200" dirty="0">
                <a:solidFill>
                  <a:schemeClr val="accent1"/>
                </a:solidFill>
                <a:latin typeface="Nokia Pure Text Light" panose="020B0403020202020204" pitchFamily="34" charset="0"/>
                <a:ea typeface="Nokia Pure Text Light" panose="020B0403020202020204" pitchFamily="34" charset="0"/>
              </a:endParaRPr>
            </a:p>
          </p:txBody>
        </p:sp>
        <p:sp>
          <p:nvSpPr>
            <p:cNvPr id="520" name="TextBox 519">
              <a:extLst>
                <a:ext uri="{FF2B5EF4-FFF2-40B4-BE49-F238E27FC236}">
                  <a16:creationId xmlns:a16="http://schemas.microsoft.com/office/drawing/2014/main" id="{B9DB88E5-FB7B-340E-4E2D-833D63A6DBF6}"/>
                </a:ext>
              </a:extLst>
            </p:cNvPr>
            <p:cNvSpPr txBox="1"/>
            <p:nvPr/>
          </p:nvSpPr>
          <p:spPr>
            <a:xfrm>
              <a:off x="6263264" y="1554690"/>
              <a:ext cx="2251913" cy="614766"/>
            </a:xfrm>
            <a:prstGeom prst="rect">
              <a:avLst/>
            </a:prstGeom>
            <a:noFill/>
          </p:spPr>
          <p:txBody>
            <a:bodyPr wrap="square" lIns="72000" tIns="72000" rIns="72000" bIns="72000" rtlCol="0">
              <a:spAutoFit/>
            </a:bodyPr>
            <a:lstStyle/>
            <a:p>
              <a:pPr>
                <a:spcAft>
                  <a:spcPts val="300"/>
                </a:spcAft>
                <a:buSzPct val="100000"/>
              </a:pPr>
              <a:r>
                <a:rPr kumimoji="0" lang="en-US" sz="1600" i="0" u="none" strike="noStrike" kern="1200" cap="none" spc="0" normalizeH="0" baseline="0" noProof="0" dirty="0">
                  <a:ln>
                    <a:noFill/>
                  </a:ln>
                  <a:solidFill>
                    <a:schemeClr val="bg2"/>
                  </a:solidFill>
                  <a:effectLst/>
                  <a:uLnTx/>
                  <a:uFillTx/>
                  <a:latin typeface="Nokia Pure Text Light" panose="020B0403020202020204" pitchFamily="34" charset="0"/>
                  <a:ea typeface="Nokia Pure Text Light" panose="020B0403020202020204" pitchFamily="34" charset="0"/>
                </a:rPr>
                <a:t>5G</a:t>
              </a:r>
              <a:endParaRPr kumimoji="0" lang="en-US" sz="1200" i="0" u="none" strike="noStrike" kern="1200" cap="none" spc="0" normalizeH="0" baseline="0" noProof="0" dirty="0">
                <a:ln>
                  <a:noFill/>
                </a:ln>
                <a:solidFill>
                  <a:schemeClr val="bg2"/>
                </a:solidFill>
                <a:effectLst/>
                <a:uLnTx/>
                <a:uFillTx/>
                <a:latin typeface="Nokia Pure Text Light" panose="020B0403020202020204" pitchFamily="34" charset="0"/>
                <a:ea typeface="Nokia Pure Text Light" panose="020B0403020202020204" pitchFamily="34" charset="0"/>
              </a:endParaRPr>
            </a:p>
            <a:p>
              <a:pPr>
                <a:spcAft>
                  <a:spcPts val="300"/>
                </a:spcAft>
                <a:buSzPct val="100000"/>
              </a:pPr>
              <a:r>
                <a:rPr lang="en-US" sz="1200" dirty="0">
                  <a:solidFill>
                    <a:schemeClr val="bg2"/>
                  </a:solidFill>
                  <a:latin typeface="Nokia Pure Text Light" panose="020B0403020202020204" pitchFamily="34" charset="0"/>
                  <a:ea typeface="Nokia Pure Text Light" panose="020B0403020202020204" pitchFamily="34" charset="0"/>
                </a:rPr>
                <a:t>The classical architecture</a:t>
              </a:r>
              <a:endParaRPr lang="en-GB" sz="1200" dirty="0">
                <a:solidFill>
                  <a:schemeClr val="bg2"/>
                </a:solidFill>
                <a:latin typeface="Nokia Pure Text Light" panose="020B0403020202020204" pitchFamily="34" charset="0"/>
                <a:ea typeface="Nokia Pure Text Light" panose="020B0403020202020204" pitchFamily="34" charset="0"/>
              </a:endParaRPr>
            </a:p>
          </p:txBody>
        </p:sp>
        <p:grpSp>
          <p:nvGrpSpPr>
            <p:cNvPr id="521" name="Group 520">
              <a:extLst>
                <a:ext uri="{FF2B5EF4-FFF2-40B4-BE49-F238E27FC236}">
                  <a16:creationId xmlns:a16="http://schemas.microsoft.com/office/drawing/2014/main" id="{4647CD0B-768E-A0EE-8E6D-50EFF0C6854A}"/>
                </a:ext>
              </a:extLst>
            </p:cNvPr>
            <p:cNvGrpSpPr/>
            <p:nvPr/>
          </p:nvGrpSpPr>
          <p:grpSpPr>
            <a:xfrm>
              <a:off x="927343" y="1601139"/>
              <a:ext cx="1676209" cy="640738"/>
              <a:chOff x="741796" y="676255"/>
              <a:chExt cx="2402465" cy="951392"/>
            </a:xfrm>
          </p:grpSpPr>
          <p:sp>
            <p:nvSpPr>
              <p:cNvPr id="522" name="Rectangle: Rounded Corners 6">
                <a:extLst>
                  <a:ext uri="{FF2B5EF4-FFF2-40B4-BE49-F238E27FC236}">
                    <a16:creationId xmlns:a16="http://schemas.microsoft.com/office/drawing/2014/main" id="{436C7848-014A-9E9D-0E5B-1A57CA73C6CF}"/>
                  </a:ext>
                </a:extLst>
              </p:cNvPr>
              <p:cNvSpPr/>
              <p:nvPr/>
            </p:nvSpPr>
            <p:spPr>
              <a:xfrm>
                <a:off x="741796" y="676256"/>
                <a:ext cx="685042"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Encoding</a:t>
                </a:r>
              </a:p>
            </p:txBody>
          </p:sp>
          <p:sp>
            <p:nvSpPr>
              <p:cNvPr id="523" name="Rectangle: Rounded Corners 7">
                <a:extLst>
                  <a:ext uri="{FF2B5EF4-FFF2-40B4-BE49-F238E27FC236}">
                    <a16:creationId xmlns:a16="http://schemas.microsoft.com/office/drawing/2014/main" id="{2F1F6660-7478-4798-3113-63DB1BC55F8F}"/>
                  </a:ext>
                </a:extLst>
              </p:cNvPr>
              <p:cNvSpPr/>
              <p:nvPr/>
            </p:nvSpPr>
            <p:spPr>
              <a:xfrm>
                <a:off x="1600507" y="676255"/>
                <a:ext cx="685042"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Symbol Mapping</a:t>
                </a:r>
              </a:p>
            </p:txBody>
          </p:sp>
          <p:sp>
            <p:nvSpPr>
              <p:cNvPr id="524" name="Rectangle: Rounded Corners 8">
                <a:extLst>
                  <a:ext uri="{FF2B5EF4-FFF2-40B4-BE49-F238E27FC236}">
                    <a16:creationId xmlns:a16="http://schemas.microsoft.com/office/drawing/2014/main" id="{EFF056C6-E7BB-FD6A-68D6-AB0C8B921374}"/>
                  </a:ext>
                </a:extLst>
              </p:cNvPr>
              <p:cNvSpPr/>
              <p:nvPr/>
            </p:nvSpPr>
            <p:spPr>
              <a:xfrm>
                <a:off x="2459219" y="676255"/>
                <a:ext cx="685042" cy="9513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odul-</a:t>
                </a:r>
                <a:r>
                  <a:rPr kumimoji="0" lang="en-US" sz="800" b="0" i="0" u="none" strike="noStrike" kern="1200" cap="none" spc="0" normalizeH="0" baseline="0" noProof="0" dirty="0" err="1">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ation</a:t>
                </a:r>
                <a:r>
                  <a:rPr kumimoji="0" lang="en-US" sz="8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 Wave-form</a:t>
                </a:r>
              </a:p>
            </p:txBody>
          </p:sp>
          <p:cxnSp>
            <p:nvCxnSpPr>
              <p:cNvPr id="525" name="Straight Arrow Connector 524">
                <a:extLst>
                  <a:ext uri="{FF2B5EF4-FFF2-40B4-BE49-F238E27FC236}">
                    <a16:creationId xmlns:a16="http://schemas.microsoft.com/office/drawing/2014/main" id="{7847FE66-CA75-82B5-2780-DD770C527572}"/>
                  </a:ext>
                </a:extLst>
              </p:cNvPr>
              <p:cNvCxnSpPr>
                <a:cxnSpLocks/>
                <a:stCxn id="522" idx="3"/>
                <a:endCxn id="523" idx="1"/>
              </p:cNvCxnSpPr>
              <p:nvPr/>
            </p:nvCxnSpPr>
            <p:spPr>
              <a:xfrm flipV="1">
                <a:off x="1426837" y="1151951"/>
                <a:ext cx="17367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26" name="Straight Arrow Connector 525">
                <a:extLst>
                  <a:ext uri="{FF2B5EF4-FFF2-40B4-BE49-F238E27FC236}">
                    <a16:creationId xmlns:a16="http://schemas.microsoft.com/office/drawing/2014/main" id="{05E2EC30-5988-D0B4-CE01-3976B3BA7742}"/>
                  </a:ext>
                </a:extLst>
              </p:cNvPr>
              <p:cNvCxnSpPr>
                <a:cxnSpLocks/>
                <a:stCxn id="523" idx="3"/>
                <a:endCxn id="524" idx="1"/>
              </p:cNvCxnSpPr>
              <p:nvPr/>
            </p:nvCxnSpPr>
            <p:spPr>
              <a:xfrm>
                <a:off x="2285549" y="1151951"/>
                <a:ext cx="17367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27" name="Group 526">
              <a:extLst>
                <a:ext uri="{FF2B5EF4-FFF2-40B4-BE49-F238E27FC236}">
                  <a16:creationId xmlns:a16="http://schemas.microsoft.com/office/drawing/2014/main" id="{89559EBF-24FB-91A4-EA10-A3C256AEB16D}"/>
                </a:ext>
              </a:extLst>
            </p:cNvPr>
            <p:cNvGrpSpPr/>
            <p:nvPr/>
          </p:nvGrpSpPr>
          <p:grpSpPr>
            <a:xfrm>
              <a:off x="3389269" y="3661435"/>
              <a:ext cx="2396510" cy="346537"/>
              <a:chOff x="3642204" y="3732876"/>
              <a:chExt cx="2608092" cy="346666"/>
            </a:xfrm>
          </p:grpSpPr>
          <p:cxnSp>
            <p:nvCxnSpPr>
              <p:cNvPr id="528" name="Straight Arrow Connector 527">
                <a:extLst>
                  <a:ext uri="{FF2B5EF4-FFF2-40B4-BE49-F238E27FC236}">
                    <a16:creationId xmlns:a16="http://schemas.microsoft.com/office/drawing/2014/main" id="{621EE3EB-B13C-88E6-D9A4-D91A760481C2}"/>
                  </a:ext>
                </a:extLst>
              </p:cNvPr>
              <p:cNvCxnSpPr>
                <a:cxnSpLocks/>
                <a:stCxn id="508" idx="2"/>
              </p:cNvCxnSpPr>
              <p:nvPr/>
            </p:nvCxnSpPr>
            <p:spPr>
              <a:xfrm>
                <a:off x="3642204" y="3732877"/>
                <a:ext cx="0" cy="346664"/>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29" name="Straight Arrow Connector 528">
                <a:extLst>
                  <a:ext uri="{FF2B5EF4-FFF2-40B4-BE49-F238E27FC236}">
                    <a16:creationId xmlns:a16="http://schemas.microsoft.com/office/drawing/2014/main" id="{6FD06DC4-8061-B2CB-D94B-A0B5224FA350}"/>
                  </a:ext>
                </a:extLst>
              </p:cNvPr>
              <p:cNvCxnSpPr>
                <a:cxnSpLocks/>
                <a:stCxn id="510" idx="2"/>
              </p:cNvCxnSpPr>
              <p:nvPr/>
            </p:nvCxnSpPr>
            <p:spPr>
              <a:xfrm flipH="1">
                <a:off x="6244010" y="3732876"/>
                <a:ext cx="6286" cy="346664"/>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530" name="Straight Arrow Connector 529">
                <a:extLst>
                  <a:ext uri="{FF2B5EF4-FFF2-40B4-BE49-F238E27FC236}">
                    <a16:creationId xmlns:a16="http://schemas.microsoft.com/office/drawing/2014/main" id="{836F2E16-1310-1EAB-9943-0D76A7D9D8A5}"/>
                  </a:ext>
                </a:extLst>
              </p:cNvPr>
              <p:cNvCxnSpPr>
                <a:cxnSpLocks/>
              </p:cNvCxnSpPr>
              <p:nvPr/>
            </p:nvCxnSpPr>
            <p:spPr>
              <a:xfrm>
                <a:off x="4893339" y="3732879"/>
                <a:ext cx="0" cy="346663"/>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531" name="Rectangle: Rounded Corners 64">
              <a:extLst>
                <a:ext uri="{FF2B5EF4-FFF2-40B4-BE49-F238E27FC236}">
                  <a16:creationId xmlns:a16="http://schemas.microsoft.com/office/drawing/2014/main" id="{D93A8666-BFEB-8689-BDF6-720BE7002094}"/>
                </a:ext>
              </a:extLst>
            </p:cNvPr>
            <p:cNvSpPr/>
            <p:nvPr/>
          </p:nvSpPr>
          <p:spPr>
            <a:xfrm>
              <a:off x="700135" y="3866765"/>
              <a:ext cx="5313240" cy="644694"/>
            </a:xfrm>
            <a:prstGeom prst="rect">
              <a:avLst/>
            </a:prstGeom>
            <a:noFill/>
            <a:ln w="19050">
              <a:solidFill>
                <a:schemeClr val="accent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2" name="Rectangle: Rounded Corners 53">
              <a:extLst>
                <a:ext uri="{FF2B5EF4-FFF2-40B4-BE49-F238E27FC236}">
                  <a16:creationId xmlns:a16="http://schemas.microsoft.com/office/drawing/2014/main" id="{7D268EF6-1090-3560-83E7-6E8B503A9B12}"/>
                </a:ext>
              </a:extLst>
            </p:cNvPr>
            <p:cNvSpPr/>
            <p:nvPr/>
          </p:nvSpPr>
          <p:spPr>
            <a:xfrm>
              <a:off x="829363" y="4019909"/>
              <a:ext cx="1849870" cy="348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br>
                <a:rPr kumimoji="0" lang="en-US" sz="900" b="0" i="0" u="none" strike="noStrike" kern="1200" cap="none" spc="0" normalizeH="0" baseline="0" noProof="0" dirty="0">
                  <a:ln>
                    <a:noFill/>
                  </a:ln>
                  <a:solidFill>
                    <a:schemeClr val="bg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br>
              <a:r>
                <a:rPr kumimoji="0" lang="en-US" sz="900" b="0" i="0" u="none" strike="noStrike" kern="1200" cap="none" spc="0" normalizeH="0" baseline="0" noProof="0" dirty="0">
                  <a:ln>
                    <a:noFill/>
                  </a:ln>
                  <a:solidFill>
                    <a:schemeClr val="bg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Deep TX</a:t>
              </a:r>
            </a:p>
          </p:txBody>
        </p:sp>
        <p:sp>
          <p:nvSpPr>
            <p:cNvPr id="533" name="Rectangle: Rounded Corners 54">
              <a:extLst>
                <a:ext uri="{FF2B5EF4-FFF2-40B4-BE49-F238E27FC236}">
                  <a16:creationId xmlns:a16="http://schemas.microsoft.com/office/drawing/2014/main" id="{3A119000-7A6C-4A2D-3474-08AC8008BEAE}"/>
                </a:ext>
              </a:extLst>
            </p:cNvPr>
            <p:cNvSpPr/>
            <p:nvPr/>
          </p:nvSpPr>
          <p:spPr>
            <a:xfrm>
              <a:off x="3026548" y="4019909"/>
              <a:ext cx="2860176" cy="3481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L</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bg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Deep RX</a:t>
              </a:r>
            </a:p>
          </p:txBody>
        </p:sp>
        <p:grpSp>
          <p:nvGrpSpPr>
            <p:cNvPr id="25" name="Group 24">
              <a:extLst>
                <a:ext uri="{FF2B5EF4-FFF2-40B4-BE49-F238E27FC236}">
                  <a16:creationId xmlns:a16="http://schemas.microsoft.com/office/drawing/2014/main" id="{E59E269C-D952-73D7-DD29-3BA03E523086}"/>
                </a:ext>
              </a:extLst>
            </p:cNvPr>
            <p:cNvGrpSpPr/>
            <p:nvPr/>
          </p:nvGrpSpPr>
          <p:grpSpPr>
            <a:xfrm>
              <a:off x="1156890" y="2241876"/>
              <a:ext cx="1213104" cy="1778033"/>
              <a:chOff x="1156890" y="2228494"/>
              <a:chExt cx="1213104" cy="1791415"/>
            </a:xfrm>
          </p:grpSpPr>
          <p:cxnSp>
            <p:nvCxnSpPr>
              <p:cNvPr id="479" name="Straight Arrow Connector 478">
                <a:extLst>
                  <a:ext uri="{FF2B5EF4-FFF2-40B4-BE49-F238E27FC236}">
                    <a16:creationId xmlns:a16="http://schemas.microsoft.com/office/drawing/2014/main" id="{7A85F307-1D7F-D542-27AF-DF10073BCD17}"/>
                  </a:ext>
                </a:extLst>
              </p:cNvPr>
              <p:cNvCxnSpPr>
                <a:cxnSpLocks/>
              </p:cNvCxnSpPr>
              <p:nvPr/>
            </p:nvCxnSpPr>
            <p:spPr>
              <a:xfrm>
                <a:off x="1754298" y="2228494"/>
                <a:ext cx="0" cy="1791415"/>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62072D0-FFF2-C1F8-D9F9-B7D84F73EA17}"/>
                  </a:ext>
                </a:extLst>
              </p:cNvPr>
              <p:cNvCxnSpPr>
                <a:cxnSpLocks/>
              </p:cNvCxnSpPr>
              <p:nvPr/>
            </p:nvCxnSpPr>
            <p:spPr>
              <a:xfrm>
                <a:off x="2369994" y="2228494"/>
                <a:ext cx="0" cy="1791415"/>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A5A86D9-7E05-F441-1708-0DA84DFB636C}"/>
                  </a:ext>
                </a:extLst>
              </p:cNvPr>
              <p:cNvCxnSpPr>
                <a:cxnSpLocks/>
              </p:cNvCxnSpPr>
              <p:nvPr/>
            </p:nvCxnSpPr>
            <p:spPr>
              <a:xfrm>
                <a:off x="1156890" y="2228494"/>
                <a:ext cx="0" cy="1791415"/>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grpSp>
      <p:grpSp>
        <p:nvGrpSpPr>
          <p:cNvPr id="536" name="Group 535">
            <a:extLst>
              <a:ext uri="{FF2B5EF4-FFF2-40B4-BE49-F238E27FC236}">
                <a16:creationId xmlns:a16="http://schemas.microsoft.com/office/drawing/2014/main" id="{056831B0-0DDD-A379-0BD2-D44326239AA8}"/>
              </a:ext>
            </a:extLst>
          </p:cNvPr>
          <p:cNvGrpSpPr>
            <a:grpSpLocks noChangeAspect="1"/>
          </p:cNvGrpSpPr>
          <p:nvPr/>
        </p:nvGrpSpPr>
        <p:grpSpPr>
          <a:xfrm>
            <a:off x="7998188" y="155196"/>
            <a:ext cx="902786" cy="881780"/>
            <a:chOff x="7998188" y="155196"/>
            <a:chExt cx="902786" cy="881780"/>
          </a:xfrm>
        </p:grpSpPr>
        <p:sp>
          <p:nvSpPr>
            <p:cNvPr id="537" name="Hexagon 536">
              <a:extLst>
                <a:ext uri="{FF2B5EF4-FFF2-40B4-BE49-F238E27FC236}">
                  <a16:creationId xmlns:a16="http://schemas.microsoft.com/office/drawing/2014/main" id="{701AFBDD-EBDC-2447-7E49-84FBAE3C1B82}"/>
                </a:ext>
              </a:extLst>
            </p:cNvPr>
            <p:cNvSpPr/>
            <p:nvPr/>
          </p:nvSpPr>
          <p:spPr>
            <a:xfrm>
              <a:off x="7998188" y="307501"/>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538" name="Hexagon 537">
              <a:extLst>
                <a:ext uri="{FF2B5EF4-FFF2-40B4-BE49-F238E27FC236}">
                  <a16:creationId xmlns:a16="http://schemas.microsoft.com/office/drawing/2014/main" id="{E8B50258-B473-1628-6357-F5CD74FDFCF2}"/>
                </a:ext>
              </a:extLst>
            </p:cNvPr>
            <p:cNvSpPr/>
            <p:nvPr/>
          </p:nvSpPr>
          <p:spPr>
            <a:xfrm>
              <a:off x="8278959" y="15519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grpSp>
          <p:nvGrpSpPr>
            <p:cNvPr id="539" name="Group 538">
              <a:extLst>
                <a:ext uri="{FF2B5EF4-FFF2-40B4-BE49-F238E27FC236}">
                  <a16:creationId xmlns:a16="http://schemas.microsoft.com/office/drawing/2014/main" id="{5E2B2423-156F-BA9C-6ED4-9B7F831CD167}"/>
                </a:ext>
              </a:extLst>
            </p:cNvPr>
            <p:cNvGrpSpPr/>
            <p:nvPr/>
          </p:nvGrpSpPr>
          <p:grpSpPr>
            <a:xfrm>
              <a:off x="8280536" y="455170"/>
              <a:ext cx="334041" cy="286633"/>
              <a:chOff x="3708538" y="2148352"/>
              <a:chExt cx="1338549" cy="1160199"/>
            </a:xfrm>
          </p:grpSpPr>
          <p:sp>
            <p:nvSpPr>
              <p:cNvPr id="570" name="Hexagon 569">
                <a:extLst>
                  <a:ext uri="{FF2B5EF4-FFF2-40B4-BE49-F238E27FC236}">
                    <a16:creationId xmlns:a16="http://schemas.microsoft.com/office/drawing/2014/main" id="{9903C1AF-54DA-F3C8-77CD-075DCD4E30A6}"/>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571" name="Rectangle 570">
                <a:extLst>
                  <a:ext uri="{FF2B5EF4-FFF2-40B4-BE49-F238E27FC236}">
                    <a16:creationId xmlns:a16="http://schemas.microsoft.com/office/drawing/2014/main" id="{AAA037B1-C4D2-7CBA-B00F-6E409E4A80FB}"/>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rPr>
                  <a:t>6G</a:t>
                </a:r>
              </a:p>
            </p:txBody>
          </p:sp>
        </p:grpSp>
        <p:sp>
          <p:nvSpPr>
            <p:cNvPr id="540" name="Hexagon 539">
              <a:extLst>
                <a:ext uri="{FF2B5EF4-FFF2-40B4-BE49-F238E27FC236}">
                  <a16:creationId xmlns:a16="http://schemas.microsoft.com/office/drawing/2014/main" id="{4325D312-6345-CFC8-DB70-B0136E2684CE}"/>
                </a:ext>
              </a:extLst>
            </p:cNvPr>
            <p:cNvSpPr/>
            <p:nvPr/>
          </p:nvSpPr>
          <p:spPr>
            <a:xfrm>
              <a:off x="8564393" y="309353"/>
              <a:ext cx="334041" cy="280160"/>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541" name="Hexagon 540">
              <a:extLst>
                <a:ext uri="{FF2B5EF4-FFF2-40B4-BE49-F238E27FC236}">
                  <a16:creationId xmlns:a16="http://schemas.microsoft.com/office/drawing/2014/main" id="{075E718E-EFDB-5226-32C7-AF05525DF70A}"/>
                </a:ext>
              </a:extLst>
            </p:cNvPr>
            <p:cNvSpPr/>
            <p:nvPr/>
          </p:nvSpPr>
          <p:spPr>
            <a:xfrm>
              <a:off x="8566933"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542" name="Hexagon 541">
              <a:extLst>
                <a:ext uri="{FF2B5EF4-FFF2-40B4-BE49-F238E27FC236}">
                  <a16:creationId xmlns:a16="http://schemas.microsoft.com/office/drawing/2014/main" id="{FA90688A-85B1-CC1B-CC0B-B3B470A44B0F}"/>
                </a:ext>
              </a:extLst>
            </p:cNvPr>
            <p:cNvSpPr/>
            <p:nvPr/>
          </p:nvSpPr>
          <p:spPr>
            <a:xfrm>
              <a:off x="8278959" y="75681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543" name="Hexagon 542">
              <a:extLst>
                <a:ext uri="{FF2B5EF4-FFF2-40B4-BE49-F238E27FC236}">
                  <a16:creationId xmlns:a16="http://schemas.microsoft.com/office/drawing/2014/main" id="{F4E17A68-1431-0801-4636-09F80BE83865}"/>
                </a:ext>
              </a:extLst>
            </p:cNvPr>
            <p:cNvSpPr/>
            <p:nvPr/>
          </p:nvSpPr>
          <p:spPr>
            <a:xfrm>
              <a:off x="7998188"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pic>
          <p:nvPicPr>
            <p:cNvPr id="544" name="Graphic 543">
              <a:extLst>
                <a:ext uri="{FF2B5EF4-FFF2-40B4-BE49-F238E27FC236}">
                  <a16:creationId xmlns:a16="http://schemas.microsoft.com/office/drawing/2014/main" id="{9955517B-6378-D3BD-2B0D-F89A46A03F2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361736" y="220952"/>
              <a:ext cx="173149" cy="133797"/>
            </a:xfrm>
            <a:prstGeom prst="rect">
              <a:avLst/>
            </a:prstGeom>
          </p:spPr>
        </p:pic>
        <p:pic>
          <p:nvPicPr>
            <p:cNvPr id="545" name="Graphic 544">
              <a:extLst>
                <a:ext uri="{FF2B5EF4-FFF2-40B4-BE49-F238E27FC236}">
                  <a16:creationId xmlns:a16="http://schemas.microsoft.com/office/drawing/2014/main" id="{7D3751B2-AFB9-5FA4-B711-8EDC60A0F08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044555" y="621751"/>
              <a:ext cx="242008" cy="242008"/>
            </a:xfrm>
            <a:prstGeom prst="rect">
              <a:avLst/>
            </a:prstGeom>
          </p:spPr>
        </p:pic>
        <p:grpSp>
          <p:nvGrpSpPr>
            <p:cNvPr id="546" name="Group 545">
              <a:extLst>
                <a:ext uri="{FF2B5EF4-FFF2-40B4-BE49-F238E27FC236}">
                  <a16:creationId xmlns:a16="http://schemas.microsoft.com/office/drawing/2014/main" id="{174D2851-5260-0B79-D85C-2521313DB834}"/>
                </a:ext>
              </a:extLst>
            </p:cNvPr>
            <p:cNvGrpSpPr>
              <a:grpSpLocks noChangeAspect="1"/>
            </p:cNvGrpSpPr>
            <p:nvPr/>
          </p:nvGrpSpPr>
          <p:grpSpPr>
            <a:xfrm>
              <a:off x="8365046" y="808317"/>
              <a:ext cx="165022" cy="166305"/>
              <a:chOff x="6477861" y="3605373"/>
              <a:chExt cx="428667" cy="432000"/>
            </a:xfrm>
          </p:grpSpPr>
          <p:sp>
            <p:nvSpPr>
              <p:cNvPr id="563" name="Freeform: Shape 562">
                <a:extLst>
                  <a:ext uri="{FF2B5EF4-FFF2-40B4-BE49-F238E27FC236}">
                    <a16:creationId xmlns:a16="http://schemas.microsoft.com/office/drawing/2014/main" id="{D75296AA-3F42-4A5C-21D3-747691DACAAC}"/>
                  </a:ext>
                </a:extLst>
              </p:cNvPr>
              <p:cNvSpPr/>
              <p:nvPr/>
            </p:nvSpPr>
            <p:spPr>
              <a:xfrm>
                <a:off x="6499528" y="3629373"/>
                <a:ext cx="384000" cy="384000"/>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solidFill>
                <a:schemeClr val="accent2"/>
              </a:solidFill>
              <a:ln w="6350" cap="rnd">
                <a:solidFill>
                  <a:schemeClr val="bg1"/>
                </a:solidFill>
                <a:prstDash val="solid"/>
                <a:round/>
              </a:ln>
            </p:spPr>
            <p:txBody>
              <a:bodyPr rtlCol="0" anchor="ctr"/>
              <a:lstStyle/>
              <a:p>
                <a:endParaRPr lang="en-US" sz="700"/>
              </a:p>
            </p:txBody>
          </p:sp>
          <p:sp>
            <p:nvSpPr>
              <p:cNvPr id="564" name="Freeform: Shape 563">
                <a:extLst>
                  <a:ext uri="{FF2B5EF4-FFF2-40B4-BE49-F238E27FC236}">
                    <a16:creationId xmlns:a16="http://schemas.microsoft.com/office/drawing/2014/main" id="{734045ED-E9C1-F872-3A5E-71B15988F41A}"/>
                  </a:ext>
                </a:extLst>
              </p:cNvPr>
              <p:cNvSpPr/>
              <p:nvPr/>
            </p:nvSpPr>
            <p:spPr>
              <a:xfrm>
                <a:off x="6667194" y="3605373"/>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565" name="Freeform: Shape 564">
                <a:extLst>
                  <a:ext uri="{FF2B5EF4-FFF2-40B4-BE49-F238E27FC236}">
                    <a16:creationId xmlns:a16="http://schemas.microsoft.com/office/drawing/2014/main" id="{A823AEB7-8484-6C54-71B4-0F694DAE5EE8}"/>
                  </a:ext>
                </a:extLst>
              </p:cNvPr>
              <p:cNvSpPr/>
              <p:nvPr/>
            </p:nvSpPr>
            <p:spPr>
              <a:xfrm>
                <a:off x="6667194" y="3988706"/>
                <a:ext cx="47333" cy="48667"/>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566" name="Freeform: Shape 565">
                <a:extLst>
                  <a:ext uri="{FF2B5EF4-FFF2-40B4-BE49-F238E27FC236}">
                    <a16:creationId xmlns:a16="http://schemas.microsoft.com/office/drawing/2014/main" id="{4315F598-6F61-4A3B-DE68-CE5102EFD78B}"/>
                  </a:ext>
                </a:extLst>
              </p:cNvPr>
              <p:cNvSpPr/>
              <p:nvPr/>
            </p:nvSpPr>
            <p:spPr>
              <a:xfrm>
                <a:off x="6732528"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567" name="Freeform: Shape 566">
                <a:extLst>
                  <a:ext uri="{FF2B5EF4-FFF2-40B4-BE49-F238E27FC236}">
                    <a16:creationId xmlns:a16="http://schemas.microsoft.com/office/drawing/2014/main" id="{FFEA624B-FC7C-85F4-9EE8-9EBFF6DC7D72}"/>
                  </a:ext>
                </a:extLst>
              </p:cNvPr>
              <p:cNvSpPr/>
              <p:nvPr/>
            </p:nvSpPr>
            <p:spPr>
              <a:xfrm>
                <a:off x="6601194"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568" name="Freeform: Shape 567">
                <a:extLst>
                  <a:ext uri="{FF2B5EF4-FFF2-40B4-BE49-F238E27FC236}">
                    <a16:creationId xmlns:a16="http://schemas.microsoft.com/office/drawing/2014/main" id="{B1848F0C-6CCA-40A9-343F-E6FEDC231BDB}"/>
                  </a:ext>
                </a:extLst>
              </p:cNvPr>
              <p:cNvSpPr/>
              <p:nvPr/>
            </p:nvSpPr>
            <p:spPr>
              <a:xfrm>
                <a:off x="6859195"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569" name="Freeform: Shape 568">
                <a:extLst>
                  <a:ext uri="{FF2B5EF4-FFF2-40B4-BE49-F238E27FC236}">
                    <a16:creationId xmlns:a16="http://schemas.microsoft.com/office/drawing/2014/main" id="{8B3A73EE-A19C-995E-74F5-203E37F99C76}"/>
                  </a:ext>
                </a:extLst>
              </p:cNvPr>
              <p:cNvSpPr/>
              <p:nvPr/>
            </p:nvSpPr>
            <p:spPr>
              <a:xfrm>
                <a:off x="6477861" y="3797706"/>
                <a:ext cx="47333" cy="48666"/>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grpSp>
        <p:sp>
          <p:nvSpPr>
            <p:cNvPr id="547" name="Freeform: Shape 546">
              <a:extLst>
                <a:ext uri="{FF2B5EF4-FFF2-40B4-BE49-F238E27FC236}">
                  <a16:creationId xmlns:a16="http://schemas.microsoft.com/office/drawing/2014/main" id="{2C3E024A-8810-DC63-AC31-66AED92E5360}"/>
                </a:ext>
              </a:extLst>
            </p:cNvPr>
            <p:cNvSpPr>
              <a:spLocks noChangeAspect="1"/>
            </p:cNvSpPr>
            <p:nvPr/>
          </p:nvSpPr>
          <p:spPr>
            <a:xfrm>
              <a:off x="8104643" y="385407"/>
              <a:ext cx="128139" cy="142628"/>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6350" cap="rnd">
              <a:solidFill>
                <a:schemeClr val="bg1"/>
              </a:solidFill>
              <a:prstDash val="solid"/>
              <a:round/>
            </a:ln>
          </p:spPr>
          <p:txBody>
            <a:bodyPr rtlCol="0" anchor="ctr"/>
            <a:lstStyle/>
            <a:p>
              <a:endParaRPr lang="en-US" sz="700"/>
            </a:p>
          </p:txBody>
        </p:sp>
        <p:grpSp>
          <p:nvGrpSpPr>
            <p:cNvPr id="548" name="Group 547">
              <a:extLst>
                <a:ext uri="{FF2B5EF4-FFF2-40B4-BE49-F238E27FC236}">
                  <a16:creationId xmlns:a16="http://schemas.microsoft.com/office/drawing/2014/main" id="{512E8F29-FB49-883C-6DB7-ABCABA99CFD1}"/>
                </a:ext>
              </a:extLst>
            </p:cNvPr>
            <p:cNvGrpSpPr>
              <a:grpSpLocks noChangeAspect="1"/>
            </p:cNvGrpSpPr>
            <p:nvPr/>
          </p:nvGrpSpPr>
          <p:grpSpPr>
            <a:xfrm>
              <a:off x="8664411" y="385784"/>
              <a:ext cx="131786" cy="131293"/>
              <a:chOff x="7644836" y="1910200"/>
              <a:chExt cx="325217" cy="324000"/>
            </a:xfrm>
          </p:grpSpPr>
          <p:sp>
            <p:nvSpPr>
              <p:cNvPr id="559" name="Freeform: Shape 558">
                <a:extLst>
                  <a:ext uri="{FF2B5EF4-FFF2-40B4-BE49-F238E27FC236}">
                    <a16:creationId xmlns:a16="http://schemas.microsoft.com/office/drawing/2014/main" id="{97899CB7-591B-956F-19B9-9227E70A5F92}"/>
                  </a:ext>
                </a:extLst>
              </p:cNvPr>
              <p:cNvSpPr/>
              <p:nvPr/>
            </p:nvSpPr>
            <p:spPr>
              <a:xfrm>
                <a:off x="7845967" y="1910200"/>
                <a:ext cx="124084" cy="124084"/>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6350" cap="rnd">
                <a:solidFill>
                  <a:schemeClr val="bg1"/>
                </a:solidFill>
                <a:prstDash val="solid"/>
                <a:round/>
              </a:ln>
            </p:spPr>
            <p:txBody>
              <a:bodyPr rtlCol="0" anchor="ctr"/>
              <a:lstStyle/>
              <a:p>
                <a:endParaRPr lang="en-US" sz="700"/>
              </a:p>
            </p:txBody>
          </p:sp>
          <p:sp>
            <p:nvSpPr>
              <p:cNvPr id="560" name="Freeform: Shape 559">
                <a:extLst>
                  <a:ext uri="{FF2B5EF4-FFF2-40B4-BE49-F238E27FC236}">
                    <a16:creationId xmlns:a16="http://schemas.microsoft.com/office/drawing/2014/main" id="{3043CB10-6DFE-0833-D20B-C8A71B62CF7F}"/>
                  </a:ext>
                </a:extLst>
              </p:cNvPr>
              <p:cNvSpPr/>
              <p:nvPr/>
            </p:nvSpPr>
            <p:spPr>
              <a:xfrm>
                <a:off x="7645647" y="1910200"/>
                <a:ext cx="162203" cy="210202"/>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6350" cap="rnd">
                <a:solidFill>
                  <a:schemeClr val="bg1"/>
                </a:solidFill>
                <a:prstDash val="solid"/>
                <a:round/>
              </a:ln>
            </p:spPr>
            <p:txBody>
              <a:bodyPr rtlCol="0" anchor="ctr"/>
              <a:lstStyle/>
              <a:p>
                <a:endParaRPr lang="en-US" sz="700"/>
              </a:p>
            </p:txBody>
          </p:sp>
          <p:sp>
            <p:nvSpPr>
              <p:cNvPr id="561" name="Freeform: Shape 560">
                <a:extLst>
                  <a:ext uri="{FF2B5EF4-FFF2-40B4-BE49-F238E27FC236}">
                    <a16:creationId xmlns:a16="http://schemas.microsoft.com/office/drawing/2014/main" id="{CDE920E2-5E0A-E7FB-1CF7-1BB63EBE7310}"/>
                  </a:ext>
                </a:extLst>
              </p:cNvPr>
              <p:cNvSpPr/>
              <p:nvPr/>
            </p:nvSpPr>
            <p:spPr>
              <a:xfrm>
                <a:off x="7644836" y="2072403"/>
                <a:ext cx="210607" cy="161797"/>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6350" cap="rnd">
                <a:solidFill>
                  <a:schemeClr val="bg1"/>
                </a:solidFill>
                <a:prstDash val="solid"/>
                <a:round/>
              </a:ln>
            </p:spPr>
            <p:txBody>
              <a:bodyPr rtlCol="0" anchor="ctr"/>
              <a:lstStyle/>
              <a:p>
                <a:endParaRPr lang="en-US" sz="700"/>
              </a:p>
            </p:txBody>
          </p:sp>
          <p:sp>
            <p:nvSpPr>
              <p:cNvPr id="562" name="Freeform: Shape 561">
                <a:extLst>
                  <a:ext uri="{FF2B5EF4-FFF2-40B4-BE49-F238E27FC236}">
                    <a16:creationId xmlns:a16="http://schemas.microsoft.com/office/drawing/2014/main" id="{5D1B101D-9F9D-F269-E96F-BD44BD97CB8B}"/>
                  </a:ext>
                </a:extLst>
              </p:cNvPr>
              <p:cNvSpPr/>
              <p:nvPr/>
            </p:nvSpPr>
            <p:spPr>
              <a:xfrm>
                <a:off x="7807850" y="2024402"/>
                <a:ext cx="162203" cy="209391"/>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6350" cap="rnd">
                <a:solidFill>
                  <a:schemeClr val="bg1"/>
                </a:solidFill>
                <a:prstDash val="solid"/>
                <a:round/>
              </a:ln>
            </p:spPr>
            <p:txBody>
              <a:bodyPr rtlCol="0" anchor="ctr"/>
              <a:lstStyle/>
              <a:p>
                <a:endParaRPr lang="en-US" sz="700"/>
              </a:p>
            </p:txBody>
          </p:sp>
        </p:grpSp>
        <p:grpSp>
          <p:nvGrpSpPr>
            <p:cNvPr id="549" name="Group 548">
              <a:extLst>
                <a:ext uri="{FF2B5EF4-FFF2-40B4-BE49-F238E27FC236}">
                  <a16:creationId xmlns:a16="http://schemas.microsoft.com/office/drawing/2014/main" id="{2AC9B2EE-8AC8-6AC2-6664-9A98DA6FB3E4}"/>
                </a:ext>
              </a:extLst>
            </p:cNvPr>
            <p:cNvGrpSpPr>
              <a:grpSpLocks noChangeAspect="1"/>
            </p:cNvGrpSpPr>
            <p:nvPr/>
          </p:nvGrpSpPr>
          <p:grpSpPr>
            <a:xfrm>
              <a:off x="8641332" y="690364"/>
              <a:ext cx="194246" cy="107818"/>
              <a:chOff x="7555416" y="3035519"/>
              <a:chExt cx="518864" cy="288000"/>
            </a:xfrm>
          </p:grpSpPr>
          <p:sp>
            <p:nvSpPr>
              <p:cNvPr id="550" name="Freeform: Shape 549">
                <a:extLst>
                  <a:ext uri="{FF2B5EF4-FFF2-40B4-BE49-F238E27FC236}">
                    <a16:creationId xmlns:a16="http://schemas.microsoft.com/office/drawing/2014/main" id="{AEE5440A-8FE1-1DC0-AAFD-CF0EA2ECA9C7}"/>
                  </a:ext>
                </a:extLst>
              </p:cNvPr>
              <p:cNvSpPr/>
              <p:nvPr/>
            </p:nvSpPr>
            <p:spPr>
              <a:xfrm>
                <a:off x="7795032" y="3159702"/>
                <a:ext cx="39632" cy="39632"/>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6350" cap="flat">
                <a:solidFill>
                  <a:schemeClr val="bg1"/>
                </a:solidFill>
                <a:prstDash val="solid"/>
                <a:miter/>
              </a:ln>
            </p:spPr>
            <p:txBody>
              <a:bodyPr rtlCol="0" anchor="ctr"/>
              <a:lstStyle/>
              <a:p>
                <a:endParaRPr lang="en-US" sz="700"/>
              </a:p>
            </p:txBody>
          </p:sp>
          <p:grpSp>
            <p:nvGrpSpPr>
              <p:cNvPr id="551" name="Graphic 28">
                <a:extLst>
                  <a:ext uri="{FF2B5EF4-FFF2-40B4-BE49-F238E27FC236}">
                    <a16:creationId xmlns:a16="http://schemas.microsoft.com/office/drawing/2014/main" id="{DAA48D2F-2A2A-95BC-C611-798D5809073A}"/>
                  </a:ext>
                </a:extLst>
              </p:cNvPr>
              <p:cNvGrpSpPr/>
              <p:nvPr/>
            </p:nvGrpSpPr>
            <p:grpSpPr>
              <a:xfrm>
                <a:off x="7900060" y="3036180"/>
                <a:ext cx="174220" cy="287339"/>
                <a:chOff x="5573768" y="3664511"/>
                <a:chExt cx="90200" cy="148766"/>
              </a:xfrm>
              <a:noFill/>
            </p:grpSpPr>
            <p:sp>
              <p:nvSpPr>
                <p:cNvPr id="556" name="Freeform: Shape 555">
                  <a:extLst>
                    <a:ext uri="{FF2B5EF4-FFF2-40B4-BE49-F238E27FC236}">
                      <a16:creationId xmlns:a16="http://schemas.microsoft.com/office/drawing/2014/main" id="{3CCBF595-4FF4-DB75-DB4D-986DC95E680C}"/>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6350" cap="flat">
                  <a:solidFill>
                    <a:schemeClr val="bg1"/>
                  </a:solidFill>
                  <a:prstDash val="solid"/>
                  <a:miter/>
                </a:ln>
              </p:spPr>
              <p:txBody>
                <a:bodyPr rtlCol="0" anchor="ctr"/>
                <a:lstStyle/>
                <a:p>
                  <a:endParaRPr lang="en-US" sz="700"/>
                </a:p>
              </p:txBody>
            </p:sp>
            <p:sp>
              <p:nvSpPr>
                <p:cNvPr id="557" name="Freeform: Shape 556">
                  <a:extLst>
                    <a:ext uri="{FF2B5EF4-FFF2-40B4-BE49-F238E27FC236}">
                      <a16:creationId xmlns:a16="http://schemas.microsoft.com/office/drawing/2014/main" id="{F4EEB071-C063-23C2-8E44-CE6705911D5E}"/>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6350" cap="flat">
                  <a:solidFill>
                    <a:schemeClr val="bg1"/>
                  </a:solidFill>
                  <a:prstDash val="solid"/>
                  <a:miter/>
                </a:ln>
              </p:spPr>
              <p:txBody>
                <a:bodyPr rtlCol="0" anchor="ctr"/>
                <a:lstStyle/>
                <a:p>
                  <a:endParaRPr lang="en-US" sz="700"/>
                </a:p>
              </p:txBody>
            </p:sp>
            <p:sp>
              <p:nvSpPr>
                <p:cNvPr id="558" name="Freeform: Shape 557">
                  <a:extLst>
                    <a:ext uri="{FF2B5EF4-FFF2-40B4-BE49-F238E27FC236}">
                      <a16:creationId xmlns:a16="http://schemas.microsoft.com/office/drawing/2014/main" id="{0D26CA77-2717-AF5E-4D27-44728C454CBB}"/>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6350" cap="flat">
                  <a:solidFill>
                    <a:schemeClr val="bg1"/>
                  </a:solidFill>
                  <a:prstDash val="solid"/>
                  <a:miter/>
                </a:ln>
              </p:spPr>
              <p:txBody>
                <a:bodyPr rtlCol="0" anchor="ctr"/>
                <a:lstStyle/>
                <a:p>
                  <a:endParaRPr lang="en-US" sz="700"/>
                </a:p>
              </p:txBody>
            </p:sp>
          </p:grpSp>
          <p:grpSp>
            <p:nvGrpSpPr>
              <p:cNvPr id="552" name="Graphic 28">
                <a:extLst>
                  <a:ext uri="{FF2B5EF4-FFF2-40B4-BE49-F238E27FC236}">
                    <a16:creationId xmlns:a16="http://schemas.microsoft.com/office/drawing/2014/main" id="{3AA48D27-DB40-9770-BF9F-AE8218A0B15A}"/>
                  </a:ext>
                </a:extLst>
              </p:cNvPr>
              <p:cNvGrpSpPr/>
              <p:nvPr/>
            </p:nvGrpSpPr>
            <p:grpSpPr>
              <a:xfrm>
                <a:off x="7555416" y="3035519"/>
                <a:ext cx="174220" cy="287339"/>
                <a:chOff x="5395333" y="3664169"/>
                <a:chExt cx="90200" cy="148766"/>
              </a:xfrm>
              <a:noFill/>
            </p:grpSpPr>
            <p:sp>
              <p:nvSpPr>
                <p:cNvPr id="553" name="Freeform: Shape 552">
                  <a:extLst>
                    <a:ext uri="{FF2B5EF4-FFF2-40B4-BE49-F238E27FC236}">
                      <a16:creationId xmlns:a16="http://schemas.microsoft.com/office/drawing/2014/main" id="{D5BF5579-21A2-70C5-60E3-B5815EC4F9EA}"/>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6350" cap="flat">
                  <a:solidFill>
                    <a:schemeClr val="bg1"/>
                  </a:solidFill>
                  <a:prstDash val="solid"/>
                  <a:miter/>
                </a:ln>
              </p:spPr>
              <p:txBody>
                <a:bodyPr rtlCol="0" anchor="ctr"/>
                <a:lstStyle/>
                <a:p>
                  <a:endParaRPr lang="en-US" sz="700"/>
                </a:p>
              </p:txBody>
            </p:sp>
            <p:sp>
              <p:nvSpPr>
                <p:cNvPr id="554" name="Freeform: Shape 553">
                  <a:extLst>
                    <a:ext uri="{FF2B5EF4-FFF2-40B4-BE49-F238E27FC236}">
                      <a16:creationId xmlns:a16="http://schemas.microsoft.com/office/drawing/2014/main" id="{941EDEB6-F782-5326-0812-18FCBCA2B6B7}"/>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6350" cap="flat">
                  <a:solidFill>
                    <a:schemeClr val="bg1"/>
                  </a:solidFill>
                  <a:prstDash val="solid"/>
                  <a:miter/>
                </a:ln>
              </p:spPr>
              <p:txBody>
                <a:bodyPr rtlCol="0" anchor="ctr"/>
                <a:lstStyle/>
                <a:p>
                  <a:endParaRPr lang="en-US" sz="700"/>
                </a:p>
              </p:txBody>
            </p:sp>
            <p:sp>
              <p:nvSpPr>
                <p:cNvPr id="555" name="Freeform: Shape 554">
                  <a:extLst>
                    <a:ext uri="{FF2B5EF4-FFF2-40B4-BE49-F238E27FC236}">
                      <a16:creationId xmlns:a16="http://schemas.microsoft.com/office/drawing/2014/main" id="{7F5002F3-89D8-8C77-03EA-51FD67494E82}"/>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6350" cap="flat">
                  <a:solidFill>
                    <a:schemeClr val="bg1"/>
                  </a:solidFill>
                  <a:prstDash val="solid"/>
                  <a:miter/>
                </a:ln>
              </p:spPr>
              <p:txBody>
                <a:bodyPr rtlCol="0" anchor="ctr"/>
                <a:lstStyle/>
                <a:p>
                  <a:endParaRPr lang="en-US" sz="700"/>
                </a:p>
              </p:txBody>
            </p:sp>
          </p:grpSp>
        </p:grpSp>
      </p:grpSp>
    </p:spTree>
    <p:extLst>
      <p:ext uri="{BB962C8B-B14F-4D97-AF65-F5344CB8AC3E}">
        <p14:creationId xmlns:p14="http://schemas.microsoft.com/office/powerpoint/2010/main" val="347003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754325EE-D7C7-B07E-F902-5A6D36959C3F}"/>
              </a:ext>
            </a:extLst>
          </p:cNvPr>
          <p:cNvPicPr>
            <a:picLocks noChangeAspect="1"/>
          </p:cNvPicPr>
          <p:nvPr/>
        </p:nvPicPr>
        <p:blipFill rotWithShape="1">
          <a:blip r:embed="rId7"/>
          <a:srcRect t="933" b="-4"/>
          <a:stretch/>
        </p:blipFill>
        <p:spPr>
          <a:xfrm>
            <a:off x="0" y="1"/>
            <a:ext cx="9152885" cy="5143500"/>
          </a:xfrm>
          <a:prstGeom prst="rect">
            <a:avLst/>
          </a:prstGeom>
        </p:spPr>
      </p:pic>
      <p:pic>
        <p:nvPicPr>
          <p:cNvPr id="274" name="Picture 273" descr="Icon&#10;&#10;Description automatically generated">
            <a:extLst>
              <a:ext uri="{FF2B5EF4-FFF2-40B4-BE49-F238E27FC236}">
                <a16:creationId xmlns:a16="http://schemas.microsoft.com/office/drawing/2014/main" id="{F5827561-B73C-F92B-FFDE-491AAEE75D2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65208" y="4619501"/>
            <a:ext cx="759682" cy="362164"/>
          </a:xfrm>
          <a:prstGeom prst="rect">
            <a:avLst/>
          </a:prstGeom>
        </p:spPr>
      </p:pic>
      <p:pic>
        <p:nvPicPr>
          <p:cNvPr id="518" name="Graphic 517">
            <a:extLst>
              <a:ext uri="{FF2B5EF4-FFF2-40B4-BE49-F238E27FC236}">
                <a16:creationId xmlns:a16="http://schemas.microsoft.com/office/drawing/2014/main" id="{BFD5E80E-C4EB-C7F7-9484-699C5E5193C8}"/>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l="27071" b="69655"/>
          <a:stretch/>
        </p:blipFill>
        <p:spPr>
          <a:xfrm rot="5400000" flipH="1">
            <a:off x="-1939765" y="2072749"/>
            <a:ext cx="5010262" cy="1130734"/>
          </a:xfrm>
          <a:prstGeom prst="rect">
            <a:avLst/>
          </a:prstGeom>
        </p:spPr>
      </p:pic>
      <p:grpSp>
        <p:nvGrpSpPr>
          <p:cNvPr id="30" name="Group 29">
            <a:extLst>
              <a:ext uri="{FF2B5EF4-FFF2-40B4-BE49-F238E27FC236}">
                <a16:creationId xmlns:a16="http://schemas.microsoft.com/office/drawing/2014/main" id="{035DCEDE-B300-30BB-00B2-CF83065EF903}"/>
              </a:ext>
            </a:extLst>
          </p:cNvPr>
          <p:cNvGrpSpPr>
            <a:grpSpLocks noChangeAspect="1"/>
          </p:cNvGrpSpPr>
          <p:nvPr/>
        </p:nvGrpSpPr>
        <p:grpSpPr>
          <a:xfrm>
            <a:off x="7998188" y="155196"/>
            <a:ext cx="902786" cy="881780"/>
            <a:chOff x="7998188" y="155196"/>
            <a:chExt cx="902786" cy="881780"/>
          </a:xfrm>
        </p:grpSpPr>
        <p:sp>
          <p:nvSpPr>
            <p:cNvPr id="31" name="Hexagon 30">
              <a:extLst>
                <a:ext uri="{FF2B5EF4-FFF2-40B4-BE49-F238E27FC236}">
                  <a16:creationId xmlns:a16="http://schemas.microsoft.com/office/drawing/2014/main" id="{2372D4F8-BFEE-5871-4766-C276647680BA}"/>
                </a:ext>
              </a:extLst>
            </p:cNvPr>
            <p:cNvSpPr/>
            <p:nvPr/>
          </p:nvSpPr>
          <p:spPr>
            <a:xfrm>
              <a:off x="7998188" y="307501"/>
              <a:ext cx="334041" cy="280160"/>
            </a:xfrm>
            <a:prstGeom prst="hexago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32" name="Hexagon 31">
              <a:extLst>
                <a:ext uri="{FF2B5EF4-FFF2-40B4-BE49-F238E27FC236}">
                  <a16:creationId xmlns:a16="http://schemas.microsoft.com/office/drawing/2014/main" id="{D474608F-77D9-5670-7A4C-2671BD69D4A2}"/>
                </a:ext>
              </a:extLst>
            </p:cNvPr>
            <p:cNvSpPr/>
            <p:nvPr/>
          </p:nvSpPr>
          <p:spPr>
            <a:xfrm>
              <a:off x="8278959" y="155196"/>
              <a:ext cx="334041" cy="280160"/>
            </a:xfrm>
            <a:prstGeom prst="hexago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grpSp>
          <p:nvGrpSpPr>
            <p:cNvPr id="33" name="Group 32">
              <a:extLst>
                <a:ext uri="{FF2B5EF4-FFF2-40B4-BE49-F238E27FC236}">
                  <a16:creationId xmlns:a16="http://schemas.microsoft.com/office/drawing/2014/main" id="{3692444F-5403-905A-8126-6014671AE185}"/>
                </a:ext>
              </a:extLst>
            </p:cNvPr>
            <p:cNvGrpSpPr/>
            <p:nvPr/>
          </p:nvGrpSpPr>
          <p:grpSpPr>
            <a:xfrm>
              <a:off x="8280536" y="455170"/>
              <a:ext cx="334041" cy="286633"/>
              <a:chOff x="3708538" y="2148352"/>
              <a:chExt cx="1338549" cy="1160199"/>
            </a:xfrm>
          </p:grpSpPr>
          <p:sp>
            <p:nvSpPr>
              <p:cNvPr id="448" name="Hexagon 447">
                <a:extLst>
                  <a:ext uri="{FF2B5EF4-FFF2-40B4-BE49-F238E27FC236}">
                    <a16:creationId xmlns:a16="http://schemas.microsoft.com/office/drawing/2014/main" id="{B9269558-F4D1-8EF3-706E-B82B795A9D3E}"/>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51" name="Rectangle 450">
                <a:extLst>
                  <a:ext uri="{FF2B5EF4-FFF2-40B4-BE49-F238E27FC236}">
                    <a16:creationId xmlns:a16="http://schemas.microsoft.com/office/drawing/2014/main" id="{1CA2F238-7450-B691-7D6A-46C0651D6F4B}"/>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6G</a:t>
                </a:r>
              </a:p>
            </p:txBody>
          </p:sp>
        </p:grpSp>
        <p:sp>
          <p:nvSpPr>
            <p:cNvPr id="34" name="Hexagon 33">
              <a:extLst>
                <a:ext uri="{FF2B5EF4-FFF2-40B4-BE49-F238E27FC236}">
                  <a16:creationId xmlns:a16="http://schemas.microsoft.com/office/drawing/2014/main" id="{EB5329F7-A757-32A9-3A93-735286B78EA6}"/>
                </a:ext>
              </a:extLst>
            </p:cNvPr>
            <p:cNvSpPr/>
            <p:nvPr/>
          </p:nvSpPr>
          <p:spPr>
            <a:xfrm>
              <a:off x="8564393" y="309353"/>
              <a:ext cx="334041" cy="280160"/>
            </a:xfrm>
            <a:prstGeom prst="hexago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35" name="Hexagon 34">
              <a:extLst>
                <a:ext uri="{FF2B5EF4-FFF2-40B4-BE49-F238E27FC236}">
                  <a16:creationId xmlns:a16="http://schemas.microsoft.com/office/drawing/2014/main" id="{DF5E7223-6483-BD7D-5873-C668E97B572A}"/>
                </a:ext>
              </a:extLst>
            </p:cNvPr>
            <p:cNvSpPr/>
            <p:nvPr/>
          </p:nvSpPr>
          <p:spPr>
            <a:xfrm>
              <a:off x="8566933" y="604778"/>
              <a:ext cx="334041" cy="280160"/>
            </a:xfrm>
            <a:prstGeom prst="hexagon">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36" name="Hexagon 35">
              <a:extLst>
                <a:ext uri="{FF2B5EF4-FFF2-40B4-BE49-F238E27FC236}">
                  <a16:creationId xmlns:a16="http://schemas.microsoft.com/office/drawing/2014/main" id="{C99AAD00-E6C7-1603-5340-7B41F917B187}"/>
                </a:ext>
              </a:extLst>
            </p:cNvPr>
            <p:cNvSpPr/>
            <p:nvPr/>
          </p:nvSpPr>
          <p:spPr>
            <a:xfrm>
              <a:off x="8278959" y="756816"/>
              <a:ext cx="334041" cy="280160"/>
            </a:xfrm>
            <a:prstGeom prst="hexago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37" name="Hexagon 36">
              <a:extLst>
                <a:ext uri="{FF2B5EF4-FFF2-40B4-BE49-F238E27FC236}">
                  <a16:creationId xmlns:a16="http://schemas.microsoft.com/office/drawing/2014/main" id="{E1DD01DC-F254-8E17-B119-438DCF83D9F1}"/>
                </a:ext>
              </a:extLst>
            </p:cNvPr>
            <p:cNvSpPr/>
            <p:nvPr/>
          </p:nvSpPr>
          <p:spPr>
            <a:xfrm>
              <a:off x="7998188" y="604778"/>
              <a:ext cx="334041" cy="280160"/>
            </a:xfrm>
            <a:prstGeom prst="hexagon">
              <a:avLst/>
            </a:prstGeom>
            <a:solidFill>
              <a:schemeClr val="accent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pic>
          <p:nvPicPr>
            <p:cNvPr id="38" name="Graphic 37">
              <a:extLst>
                <a:ext uri="{FF2B5EF4-FFF2-40B4-BE49-F238E27FC236}">
                  <a16:creationId xmlns:a16="http://schemas.microsoft.com/office/drawing/2014/main" id="{CB8E63AC-E928-49C3-F5D9-F10EE936A09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61736" y="220952"/>
              <a:ext cx="173149" cy="133797"/>
            </a:xfrm>
            <a:prstGeom prst="rect">
              <a:avLst/>
            </a:prstGeom>
          </p:spPr>
        </p:pic>
        <p:pic>
          <p:nvPicPr>
            <p:cNvPr id="39" name="Graphic 38">
              <a:extLst>
                <a:ext uri="{FF2B5EF4-FFF2-40B4-BE49-F238E27FC236}">
                  <a16:creationId xmlns:a16="http://schemas.microsoft.com/office/drawing/2014/main" id="{27257395-EA73-0C25-B2D5-85AFCEEF90F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044555" y="621751"/>
              <a:ext cx="242008" cy="242008"/>
            </a:xfrm>
            <a:prstGeom prst="rect">
              <a:avLst/>
            </a:prstGeom>
          </p:spPr>
        </p:pic>
        <p:grpSp>
          <p:nvGrpSpPr>
            <p:cNvPr id="40" name="Group 39">
              <a:extLst>
                <a:ext uri="{FF2B5EF4-FFF2-40B4-BE49-F238E27FC236}">
                  <a16:creationId xmlns:a16="http://schemas.microsoft.com/office/drawing/2014/main" id="{C470A975-DBCC-646C-BA71-0F31488D9EB2}"/>
                </a:ext>
              </a:extLst>
            </p:cNvPr>
            <p:cNvGrpSpPr>
              <a:grpSpLocks noChangeAspect="1"/>
            </p:cNvGrpSpPr>
            <p:nvPr/>
          </p:nvGrpSpPr>
          <p:grpSpPr>
            <a:xfrm>
              <a:off x="8365046" y="808317"/>
              <a:ext cx="165022" cy="166305"/>
              <a:chOff x="6477861" y="3605373"/>
              <a:chExt cx="428667" cy="432000"/>
            </a:xfrm>
          </p:grpSpPr>
          <p:sp>
            <p:nvSpPr>
              <p:cNvPr id="57" name="Freeform: Shape 56">
                <a:extLst>
                  <a:ext uri="{FF2B5EF4-FFF2-40B4-BE49-F238E27FC236}">
                    <a16:creationId xmlns:a16="http://schemas.microsoft.com/office/drawing/2014/main" id="{68B0EBEC-D31A-960E-6446-62B4F8E700F3}"/>
                  </a:ext>
                </a:extLst>
              </p:cNvPr>
              <p:cNvSpPr/>
              <p:nvPr/>
            </p:nvSpPr>
            <p:spPr>
              <a:xfrm>
                <a:off x="6499528" y="3629373"/>
                <a:ext cx="384000" cy="384000"/>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8" name="Freeform: Shape 57">
                <a:extLst>
                  <a:ext uri="{FF2B5EF4-FFF2-40B4-BE49-F238E27FC236}">
                    <a16:creationId xmlns:a16="http://schemas.microsoft.com/office/drawing/2014/main" id="{E201C628-0803-6654-8B88-CE125F8916C6}"/>
                  </a:ext>
                </a:extLst>
              </p:cNvPr>
              <p:cNvSpPr/>
              <p:nvPr/>
            </p:nvSpPr>
            <p:spPr>
              <a:xfrm>
                <a:off x="6667194" y="3605373"/>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9" name="Freeform: Shape 58">
                <a:extLst>
                  <a:ext uri="{FF2B5EF4-FFF2-40B4-BE49-F238E27FC236}">
                    <a16:creationId xmlns:a16="http://schemas.microsoft.com/office/drawing/2014/main" id="{0E7EEB7C-1749-38DD-D8CD-0AF04B3B406A}"/>
                  </a:ext>
                </a:extLst>
              </p:cNvPr>
              <p:cNvSpPr/>
              <p:nvPr/>
            </p:nvSpPr>
            <p:spPr>
              <a:xfrm>
                <a:off x="6667194" y="3988706"/>
                <a:ext cx="47333" cy="48667"/>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60" name="Freeform: Shape 59">
                <a:extLst>
                  <a:ext uri="{FF2B5EF4-FFF2-40B4-BE49-F238E27FC236}">
                    <a16:creationId xmlns:a16="http://schemas.microsoft.com/office/drawing/2014/main" id="{166B041C-40E9-D04F-8E62-D2128B7673AD}"/>
                  </a:ext>
                </a:extLst>
              </p:cNvPr>
              <p:cNvSpPr/>
              <p:nvPr/>
            </p:nvSpPr>
            <p:spPr>
              <a:xfrm>
                <a:off x="6732528"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61" name="Freeform: Shape 60">
                <a:extLst>
                  <a:ext uri="{FF2B5EF4-FFF2-40B4-BE49-F238E27FC236}">
                    <a16:creationId xmlns:a16="http://schemas.microsoft.com/office/drawing/2014/main" id="{D8B3713F-AD40-D76D-DA53-51F65FD46A1D}"/>
                  </a:ext>
                </a:extLst>
              </p:cNvPr>
              <p:cNvSpPr/>
              <p:nvPr/>
            </p:nvSpPr>
            <p:spPr>
              <a:xfrm>
                <a:off x="6601194"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62" name="Freeform: Shape 61">
                <a:extLst>
                  <a:ext uri="{FF2B5EF4-FFF2-40B4-BE49-F238E27FC236}">
                    <a16:creationId xmlns:a16="http://schemas.microsoft.com/office/drawing/2014/main" id="{8EB69F92-807B-6A48-7A8E-ECA66719A2A0}"/>
                  </a:ext>
                </a:extLst>
              </p:cNvPr>
              <p:cNvSpPr/>
              <p:nvPr/>
            </p:nvSpPr>
            <p:spPr>
              <a:xfrm>
                <a:off x="6859195"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63" name="Freeform: Shape 62">
                <a:extLst>
                  <a:ext uri="{FF2B5EF4-FFF2-40B4-BE49-F238E27FC236}">
                    <a16:creationId xmlns:a16="http://schemas.microsoft.com/office/drawing/2014/main" id="{17FD87D1-3AE5-F011-716C-EFAADBF6981C}"/>
                  </a:ext>
                </a:extLst>
              </p:cNvPr>
              <p:cNvSpPr/>
              <p:nvPr/>
            </p:nvSpPr>
            <p:spPr>
              <a:xfrm>
                <a:off x="6477861" y="3797706"/>
                <a:ext cx="47333" cy="48666"/>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sp>
          <p:nvSpPr>
            <p:cNvPr id="41" name="Freeform: Shape 40">
              <a:extLst>
                <a:ext uri="{FF2B5EF4-FFF2-40B4-BE49-F238E27FC236}">
                  <a16:creationId xmlns:a16="http://schemas.microsoft.com/office/drawing/2014/main" id="{F6D6574C-9C3A-A69F-0803-1E68084A747F}"/>
                </a:ext>
              </a:extLst>
            </p:cNvPr>
            <p:cNvSpPr>
              <a:spLocks noChangeAspect="1"/>
            </p:cNvSpPr>
            <p:nvPr/>
          </p:nvSpPr>
          <p:spPr>
            <a:xfrm>
              <a:off x="8104643" y="385407"/>
              <a:ext cx="128139" cy="142628"/>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nvGrpSpPr>
            <p:cNvPr id="42" name="Group 41">
              <a:extLst>
                <a:ext uri="{FF2B5EF4-FFF2-40B4-BE49-F238E27FC236}">
                  <a16:creationId xmlns:a16="http://schemas.microsoft.com/office/drawing/2014/main" id="{F50C5612-4967-0F86-6051-5EE7A30111AF}"/>
                </a:ext>
              </a:extLst>
            </p:cNvPr>
            <p:cNvGrpSpPr>
              <a:grpSpLocks noChangeAspect="1"/>
            </p:cNvGrpSpPr>
            <p:nvPr/>
          </p:nvGrpSpPr>
          <p:grpSpPr>
            <a:xfrm>
              <a:off x="8664411" y="385784"/>
              <a:ext cx="131786" cy="131293"/>
              <a:chOff x="7644836" y="1910200"/>
              <a:chExt cx="325217" cy="324000"/>
            </a:xfrm>
          </p:grpSpPr>
          <p:sp>
            <p:nvSpPr>
              <p:cNvPr id="53" name="Freeform: Shape 52">
                <a:extLst>
                  <a:ext uri="{FF2B5EF4-FFF2-40B4-BE49-F238E27FC236}">
                    <a16:creationId xmlns:a16="http://schemas.microsoft.com/office/drawing/2014/main" id="{F2CD737D-1C0B-A6F1-5139-4AE1A511E6EF}"/>
                  </a:ext>
                </a:extLst>
              </p:cNvPr>
              <p:cNvSpPr/>
              <p:nvPr/>
            </p:nvSpPr>
            <p:spPr>
              <a:xfrm>
                <a:off x="7845967" y="1910200"/>
                <a:ext cx="124084" cy="124084"/>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4" name="Freeform: Shape 53">
                <a:extLst>
                  <a:ext uri="{FF2B5EF4-FFF2-40B4-BE49-F238E27FC236}">
                    <a16:creationId xmlns:a16="http://schemas.microsoft.com/office/drawing/2014/main" id="{446D3DCB-E73E-51ED-B294-A8D290C8B8A0}"/>
                  </a:ext>
                </a:extLst>
              </p:cNvPr>
              <p:cNvSpPr/>
              <p:nvPr/>
            </p:nvSpPr>
            <p:spPr>
              <a:xfrm>
                <a:off x="7645647" y="1910200"/>
                <a:ext cx="162203" cy="210202"/>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5" name="Freeform: Shape 54">
                <a:extLst>
                  <a:ext uri="{FF2B5EF4-FFF2-40B4-BE49-F238E27FC236}">
                    <a16:creationId xmlns:a16="http://schemas.microsoft.com/office/drawing/2014/main" id="{9CF1844E-700E-E967-86E5-CD26D5144C42}"/>
                  </a:ext>
                </a:extLst>
              </p:cNvPr>
              <p:cNvSpPr/>
              <p:nvPr/>
            </p:nvSpPr>
            <p:spPr>
              <a:xfrm>
                <a:off x="7644836" y="2072403"/>
                <a:ext cx="210607" cy="161797"/>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6" name="Freeform: Shape 55">
                <a:extLst>
                  <a:ext uri="{FF2B5EF4-FFF2-40B4-BE49-F238E27FC236}">
                    <a16:creationId xmlns:a16="http://schemas.microsoft.com/office/drawing/2014/main" id="{7C3EA6B2-DC3C-C33C-15D3-B78C2B8903B2}"/>
                  </a:ext>
                </a:extLst>
              </p:cNvPr>
              <p:cNvSpPr/>
              <p:nvPr/>
            </p:nvSpPr>
            <p:spPr>
              <a:xfrm>
                <a:off x="7807850" y="2024402"/>
                <a:ext cx="162203" cy="209391"/>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grpSp>
          <p:nvGrpSpPr>
            <p:cNvPr id="43" name="Group 42">
              <a:extLst>
                <a:ext uri="{FF2B5EF4-FFF2-40B4-BE49-F238E27FC236}">
                  <a16:creationId xmlns:a16="http://schemas.microsoft.com/office/drawing/2014/main" id="{FA510BFD-4306-FF10-F915-4D415498DD3F}"/>
                </a:ext>
              </a:extLst>
            </p:cNvPr>
            <p:cNvGrpSpPr>
              <a:grpSpLocks noChangeAspect="1"/>
            </p:cNvGrpSpPr>
            <p:nvPr/>
          </p:nvGrpSpPr>
          <p:grpSpPr>
            <a:xfrm>
              <a:off x="8641332" y="690364"/>
              <a:ext cx="194246" cy="107818"/>
              <a:chOff x="7555416" y="3035519"/>
              <a:chExt cx="518864" cy="288000"/>
            </a:xfrm>
          </p:grpSpPr>
          <p:sp>
            <p:nvSpPr>
              <p:cNvPr id="44" name="Freeform: Shape 43">
                <a:extLst>
                  <a:ext uri="{FF2B5EF4-FFF2-40B4-BE49-F238E27FC236}">
                    <a16:creationId xmlns:a16="http://schemas.microsoft.com/office/drawing/2014/main" id="{84D5124F-8D88-6FF3-E3A3-CB5DE1FB48C2}"/>
                  </a:ext>
                </a:extLst>
              </p:cNvPr>
              <p:cNvSpPr/>
              <p:nvPr/>
            </p:nvSpPr>
            <p:spPr>
              <a:xfrm>
                <a:off x="7795032" y="3159702"/>
                <a:ext cx="39632" cy="39632"/>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nvGrpSpPr>
              <p:cNvPr id="45" name="Graphic 28">
                <a:extLst>
                  <a:ext uri="{FF2B5EF4-FFF2-40B4-BE49-F238E27FC236}">
                    <a16:creationId xmlns:a16="http://schemas.microsoft.com/office/drawing/2014/main" id="{9BC46617-A460-F4B7-B750-77CB9DAC1615}"/>
                  </a:ext>
                </a:extLst>
              </p:cNvPr>
              <p:cNvGrpSpPr/>
              <p:nvPr/>
            </p:nvGrpSpPr>
            <p:grpSpPr>
              <a:xfrm>
                <a:off x="7900060" y="3036180"/>
                <a:ext cx="174220" cy="287339"/>
                <a:chOff x="5573768" y="3664511"/>
                <a:chExt cx="90200" cy="148766"/>
              </a:xfrm>
              <a:noFill/>
            </p:grpSpPr>
            <p:sp>
              <p:nvSpPr>
                <p:cNvPr id="50" name="Freeform: Shape 49">
                  <a:extLst>
                    <a:ext uri="{FF2B5EF4-FFF2-40B4-BE49-F238E27FC236}">
                      <a16:creationId xmlns:a16="http://schemas.microsoft.com/office/drawing/2014/main" id="{46EFF049-B67C-B323-0CFB-FB98A6F6F1F7}"/>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1" name="Freeform: Shape 50">
                  <a:extLst>
                    <a:ext uri="{FF2B5EF4-FFF2-40B4-BE49-F238E27FC236}">
                      <a16:creationId xmlns:a16="http://schemas.microsoft.com/office/drawing/2014/main" id="{7D2DCCE8-B78C-205F-6DEB-606B78E8E3CA}"/>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52" name="Freeform: Shape 51">
                  <a:extLst>
                    <a:ext uri="{FF2B5EF4-FFF2-40B4-BE49-F238E27FC236}">
                      <a16:creationId xmlns:a16="http://schemas.microsoft.com/office/drawing/2014/main" id="{D91954D6-6040-E417-9A5C-8F17D530C143}"/>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grpSp>
            <p:nvGrpSpPr>
              <p:cNvPr id="46" name="Graphic 28">
                <a:extLst>
                  <a:ext uri="{FF2B5EF4-FFF2-40B4-BE49-F238E27FC236}">
                    <a16:creationId xmlns:a16="http://schemas.microsoft.com/office/drawing/2014/main" id="{0F0D180E-62BC-4F89-92FE-6AFA6E5D8B6B}"/>
                  </a:ext>
                </a:extLst>
              </p:cNvPr>
              <p:cNvGrpSpPr/>
              <p:nvPr/>
            </p:nvGrpSpPr>
            <p:grpSpPr>
              <a:xfrm>
                <a:off x="7555416" y="3035519"/>
                <a:ext cx="174220" cy="287339"/>
                <a:chOff x="5395333" y="3664169"/>
                <a:chExt cx="90200" cy="148766"/>
              </a:xfrm>
              <a:noFill/>
            </p:grpSpPr>
            <p:sp>
              <p:nvSpPr>
                <p:cNvPr id="47" name="Freeform: Shape 46">
                  <a:extLst>
                    <a:ext uri="{FF2B5EF4-FFF2-40B4-BE49-F238E27FC236}">
                      <a16:creationId xmlns:a16="http://schemas.microsoft.com/office/drawing/2014/main" id="{8481832C-DEB9-CA29-028C-4CE23BD09473}"/>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8" name="Freeform: Shape 47">
                  <a:extLst>
                    <a:ext uri="{FF2B5EF4-FFF2-40B4-BE49-F238E27FC236}">
                      <a16:creationId xmlns:a16="http://schemas.microsoft.com/office/drawing/2014/main" id="{FD423970-223E-0A93-06F7-CFE5B749E086}"/>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9" name="Freeform: Shape 48">
                  <a:extLst>
                    <a:ext uri="{FF2B5EF4-FFF2-40B4-BE49-F238E27FC236}">
                      <a16:creationId xmlns:a16="http://schemas.microsoft.com/office/drawing/2014/main" id="{FB358AC5-9A0F-9A24-7E81-2E58662C2A17}"/>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grpSp>
      </p:grpSp>
      <p:sp>
        <p:nvSpPr>
          <p:cNvPr id="15" name="TextBox 14">
            <a:extLst>
              <a:ext uri="{FF2B5EF4-FFF2-40B4-BE49-F238E27FC236}">
                <a16:creationId xmlns:a16="http://schemas.microsoft.com/office/drawing/2014/main" id="{5501BC10-3F51-D321-FDF9-8071DAB13B62}"/>
              </a:ext>
            </a:extLst>
          </p:cNvPr>
          <p:cNvSpPr txBox="1"/>
          <p:nvPr/>
        </p:nvSpPr>
        <p:spPr>
          <a:xfrm>
            <a:off x="680028" y="4858555"/>
            <a:ext cx="631583" cy="123111"/>
          </a:xfrm>
          <a:prstGeom prst="rect">
            <a:avLst/>
          </a:prstGeom>
          <a:noFill/>
        </p:spPr>
        <p:txBody>
          <a:bodyPr wrap="none" lIns="0" tIns="0" rIns="0" bIns="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2023 Nokia</a:t>
            </a:r>
          </a:p>
        </p:txBody>
      </p:sp>
      <p:sp>
        <p:nvSpPr>
          <p:cNvPr id="16" name="Slide Number Placeholder 5">
            <a:extLst>
              <a:ext uri="{FF2B5EF4-FFF2-40B4-BE49-F238E27FC236}">
                <a16:creationId xmlns:a16="http://schemas.microsoft.com/office/drawing/2014/main" id="{5D00C362-36EE-911C-87F3-56279033B984}"/>
              </a:ext>
            </a:extLst>
          </p:cNvPr>
          <p:cNvSpPr txBox="1">
            <a:spLocks/>
          </p:cNvSpPr>
          <p:nvPr/>
        </p:nvSpPr>
        <p:spPr>
          <a:xfrm>
            <a:off x="419102" y="4858555"/>
            <a:ext cx="121828" cy="123111"/>
          </a:xfrm>
          <a:prstGeom prst="rect">
            <a:avLst/>
          </a:prstGeom>
        </p:spPr>
        <p:txBody>
          <a:bodyPr wrap="none" lIns="0" tIns="0" rIns="0" bIns="0" anchor="b" anchorCtr="0">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1245D3D-131A-47D1-B100-B33219007AD2}" type="slidenum">
              <a:rPr kumimoji="0" lang="en-GB" sz="800" b="0" i="0" u="none" strike="noStrike" kern="1200" cap="none" spc="0" normalizeH="0" baseline="0" noProof="0" smtClean="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dirty="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cxnSp>
        <p:nvCxnSpPr>
          <p:cNvPr id="17" name="Straight Connector 16">
            <a:extLst>
              <a:ext uri="{FF2B5EF4-FFF2-40B4-BE49-F238E27FC236}">
                <a16:creationId xmlns:a16="http://schemas.microsoft.com/office/drawing/2014/main" id="{AA237D18-6301-B13D-A97E-09D55CF8DA2B}"/>
              </a:ext>
            </a:extLst>
          </p:cNvPr>
          <p:cNvCxnSpPr>
            <a:cxnSpLocks/>
          </p:cNvCxnSpPr>
          <p:nvPr/>
        </p:nvCxnSpPr>
        <p:spPr>
          <a:xfrm>
            <a:off x="1400627" y="4830552"/>
            <a:ext cx="0" cy="144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1B343882-A83B-5E4C-0F86-1986D2FC8C7A}"/>
              </a:ext>
            </a:extLst>
          </p:cNvPr>
          <p:cNvSpPr>
            <a:spLocks noGrp="1"/>
          </p:cNvSpPr>
          <p:nvPr>
            <p:ph type="body" sz="quarter" idx="12"/>
          </p:nvPr>
        </p:nvSpPr>
        <p:spPr/>
        <p:txBody>
          <a:bodyPr/>
          <a:lstStyle/>
          <a:p>
            <a:r>
              <a:rPr lang="en-GB" dirty="0"/>
              <a:t>Network as a sensor</a:t>
            </a:r>
          </a:p>
        </p:txBody>
      </p:sp>
      <p:sp>
        <p:nvSpPr>
          <p:cNvPr id="7" name="Text Placeholder 6">
            <a:extLst>
              <a:ext uri="{FF2B5EF4-FFF2-40B4-BE49-F238E27FC236}">
                <a16:creationId xmlns:a16="http://schemas.microsoft.com/office/drawing/2014/main" id="{423B2844-8888-2071-67A3-9F9F2B5A6463}"/>
              </a:ext>
            </a:extLst>
          </p:cNvPr>
          <p:cNvSpPr>
            <a:spLocks noGrp="1"/>
          </p:cNvSpPr>
          <p:nvPr>
            <p:ph type="body" sz="quarter" idx="13"/>
          </p:nvPr>
        </p:nvSpPr>
        <p:spPr/>
        <p:txBody>
          <a:bodyPr/>
          <a:lstStyle/>
          <a:p>
            <a:r>
              <a:rPr lang="en-GB" dirty="0"/>
              <a:t>Joint communication and sensing (JCAS)</a:t>
            </a:r>
          </a:p>
        </p:txBody>
      </p:sp>
      <p:pic>
        <p:nvPicPr>
          <p:cNvPr id="9" name="NNK0062-Nokia-Bell-Labs-6G-Deck-Animation-01-Farming-1920x1080px-V02">
            <a:hlinkClick r:id="" action="ppaction://media"/>
            <a:extLst>
              <a:ext uri="{FF2B5EF4-FFF2-40B4-BE49-F238E27FC236}">
                <a16:creationId xmlns:a16="http://schemas.microsoft.com/office/drawing/2014/main" id="{1016056C-803B-B249-D266-913816B47BA9}"/>
              </a:ext>
            </a:extLst>
          </p:cNvPr>
          <p:cNvPicPr>
            <a:picLocks noChangeAspect="1"/>
          </p:cNvPicPr>
          <p:nvPr>
            <a:videoFile r:link="rId2"/>
            <p:extLst>
              <p:ext uri="{DAA4B4D4-6D71-4841-9C94-3DE7FCFB9230}">
                <p14:media xmlns:p14="http://schemas.microsoft.com/office/powerpoint/2010/main" r:embed="rId1"/>
              </p:ext>
            </p:extLst>
          </p:nvPr>
        </p:nvPicPr>
        <p:blipFill>
          <a:blip r:embed="rId15"/>
          <a:stretch>
            <a:fillRect/>
          </a:stretch>
        </p:blipFill>
        <p:spPr>
          <a:xfrm>
            <a:off x="575994" y="3092449"/>
            <a:ext cx="2396296" cy="1409701"/>
          </a:xfrm>
          <a:prstGeom prst="rect">
            <a:avLst/>
          </a:prstGeom>
        </p:spPr>
      </p:pic>
      <p:pic>
        <p:nvPicPr>
          <p:cNvPr id="2" name="Picture 1">
            <a:extLst>
              <a:ext uri="{FF2B5EF4-FFF2-40B4-BE49-F238E27FC236}">
                <a16:creationId xmlns:a16="http://schemas.microsoft.com/office/drawing/2014/main" id="{2F7036F3-7F08-49D7-A080-E8F713F5BB97}"/>
              </a:ext>
            </a:extLst>
          </p:cNvPr>
          <p:cNvPicPr>
            <a:picLocks noChangeAspect="1"/>
          </p:cNvPicPr>
          <p:nvPr/>
        </p:nvPicPr>
        <p:blipFill rotWithShape="1">
          <a:blip r:embed="rId16"/>
          <a:srcRect l="6034" r="5181"/>
          <a:stretch/>
        </p:blipFill>
        <p:spPr>
          <a:xfrm>
            <a:off x="204351" y="2943398"/>
            <a:ext cx="3158358" cy="1778719"/>
          </a:xfrm>
          <a:prstGeom prst="rect">
            <a:avLst/>
          </a:prstGeom>
        </p:spPr>
      </p:pic>
      <p:grpSp>
        <p:nvGrpSpPr>
          <p:cNvPr id="337" name="Group 336">
            <a:extLst>
              <a:ext uri="{FF2B5EF4-FFF2-40B4-BE49-F238E27FC236}">
                <a16:creationId xmlns:a16="http://schemas.microsoft.com/office/drawing/2014/main" id="{0831A0CC-B8CF-443C-BE21-AD18A8F44F49}"/>
              </a:ext>
            </a:extLst>
          </p:cNvPr>
          <p:cNvGrpSpPr/>
          <p:nvPr/>
        </p:nvGrpSpPr>
        <p:grpSpPr>
          <a:xfrm>
            <a:off x="3978706" y="1120990"/>
            <a:ext cx="4365995" cy="3293000"/>
            <a:chOff x="3978706" y="1120990"/>
            <a:chExt cx="4365995" cy="3293000"/>
          </a:xfrm>
        </p:grpSpPr>
        <p:sp>
          <p:nvSpPr>
            <p:cNvPr id="338" name="TextBox 337">
              <a:extLst>
                <a:ext uri="{FF2B5EF4-FFF2-40B4-BE49-F238E27FC236}">
                  <a16:creationId xmlns:a16="http://schemas.microsoft.com/office/drawing/2014/main" id="{E488F1F0-D308-45BD-B9E4-E3C6EAD42606}"/>
                </a:ext>
              </a:extLst>
            </p:cNvPr>
            <p:cNvSpPr txBox="1"/>
            <p:nvPr/>
          </p:nvSpPr>
          <p:spPr>
            <a:xfrm>
              <a:off x="4681622" y="1308515"/>
              <a:ext cx="1572435" cy="220644"/>
            </a:xfrm>
            <a:prstGeom prst="rect">
              <a:avLst/>
            </a:prstGeom>
            <a:noFill/>
          </p:spPr>
          <p:txBody>
            <a:bodyPr wrap="square" lIns="0" tIns="0" rIns="0" bIns="0" anchor="ctr">
              <a:noAutofit/>
            </a:bodyPr>
            <a:lstStyle/>
            <a:p>
              <a:pPr marL="0" marR="0" lvl="0" indent="0" algn="ctr" defTabSz="457200" rtl="0" eaLnBrk="1" fontAlgn="auto" latinLnBrk="0" hangingPunct="1">
                <a:lnSpc>
                  <a:spcPct val="100000"/>
                </a:lnSpc>
                <a:spcBef>
                  <a:spcPts val="0"/>
                </a:spcBef>
                <a:spcAft>
                  <a:spcPts val="300"/>
                </a:spcAft>
                <a:buClrTx/>
                <a:buSzPct val="100000"/>
                <a:buFontTx/>
                <a:buNone/>
                <a:tabLst/>
                <a:defRPr/>
              </a:pPr>
              <a:r>
                <a:rPr kumimoji="0" lang="en-GB" sz="14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JCAS Access Points</a:t>
              </a:r>
            </a:p>
          </p:txBody>
        </p:sp>
        <p:cxnSp>
          <p:nvCxnSpPr>
            <p:cNvPr id="339" name="Straight Arrow Connector 338">
              <a:extLst>
                <a:ext uri="{FF2B5EF4-FFF2-40B4-BE49-F238E27FC236}">
                  <a16:creationId xmlns:a16="http://schemas.microsoft.com/office/drawing/2014/main" id="{7F12E904-AC87-4272-9E56-63EA4313D6BF}"/>
                </a:ext>
              </a:extLst>
            </p:cNvPr>
            <p:cNvCxnSpPr>
              <a:cxnSpLocks/>
            </p:cNvCxnSpPr>
            <p:nvPr/>
          </p:nvCxnSpPr>
          <p:spPr>
            <a:xfrm>
              <a:off x="4677151" y="1539647"/>
              <a:ext cx="1584854" cy="0"/>
            </a:xfrm>
            <a:prstGeom prst="straightConnector1">
              <a:avLst/>
            </a:prstGeom>
            <a:ln w="6350">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340" name="Graphic 895">
              <a:extLst>
                <a:ext uri="{FF2B5EF4-FFF2-40B4-BE49-F238E27FC236}">
                  <a16:creationId xmlns:a16="http://schemas.microsoft.com/office/drawing/2014/main" id="{98D3FB3C-DD5F-4074-BDA0-BDA0ADB1CDC4}"/>
                </a:ext>
              </a:extLst>
            </p:cNvPr>
            <p:cNvGrpSpPr/>
            <p:nvPr/>
          </p:nvGrpSpPr>
          <p:grpSpPr>
            <a:xfrm rot="453156">
              <a:off x="6846203" y="3485056"/>
              <a:ext cx="527100" cy="376442"/>
              <a:chOff x="5490020" y="4488507"/>
              <a:chExt cx="883032" cy="645577"/>
            </a:xfrm>
          </p:grpSpPr>
          <p:sp>
            <p:nvSpPr>
              <p:cNvPr id="684" name="Freeform 6">
                <a:extLst>
                  <a:ext uri="{FF2B5EF4-FFF2-40B4-BE49-F238E27FC236}">
                    <a16:creationId xmlns:a16="http://schemas.microsoft.com/office/drawing/2014/main" id="{DBEB945C-8E0A-4E1C-8C5C-FE3E705E7A24}"/>
                  </a:ext>
                </a:extLst>
              </p:cNvPr>
              <p:cNvSpPr/>
              <p:nvPr/>
            </p:nvSpPr>
            <p:spPr>
              <a:xfrm>
                <a:off x="5490020" y="5037494"/>
                <a:ext cx="66249" cy="96590"/>
              </a:xfrm>
              <a:custGeom>
                <a:avLst/>
                <a:gdLst>
                  <a:gd name="connsiteX0" fmla="*/ 65608 w 66249"/>
                  <a:gd name="connsiteY0" fmla="*/ 96368 h 96590"/>
                  <a:gd name="connsiteX1" fmla="*/ -641 w 66249"/>
                  <a:gd name="connsiteY1" fmla="*/ -223 h 96590"/>
                </a:gdLst>
                <a:ahLst/>
                <a:cxnLst>
                  <a:cxn ang="0">
                    <a:pos x="connsiteX0" y="connsiteY0"/>
                  </a:cxn>
                  <a:cxn ang="0">
                    <a:pos x="connsiteX1" y="connsiteY1"/>
                  </a:cxn>
                </a:cxnLst>
                <a:rect l="l" t="t" r="r" b="b"/>
                <a:pathLst>
                  <a:path w="66249" h="96590">
                    <a:moveTo>
                      <a:pt x="65608" y="96368"/>
                    </a:moveTo>
                    <a:cubicBezTo>
                      <a:pt x="39385" y="67131"/>
                      <a:pt x="17225" y="3483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5" name="Freeform 7">
                <a:extLst>
                  <a:ext uri="{FF2B5EF4-FFF2-40B4-BE49-F238E27FC236}">
                    <a16:creationId xmlns:a16="http://schemas.microsoft.com/office/drawing/2014/main" id="{B039DEE3-A02D-4D01-B385-776E9B5E8982}"/>
                  </a:ext>
                </a:extLst>
              </p:cNvPr>
              <p:cNvSpPr/>
              <p:nvPr/>
            </p:nvSpPr>
            <p:spPr>
              <a:xfrm>
                <a:off x="5538346" y="5006995"/>
                <a:ext cx="63296" cy="92295"/>
              </a:xfrm>
              <a:custGeom>
                <a:avLst/>
                <a:gdLst>
                  <a:gd name="connsiteX0" fmla="*/ 62655 w 63296"/>
                  <a:gd name="connsiteY0" fmla="*/ 92073 h 92295"/>
                  <a:gd name="connsiteX1" fmla="*/ -641 w 63296"/>
                  <a:gd name="connsiteY1" fmla="*/ -223 h 92295"/>
                </a:gdLst>
                <a:ahLst/>
                <a:cxnLst>
                  <a:cxn ang="0">
                    <a:pos x="connsiteX0" y="connsiteY0"/>
                  </a:cxn>
                  <a:cxn ang="0">
                    <a:pos x="connsiteX1" y="connsiteY1"/>
                  </a:cxn>
                </a:cxnLst>
                <a:rect l="l" t="t" r="r" b="b"/>
                <a:pathLst>
                  <a:path w="63296" h="92295">
                    <a:moveTo>
                      <a:pt x="62655" y="92073"/>
                    </a:moveTo>
                    <a:cubicBezTo>
                      <a:pt x="37599" y="64127"/>
                      <a:pt x="16433" y="3328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6" name="Freeform 8">
                <a:extLst>
                  <a:ext uri="{FF2B5EF4-FFF2-40B4-BE49-F238E27FC236}">
                    <a16:creationId xmlns:a16="http://schemas.microsoft.com/office/drawing/2014/main" id="{4E2FD492-523E-4D35-B9C7-0A9B4A3F273D}"/>
                  </a:ext>
                </a:extLst>
              </p:cNvPr>
              <p:cNvSpPr/>
              <p:nvPr/>
            </p:nvSpPr>
            <p:spPr>
              <a:xfrm>
                <a:off x="5586657" y="4976496"/>
                <a:ext cx="60371" cy="88001"/>
              </a:xfrm>
              <a:custGeom>
                <a:avLst/>
                <a:gdLst>
                  <a:gd name="connsiteX0" fmla="*/ 59730 w 60371"/>
                  <a:gd name="connsiteY0" fmla="*/ 87778 h 88001"/>
                  <a:gd name="connsiteX1" fmla="*/ -641 w 60371"/>
                  <a:gd name="connsiteY1" fmla="*/ -223 h 88001"/>
                </a:gdLst>
                <a:ahLst/>
                <a:cxnLst>
                  <a:cxn ang="0">
                    <a:pos x="connsiteX0" y="connsiteY0"/>
                  </a:cxn>
                  <a:cxn ang="0">
                    <a:pos x="connsiteX1" y="connsiteY1"/>
                  </a:cxn>
                </a:cxnLst>
                <a:rect l="l" t="t" r="r" b="b"/>
                <a:pathLst>
                  <a:path w="60371" h="88001">
                    <a:moveTo>
                      <a:pt x="59730" y="87778"/>
                    </a:moveTo>
                    <a:cubicBezTo>
                      <a:pt x="35827" y="61138"/>
                      <a:pt x="15641" y="31727"/>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7" name="Freeform 10">
                <a:extLst>
                  <a:ext uri="{FF2B5EF4-FFF2-40B4-BE49-F238E27FC236}">
                    <a16:creationId xmlns:a16="http://schemas.microsoft.com/office/drawing/2014/main" id="{1F57849B-F444-4CBA-B171-3ABC3A985381}"/>
                  </a:ext>
                </a:extLst>
              </p:cNvPr>
              <p:cNvSpPr/>
              <p:nvPr/>
            </p:nvSpPr>
            <p:spPr>
              <a:xfrm>
                <a:off x="5634983" y="4945996"/>
                <a:ext cx="57417" cy="83705"/>
              </a:xfrm>
              <a:custGeom>
                <a:avLst/>
                <a:gdLst>
                  <a:gd name="connsiteX0" fmla="*/ 56776 w 57417"/>
                  <a:gd name="connsiteY0" fmla="*/ 83483 h 83705"/>
                  <a:gd name="connsiteX1" fmla="*/ -641 w 57417"/>
                  <a:gd name="connsiteY1" fmla="*/ -223 h 83705"/>
                </a:gdLst>
                <a:ahLst/>
                <a:cxnLst>
                  <a:cxn ang="0">
                    <a:pos x="connsiteX0" y="connsiteY0"/>
                  </a:cxn>
                  <a:cxn ang="0">
                    <a:pos x="connsiteX1" y="connsiteY1"/>
                  </a:cxn>
                </a:cxnLst>
                <a:rect l="l" t="t" r="r" b="b"/>
                <a:pathLst>
                  <a:path w="57417" h="83705">
                    <a:moveTo>
                      <a:pt x="56776" y="83483"/>
                    </a:moveTo>
                    <a:cubicBezTo>
                      <a:pt x="34040" y="58149"/>
                      <a:pt x="14848" y="3016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8" name="Freeform 11">
                <a:extLst>
                  <a:ext uri="{FF2B5EF4-FFF2-40B4-BE49-F238E27FC236}">
                    <a16:creationId xmlns:a16="http://schemas.microsoft.com/office/drawing/2014/main" id="{A338E9C6-A23C-46D8-8996-5CB4A9ACE426}"/>
                  </a:ext>
                </a:extLst>
              </p:cNvPr>
              <p:cNvSpPr/>
              <p:nvPr/>
            </p:nvSpPr>
            <p:spPr>
              <a:xfrm>
                <a:off x="5683308" y="4915497"/>
                <a:ext cx="54464" cy="79411"/>
              </a:xfrm>
              <a:custGeom>
                <a:avLst/>
                <a:gdLst>
                  <a:gd name="connsiteX0" fmla="*/ 53823 w 54464"/>
                  <a:gd name="connsiteY0" fmla="*/ 79188 h 79411"/>
                  <a:gd name="connsiteX1" fmla="*/ -641 w 54464"/>
                  <a:gd name="connsiteY1" fmla="*/ -223 h 79411"/>
                </a:gdLst>
                <a:ahLst/>
                <a:cxnLst>
                  <a:cxn ang="0">
                    <a:pos x="connsiteX0" y="connsiteY0"/>
                  </a:cxn>
                  <a:cxn ang="0">
                    <a:pos x="connsiteX1" y="connsiteY1"/>
                  </a:cxn>
                </a:cxnLst>
                <a:rect l="l" t="t" r="r" b="b"/>
                <a:pathLst>
                  <a:path w="54464" h="79411">
                    <a:moveTo>
                      <a:pt x="53823" y="79188"/>
                    </a:moveTo>
                    <a:cubicBezTo>
                      <a:pt x="32268" y="55161"/>
                      <a:pt x="14056" y="28608"/>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9" name="Freeform 12">
                <a:extLst>
                  <a:ext uri="{FF2B5EF4-FFF2-40B4-BE49-F238E27FC236}">
                    <a16:creationId xmlns:a16="http://schemas.microsoft.com/office/drawing/2014/main" id="{F9F85228-D837-4DD8-93CF-CA6F47E11493}"/>
                  </a:ext>
                </a:extLst>
              </p:cNvPr>
              <p:cNvSpPr/>
              <p:nvPr/>
            </p:nvSpPr>
            <p:spPr>
              <a:xfrm>
                <a:off x="5731620" y="4884998"/>
                <a:ext cx="51538" cy="75116"/>
              </a:xfrm>
              <a:custGeom>
                <a:avLst/>
                <a:gdLst>
                  <a:gd name="connsiteX0" fmla="*/ 50897 w 51538"/>
                  <a:gd name="connsiteY0" fmla="*/ 74894 h 75116"/>
                  <a:gd name="connsiteX1" fmla="*/ -641 w 51538"/>
                  <a:gd name="connsiteY1" fmla="*/ -223 h 75116"/>
                </a:gdLst>
                <a:ahLst/>
                <a:cxnLst>
                  <a:cxn ang="0">
                    <a:pos x="connsiteX0" y="connsiteY0"/>
                  </a:cxn>
                  <a:cxn ang="0">
                    <a:pos x="connsiteX1" y="connsiteY1"/>
                  </a:cxn>
                </a:cxnLst>
                <a:rect l="l" t="t" r="r" b="b"/>
                <a:pathLst>
                  <a:path w="51538" h="75116">
                    <a:moveTo>
                      <a:pt x="50897" y="74894"/>
                    </a:moveTo>
                    <a:cubicBezTo>
                      <a:pt x="30495" y="52157"/>
                      <a:pt x="13263" y="27055"/>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0" name="Freeform 13">
                <a:extLst>
                  <a:ext uri="{FF2B5EF4-FFF2-40B4-BE49-F238E27FC236}">
                    <a16:creationId xmlns:a16="http://schemas.microsoft.com/office/drawing/2014/main" id="{0AE560B4-8775-4111-A942-CF339CDC6D2A}"/>
                  </a:ext>
                </a:extLst>
              </p:cNvPr>
              <p:cNvSpPr/>
              <p:nvPr/>
            </p:nvSpPr>
            <p:spPr>
              <a:xfrm>
                <a:off x="5779946" y="4854499"/>
                <a:ext cx="48584" cy="70835"/>
              </a:xfrm>
              <a:custGeom>
                <a:avLst/>
                <a:gdLst>
                  <a:gd name="connsiteX0" fmla="*/ 47943 w 48584"/>
                  <a:gd name="connsiteY0" fmla="*/ 70613 h 70835"/>
                  <a:gd name="connsiteX1" fmla="*/ -641 w 48584"/>
                  <a:gd name="connsiteY1" fmla="*/ -223 h 70835"/>
                </a:gdLst>
                <a:ahLst/>
                <a:cxnLst>
                  <a:cxn ang="0">
                    <a:pos x="connsiteX0" y="connsiteY0"/>
                  </a:cxn>
                  <a:cxn ang="0">
                    <a:pos x="connsiteX1" y="connsiteY1"/>
                  </a:cxn>
                </a:cxnLst>
                <a:rect l="l" t="t" r="r" b="b"/>
                <a:pathLst>
                  <a:path w="48584" h="70835">
                    <a:moveTo>
                      <a:pt x="47943" y="70613"/>
                    </a:moveTo>
                    <a:cubicBezTo>
                      <a:pt x="28709" y="49168"/>
                      <a:pt x="12470" y="25488"/>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1" name="Freeform 14">
                <a:extLst>
                  <a:ext uri="{FF2B5EF4-FFF2-40B4-BE49-F238E27FC236}">
                    <a16:creationId xmlns:a16="http://schemas.microsoft.com/office/drawing/2014/main" id="{71697DC7-0347-49CE-8668-792B63BF47D7}"/>
                  </a:ext>
                </a:extLst>
              </p:cNvPr>
              <p:cNvSpPr/>
              <p:nvPr/>
            </p:nvSpPr>
            <p:spPr>
              <a:xfrm>
                <a:off x="5828271" y="4823999"/>
                <a:ext cx="45632" cy="66541"/>
              </a:xfrm>
              <a:custGeom>
                <a:avLst/>
                <a:gdLst>
                  <a:gd name="connsiteX0" fmla="*/ 44991 w 45632"/>
                  <a:gd name="connsiteY0" fmla="*/ 66318 h 66541"/>
                  <a:gd name="connsiteX1" fmla="*/ -641 w 45632"/>
                  <a:gd name="connsiteY1" fmla="*/ -223 h 66541"/>
                </a:gdLst>
                <a:ahLst/>
                <a:cxnLst>
                  <a:cxn ang="0">
                    <a:pos x="connsiteX0" y="connsiteY0"/>
                  </a:cxn>
                  <a:cxn ang="0">
                    <a:pos x="connsiteX1" y="connsiteY1"/>
                  </a:cxn>
                </a:cxnLst>
                <a:rect l="l" t="t" r="r" b="b"/>
                <a:pathLst>
                  <a:path w="45632" h="66541">
                    <a:moveTo>
                      <a:pt x="44991" y="66318"/>
                    </a:moveTo>
                    <a:cubicBezTo>
                      <a:pt x="26923" y="46179"/>
                      <a:pt x="11664" y="23936"/>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2" name="Freeform 15">
                <a:extLst>
                  <a:ext uri="{FF2B5EF4-FFF2-40B4-BE49-F238E27FC236}">
                    <a16:creationId xmlns:a16="http://schemas.microsoft.com/office/drawing/2014/main" id="{8EBB482C-9B9E-4F52-96CD-D343640CB4C8}"/>
                  </a:ext>
                </a:extLst>
              </p:cNvPr>
              <p:cNvSpPr/>
              <p:nvPr/>
            </p:nvSpPr>
            <p:spPr>
              <a:xfrm>
                <a:off x="5876583" y="4793500"/>
                <a:ext cx="42692" cy="62246"/>
              </a:xfrm>
              <a:custGeom>
                <a:avLst/>
                <a:gdLst>
                  <a:gd name="connsiteX0" fmla="*/ 42051 w 42692"/>
                  <a:gd name="connsiteY0" fmla="*/ 62024 h 62246"/>
                  <a:gd name="connsiteX1" fmla="*/ -641 w 42692"/>
                  <a:gd name="connsiteY1" fmla="*/ -223 h 62246"/>
                </a:gdLst>
                <a:ahLst/>
                <a:cxnLst>
                  <a:cxn ang="0">
                    <a:pos x="connsiteX0" y="connsiteY0"/>
                  </a:cxn>
                  <a:cxn ang="0">
                    <a:pos x="connsiteX1" y="connsiteY1"/>
                  </a:cxn>
                </a:cxnLst>
                <a:rect l="l" t="t" r="r" b="b"/>
                <a:pathLst>
                  <a:path w="42692" h="62246">
                    <a:moveTo>
                      <a:pt x="42051" y="62024"/>
                    </a:moveTo>
                    <a:cubicBezTo>
                      <a:pt x="25150" y="43190"/>
                      <a:pt x="10886" y="22368"/>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3" name="Freeform 16">
                <a:extLst>
                  <a:ext uri="{FF2B5EF4-FFF2-40B4-BE49-F238E27FC236}">
                    <a16:creationId xmlns:a16="http://schemas.microsoft.com/office/drawing/2014/main" id="{12C03D6B-130F-499B-AA90-C2887F80F59B}"/>
                  </a:ext>
                </a:extLst>
              </p:cNvPr>
              <p:cNvSpPr/>
              <p:nvPr/>
            </p:nvSpPr>
            <p:spPr>
              <a:xfrm>
                <a:off x="5924908" y="4763000"/>
                <a:ext cx="39752" cy="57951"/>
              </a:xfrm>
              <a:custGeom>
                <a:avLst/>
                <a:gdLst>
                  <a:gd name="connsiteX0" fmla="*/ 39111 w 39752"/>
                  <a:gd name="connsiteY0" fmla="*/ 57729 h 57951"/>
                  <a:gd name="connsiteX1" fmla="*/ -641 w 39752"/>
                  <a:gd name="connsiteY1" fmla="*/ -223 h 57951"/>
                </a:gdLst>
                <a:ahLst/>
                <a:cxnLst>
                  <a:cxn ang="0">
                    <a:pos x="connsiteX0" y="connsiteY0"/>
                  </a:cxn>
                  <a:cxn ang="0">
                    <a:pos x="connsiteX1" y="connsiteY1"/>
                  </a:cxn>
                </a:cxnLst>
                <a:rect l="l" t="t" r="r" b="b"/>
                <a:pathLst>
                  <a:path w="39752" h="57951">
                    <a:moveTo>
                      <a:pt x="39111" y="57729"/>
                    </a:moveTo>
                    <a:cubicBezTo>
                      <a:pt x="23364" y="40186"/>
                      <a:pt x="10079" y="20816"/>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4" name="Freeform 17">
                <a:extLst>
                  <a:ext uri="{FF2B5EF4-FFF2-40B4-BE49-F238E27FC236}">
                    <a16:creationId xmlns:a16="http://schemas.microsoft.com/office/drawing/2014/main" id="{007D8A2F-5E62-4179-8191-C1BE7691D14E}"/>
                  </a:ext>
                </a:extLst>
              </p:cNvPr>
              <p:cNvSpPr/>
              <p:nvPr/>
            </p:nvSpPr>
            <p:spPr>
              <a:xfrm>
                <a:off x="5973234" y="4732501"/>
                <a:ext cx="36799" cy="53656"/>
              </a:xfrm>
              <a:custGeom>
                <a:avLst/>
                <a:gdLst>
                  <a:gd name="connsiteX0" fmla="*/ 36158 w 36799"/>
                  <a:gd name="connsiteY0" fmla="*/ 53434 h 53656"/>
                  <a:gd name="connsiteX1" fmla="*/ -641 w 36799"/>
                  <a:gd name="connsiteY1" fmla="*/ -223 h 53656"/>
                </a:gdLst>
                <a:ahLst/>
                <a:cxnLst>
                  <a:cxn ang="0">
                    <a:pos x="connsiteX0" y="connsiteY0"/>
                  </a:cxn>
                  <a:cxn ang="0">
                    <a:pos x="connsiteX1" y="connsiteY1"/>
                  </a:cxn>
                </a:cxnLst>
                <a:rect l="l" t="t" r="r" b="b"/>
                <a:pathLst>
                  <a:path w="36799" h="53656">
                    <a:moveTo>
                      <a:pt x="36158" y="53434"/>
                    </a:moveTo>
                    <a:cubicBezTo>
                      <a:pt x="21591" y="37198"/>
                      <a:pt x="9286" y="1926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5" name="Freeform 18">
                <a:extLst>
                  <a:ext uri="{FF2B5EF4-FFF2-40B4-BE49-F238E27FC236}">
                    <a16:creationId xmlns:a16="http://schemas.microsoft.com/office/drawing/2014/main" id="{78A926E6-5ECD-435A-A31D-D0957E61003B}"/>
                  </a:ext>
                </a:extLst>
              </p:cNvPr>
              <p:cNvSpPr/>
              <p:nvPr/>
            </p:nvSpPr>
            <p:spPr>
              <a:xfrm>
                <a:off x="6021545" y="4702002"/>
                <a:ext cx="33860" cy="49361"/>
              </a:xfrm>
              <a:custGeom>
                <a:avLst/>
                <a:gdLst>
                  <a:gd name="connsiteX0" fmla="*/ 33219 w 33860"/>
                  <a:gd name="connsiteY0" fmla="*/ 49139 h 49361"/>
                  <a:gd name="connsiteX1" fmla="*/ -641 w 33860"/>
                  <a:gd name="connsiteY1" fmla="*/ -223 h 49361"/>
                </a:gdLst>
                <a:ahLst/>
                <a:cxnLst>
                  <a:cxn ang="0">
                    <a:pos x="connsiteX0" y="connsiteY0"/>
                  </a:cxn>
                  <a:cxn ang="0">
                    <a:pos x="connsiteX1" y="connsiteY1"/>
                  </a:cxn>
                </a:cxnLst>
                <a:rect l="l" t="t" r="r" b="b"/>
                <a:pathLst>
                  <a:path w="33860" h="49361">
                    <a:moveTo>
                      <a:pt x="33219" y="49139"/>
                    </a:moveTo>
                    <a:cubicBezTo>
                      <a:pt x="19820" y="34208"/>
                      <a:pt x="8494" y="17696"/>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6" name="Freeform 19">
                <a:extLst>
                  <a:ext uri="{FF2B5EF4-FFF2-40B4-BE49-F238E27FC236}">
                    <a16:creationId xmlns:a16="http://schemas.microsoft.com/office/drawing/2014/main" id="{D0BE33B4-502C-4CF6-9EB9-6573E5183F3E}"/>
                  </a:ext>
                </a:extLst>
              </p:cNvPr>
              <p:cNvSpPr/>
              <p:nvPr/>
            </p:nvSpPr>
            <p:spPr>
              <a:xfrm>
                <a:off x="6069871" y="4671503"/>
                <a:ext cx="30920" cy="45081"/>
              </a:xfrm>
              <a:custGeom>
                <a:avLst/>
                <a:gdLst>
                  <a:gd name="connsiteX0" fmla="*/ 30279 w 30920"/>
                  <a:gd name="connsiteY0" fmla="*/ 44858 h 45081"/>
                  <a:gd name="connsiteX1" fmla="*/ -641 w 30920"/>
                  <a:gd name="connsiteY1" fmla="*/ -223 h 45081"/>
                </a:gdLst>
                <a:ahLst/>
                <a:cxnLst>
                  <a:cxn ang="0">
                    <a:pos x="connsiteX0" y="connsiteY0"/>
                  </a:cxn>
                  <a:cxn ang="0">
                    <a:pos x="connsiteX1" y="connsiteY1"/>
                  </a:cxn>
                </a:cxnLst>
                <a:rect l="l" t="t" r="r" b="b"/>
                <a:pathLst>
                  <a:path w="30920" h="45081">
                    <a:moveTo>
                      <a:pt x="30279" y="44858"/>
                    </a:moveTo>
                    <a:cubicBezTo>
                      <a:pt x="18033" y="31205"/>
                      <a:pt x="7702" y="1614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7" name="Freeform 20">
                <a:extLst>
                  <a:ext uri="{FF2B5EF4-FFF2-40B4-BE49-F238E27FC236}">
                    <a16:creationId xmlns:a16="http://schemas.microsoft.com/office/drawing/2014/main" id="{481AD23B-5098-40EE-A284-3A361369280F}"/>
                  </a:ext>
                </a:extLst>
              </p:cNvPr>
              <p:cNvSpPr/>
              <p:nvPr/>
            </p:nvSpPr>
            <p:spPr>
              <a:xfrm>
                <a:off x="6118197" y="4641003"/>
                <a:ext cx="27967" cy="40786"/>
              </a:xfrm>
              <a:custGeom>
                <a:avLst/>
                <a:gdLst>
                  <a:gd name="connsiteX0" fmla="*/ 27326 w 27967"/>
                  <a:gd name="connsiteY0" fmla="*/ 40564 h 40786"/>
                  <a:gd name="connsiteX1" fmla="*/ -641 w 27967"/>
                  <a:gd name="connsiteY1" fmla="*/ -223 h 40786"/>
                </a:gdLst>
                <a:ahLst/>
                <a:cxnLst>
                  <a:cxn ang="0">
                    <a:pos x="connsiteX0" y="connsiteY0"/>
                  </a:cxn>
                  <a:cxn ang="0">
                    <a:pos x="connsiteX1" y="connsiteY1"/>
                  </a:cxn>
                </a:cxnLst>
                <a:rect l="l" t="t" r="r" b="b"/>
                <a:pathLst>
                  <a:path w="27967" h="40786">
                    <a:moveTo>
                      <a:pt x="27326" y="40564"/>
                    </a:moveTo>
                    <a:cubicBezTo>
                      <a:pt x="16246" y="28216"/>
                      <a:pt x="6895" y="1459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8" name="Freeform 23">
                <a:extLst>
                  <a:ext uri="{FF2B5EF4-FFF2-40B4-BE49-F238E27FC236}">
                    <a16:creationId xmlns:a16="http://schemas.microsoft.com/office/drawing/2014/main" id="{BA13215C-30DC-4CCB-8B76-26FECB88E941}"/>
                  </a:ext>
                </a:extLst>
              </p:cNvPr>
              <p:cNvSpPr/>
              <p:nvPr/>
            </p:nvSpPr>
            <p:spPr>
              <a:xfrm>
                <a:off x="6166508" y="4610504"/>
                <a:ext cx="25027" cy="36491"/>
              </a:xfrm>
              <a:custGeom>
                <a:avLst/>
                <a:gdLst>
                  <a:gd name="connsiteX0" fmla="*/ 24386 w 25027"/>
                  <a:gd name="connsiteY0" fmla="*/ 36269 h 36491"/>
                  <a:gd name="connsiteX1" fmla="*/ -641 w 25027"/>
                  <a:gd name="connsiteY1" fmla="*/ -223 h 36491"/>
                </a:gdLst>
                <a:ahLst/>
                <a:cxnLst>
                  <a:cxn ang="0">
                    <a:pos x="connsiteX0" y="connsiteY0"/>
                  </a:cxn>
                  <a:cxn ang="0">
                    <a:pos x="connsiteX1" y="connsiteY1"/>
                  </a:cxn>
                </a:cxnLst>
                <a:rect l="l" t="t" r="r" b="b"/>
                <a:pathLst>
                  <a:path w="25027" h="36491">
                    <a:moveTo>
                      <a:pt x="24386" y="36269"/>
                    </a:moveTo>
                    <a:cubicBezTo>
                      <a:pt x="14488" y="25227"/>
                      <a:pt x="6116" y="1302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99" name="Freeform 24">
                <a:extLst>
                  <a:ext uri="{FF2B5EF4-FFF2-40B4-BE49-F238E27FC236}">
                    <a16:creationId xmlns:a16="http://schemas.microsoft.com/office/drawing/2014/main" id="{CCC88904-8282-4C05-A1E1-CB932646229B}"/>
                  </a:ext>
                </a:extLst>
              </p:cNvPr>
              <p:cNvSpPr/>
              <p:nvPr/>
            </p:nvSpPr>
            <p:spPr>
              <a:xfrm>
                <a:off x="6214834" y="4580005"/>
                <a:ext cx="22087" cy="32196"/>
              </a:xfrm>
              <a:custGeom>
                <a:avLst/>
                <a:gdLst>
                  <a:gd name="connsiteX0" fmla="*/ 21446 w 22087"/>
                  <a:gd name="connsiteY0" fmla="*/ 31974 h 32196"/>
                  <a:gd name="connsiteX1" fmla="*/ -641 w 22087"/>
                  <a:gd name="connsiteY1" fmla="*/ -223 h 32196"/>
                </a:gdLst>
                <a:ahLst/>
                <a:cxnLst>
                  <a:cxn ang="0">
                    <a:pos x="connsiteX0" y="connsiteY0"/>
                  </a:cxn>
                  <a:cxn ang="0">
                    <a:pos x="connsiteX1" y="connsiteY1"/>
                  </a:cxn>
                </a:cxnLst>
                <a:rect l="l" t="t" r="r" b="b"/>
                <a:pathLst>
                  <a:path w="22087" h="32196">
                    <a:moveTo>
                      <a:pt x="21446" y="31974"/>
                    </a:moveTo>
                    <a:cubicBezTo>
                      <a:pt x="12701" y="22238"/>
                      <a:pt x="5309" y="1147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00" name="Freeform 25">
                <a:extLst>
                  <a:ext uri="{FF2B5EF4-FFF2-40B4-BE49-F238E27FC236}">
                    <a16:creationId xmlns:a16="http://schemas.microsoft.com/office/drawing/2014/main" id="{A70054F8-0706-40E9-B6E8-B2995502AEA1}"/>
                  </a:ext>
                </a:extLst>
              </p:cNvPr>
              <p:cNvSpPr/>
              <p:nvPr/>
            </p:nvSpPr>
            <p:spPr>
              <a:xfrm>
                <a:off x="6263160" y="4549505"/>
                <a:ext cx="19134" cy="27902"/>
              </a:xfrm>
              <a:custGeom>
                <a:avLst/>
                <a:gdLst>
                  <a:gd name="connsiteX0" fmla="*/ 18493 w 19134"/>
                  <a:gd name="connsiteY0" fmla="*/ 27679 h 27902"/>
                  <a:gd name="connsiteX1" fmla="*/ -641 w 19134"/>
                  <a:gd name="connsiteY1" fmla="*/ -223 h 27902"/>
                </a:gdLst>
                <a:ahLst/>
                <a:cxnLst>
                  <a:cxn ang="0">
                    <a:pos x="connsiteX0" y="connsiteY0"/>
                  </a:cxn>
                  <a:cxn ang="0">
                    <a:pos x="connsiteX1" y="connsiteY1"/>
                  </a:cxn>
                </a:cxnLst>
                <a:rect l="l" t="t" r="r" b="b"/>
                <a:pathLst>
                  <a:path w="19134" h="27902">
                    <a:moveTo>
                      <a:pt x="18493" y="27679"/>
                    </a:moveTo>
                    <a:cubicBezTo>
                      <a:pt x="10915" y="19234"/>
                      <a:pt x="4517" y="9905"/>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01" name="Freeform 28">
                <a:extLst>
                  <a:ext uri="{FF2B5EF4-FFF2-40B4-BE49-F238E27FC236}">
                    <a16:creationId xmlns:a16="http://schemas.microsoft.com/office/drawing/2014/main" id="{0CC8D896-C409-41A9-82F8-25BF987DFBDA}"/>
                  </a:ext>
                </a:extLst>
              </p:cNvPr>
              <p:cNvSpPr/>
              <p:nvPr/>
            </p:nvSpPr>
            <p:spPr>
              <a:xfrm>
                <a:off x="6311471" y="4519006"/>
                <a:ext cx="16195" cy="23607"/>
              </a:xfrm>
              <a:custGeom>
                <a:avLst/>
                <a:gdLst>
                  <a:gd name="connsiteX0" fmla="*/ 15554 w 16195"/>
                  <a:gd name="connsiteY0" fmla="*/ 23384 h 23607"/>
                  <a:gd name="connsiteX1" fmla="*/ -641 w 16195"/>
                  <a:gd name="connsiteY1" fmla="*/ -223 h 23607"/>
                </a:gdLst>
                <a:ahLst/>
                <a:cxnLst>
                  <a:cxn ang="0">
                    <a:pos x="connsiteX0" y="connsiteY0"/>
                  </a:cxn>
                  <a:cxn ang="0">
                    <a:pos x="connsiteX1" y="connsiteY1"/>
                  </a:cxn>
                </a:cxnLst>
                <a:rect l="l" t="t" r="r" b="b"/>
                <a:pathLst>
                  <a:path w="16195" h="23607">
                    <a:moveTo>
                      <a:pt x="15554" y="23384"/>
                    </a:moveTo>
                    <a:cubicBezTo>
                      <a:pt x="9143" y="16245"/>
                      <a:pt x="3739" y="835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702" name="Freeform 29">
                <a:extLst>
                  <a:ext uri="{FF2B5EF4-FFF2-40B4-BE49-F238E27FC236}">
                    <a16:creationId xmlns:a16="http://schemas.microsoft.com/office/drawing/2014/main" id="{2532A084-C22C-406A-903D-F1C7D72645C9}"/>
                  </a:ext>
                </a:extLst>
              </p:cNvPr>
              <p:cNvSpPr/>
              <p:nvPr/>
            </p:nvSpPr>
            <p:spPr>
              <a:xfrm>
                <a:off x="6359797" y="4488507"/>
                <a:ext cx="13255" cy="19326"/>
              </a:xfrm>
              <a:custGeom>
                <a:avLst/>
                <a:gdLst>
                  <a:gd name="connsiteX0" fmla="*/ 12614 w 13255"/>
                  <a:gd name="connsiteY0" fmla="*/ 19104 h 19326"/>
                  <a:gd name="connsiteX1" fmla="*/ -641 w 13255"/>
                  <a:gd name="connsiteY1" fmla="*/ -223 h 19326"/>
                </a:gdLst>
                <a:ahLst/>
                <a:cxnLst>
                  <a:cxn ang="0">
                    <a:pos x="connsiteX0" y="connsiteY0"/>
                  </a:cxn>
                  <a:cxn ang="0">
                    <a:pos x="connsiteX1" y="connsiteY1"/>
                  </a:cxn>
                </a:cxnLst>
                <a:rect l="l" t="t" r="r" b="b"/>
                <a:pathLst>
                  <a:path w="13255" h="19326">
                    <a:moveTo>
                      <a:pt x="12614" y="19104"/>
                    </a:moveTo>
                    <a:cubicBezTo>
                      <a:pt x="7371" y="13256"/>
                      <a:pt x="2932" y="680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grpSp>
          <p:nvGrpSpPr>
            <p:cNvPr id="341" name="Graphic 895">
              <a:extLst>
                <a:ext uri="{FF2B5EF4-FFF2-40B4-BE49-F238E27FC236}">
                  <a16:creationId xmlns:a16="http://schemas.microsoft.com/office/drawing/2014/main" id="{0D8FA6E5-A2A0-482A-87BB-522FF1A8A171}"/>
                </a:ext>
              </a:extLst>
            </p:cNvPr>
            <p:cNvGrpSpPr/>
            <p:nvPr/>
          </p:nvGrpSpPr>
          <p:grpSpPr>
            <a:xfrm rot="1834147">
              <a:off x="6721159" y="3303334"/>
              <a:ext cx="527100" cy="376442"/>
              <a:chOff x="5490020" y="4488507"/>
              <a:chExt cx="883032" cy="645577"/>
            </a:xfrm>
            <a:solidFill>
              <a:schemeClr val="bg1"/>
            </a:solidFill>
          </p:grpSpPr>
          <p:sp>
            <p:nvSpPr>
              <p:cNvPr id="664" name="Freeform 922">
                <a:extLst>
                  <a:ext uri="{FF2B5EF4-FFF2-40B4-BE49-F238E27FC236}">
                    <a16:creationId xmlns:a16="http://schemas.microsoft.com/office/drawing/2014/main" id="{897D49BC-0845-4042-9737-A01C0EFB059A}"/>
                  </a:ext>
                </a:extLst>
              </p:cNvPr>
              <p:cNvSpPr/>
              <p:nvPr/>
            </p:nvSpPr>
            <p:spPr>
              <a:xfrm>
                <a:off x="5490020" y="5037494"/>
                <a:ext cx="66249" cy="96590"/>
              </a:xfrm>
              <a:custGeom>
                <a:avLst/>
                <a:gdLst>
                  <a:gd name="connsiteX0" fmla="*/ 65608 w 66249"/>
                  <a:gd name="connsiteY0" fmla="*/ 96368 h 96590"/>
                  <a:gd name="connsiteX1" fmla="*/ -641 w 66249"/>
                  <a:gd name="connsiteY1" fmla="*/ -223 h 96590"/>
                </a:gdLst>
                <a:ahLst/>
                <a:cxnLst>
                  <a:cxn ang="0">
                    <a:pos x="connsiteX0" y="connsiteY0"/>
                  </a:cxn>
                  <a:cxn ang="0">
                    <a:pos x="connsiteX1" y="connsiteY1"/>
                  </a:cxn>
                </a:cxnLst>
                <a:rect l="l" t="t" r="r" b="b"/>
                <a:pathLst>
                  <a:path w="66249" h="96590">
                    <a:moveTo>
                      <a:pt x="65608" y="96368"/>
                    </a:moveTo>
                    <a:cubicBezTo>
                      <a:pt x="39385" y="67131"/>
                      <a:pt x="17225" y="34832"/>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5" name="Freeform 923">
                <a:extLst>
                  <a:ext uri="{FF2B5EF4-FFF2-40B4-BE49-F238E27FC236}">
                    <a16:creationId xmlns:a16="http://schemas.microsoft.com/office/drawing/2014/main" id="{52EEA9B0-A5FF-4D33-8694-09F5F2534595}"/>
                  </a:ext>
                </a:extLst>
              </p:cNvPr>
              <p:cNvSpPr/>
              <p:nvPr/>
            </p:nvSpPr>
            <p:spPr>
              <a:xfrm>
                <a:off x="5538346" y="5006995"/>
                <a:ext cx="63296" cy="92295"/>
              </a:xfrm>
              <a:custGeom>
                <a:avLst/>
                <a:gdLst>
                  <a:gd name="connsiteX0" fmla="*/ 62655 w 63296"/>
                  <a:gd name="connsiteY0" fmla="*/ 92073 h 92295"/>
                  <a:gd name="connsiteX1" fmla="*/ -641 w 63296"/>
                  <a:gd name="connsiteY1" fmla="*/ -223 h 92295"/>
                </a:gdLst>
                <a:ahLst/>
                <a:cxnLst>
                  <a:cxn ang="0">
                    <a:pos x="connsiteX0" y="connsiteY0"/>
                  </a:cxn>
                  <a:cxn ang="0">
                    <a:pos x="connsiteX1" y="connsiteY1"/>
                  </a:cxn>
                </a:cxnLst>
                <a:rect l="l" t="t" r="r" b="b"/>
                <a:pathLst>
                  <a:path w="63296" h="92295">
                    <a:moveTo>
                      <a:pt x="62655" y="92073"/>
                    </a:moveTo>
                    <a:cubicBezTo>
                      <a:pt x="37599" y="64127"/>
                      <a:pt x="16433" y="33280"/>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6" name="Freeform 924">
                <a:extLst>
                  <a:ext uri="{FF2B5EF4-FFF2-40B4-BE49-F238E27FC236}">
                    <a16:creationId xmlns:a16="http://schemas.microsoft.com/office/drawing/2014/main" id="{E717E748-304B-40FE-BE3B-733218E08203}"/>
                  </a:ext>
                </a:extLst>
              </p:cNvPr>
              <p:cNvSpPr/>
              <p:nvPr/>
            </p:nvSpPr>
            <p:spPr>
              <a:xfrm>
                <a:off x="5586657" y="4976496"/>
                <a:ext cx="60371" cy="88001"/>
              </a:xfrm>
              <a:custGeom>
                <a:avLst/>
                <a:gdLst>
                  <a:gd name="connsiteX0" fmla="*/ 59730 w 60371"/>
                  <a:gd name="connsiteY0" fmla="*/ 87778 h 88001"/>
                  <a:gd name="connsiteX1" fmla="*/ -641 w 60371"/>
                  <a:gd name="connsiteY1" fmla="*/ -223 h 88001"/>
                </a:gdLst>
                <a:ahLst/>
                <a:cxnLst>
                  <a:cxn ang="0">
                    <a:pos x="connsiteX0" y="connsiteY0"/>
                  </a:cxn>
                  <a:cxn ang="0">
                    <a:pos x="connsiteX1" y="connsiteY1"/>
                  </a:cxn>
                </a:cxnLst>
                <a:rect l="l" t="t" r="r" b="b"/>
                <a:pathLst>
                  <a:path w="60371" h="88001">
                    <a:moveTo>
                      <a:pt x="59730" y="87778"/>
                    </a:moveTo>
                    <a:cubicBezTo>
                      <a:pt x="35827" y="61138"/>
                      <a:pt x="15641" y="31727"/>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7" name="Freeform 925">
                <a:extLst>
                  <a:ext uri="{FF2B5EF4-FFF2-40B4-BE49-F238E27FC236}">
                    <a16:creationId xmlns:a16="http://schemas.microsoft.com/office/drawing/2014/main" id="{22BF1C00-5866-4D61-AF2C-FC7310120DC7}"/>
                  </a:ext>
                </a:extLst>
              </p:cNvPr>
              <p:cNvSpPr/>
              <p:nvPr/>
            </p:nvSpPr>
            <p:spPr>
              <a:xfrm>
                <a:off x="5634983" y="4945996"/>
                <a:ext cx="57417" cy="83705"/>
              </a:xfrm>
              <a:custGeom>
                <a:avLst/>
                <a:gdLst>
                  <a:gd name="connsiteX0" fmla="*/ 56776 w 57417"/>
                  <a:gd name="connsiteY0" fmla="*/ 83483 h 83705"/>
                  <a:gd name="connsiteX1" fmla="*/ -641 w 57417"/>
                  <a:gd name="connsiteY1" fmla="*/ -223 h 83705"/>
                </a:gdLst>
                <a:ahLst/>
                <a:cxnLst>
                  <a:cxn ang="0">
                    <a:pos x="connsiteX0" y="connsiteY0"/>
                  </a:cxn>
                  <a:cxn ang="0">
                    <a:pos x="connsiteX1" y="connsiteY1"/>
                  </a:cxn>
                </a:cxnLst>
                <a:rect l="l" t="t" r="r" b="b"/>
                <a:pathLst>
                  <a:path w="57417" h="83705">
                    <a:moveTo>
                      <a:pt x="56776" y="83483"/>
                    </a:moveTo>
                    <a:cubicBezTo>
                      <a:pt x="34040" y="58149"/>
                      <a:pt x="14848" y="30160"/>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8" name="Freeform 926">
                <a:extLst>
                  <a:ext uri="{FF2B5EF4-FFF2-40B4-BE49-F238E27FC236}">
                    <a16:creationId xmlns:a16="http://schemas.microsoft.com/office/drawing/2014/main" id="{6CB8A8C0-7B89-4A3C-9AF0-AE89EE0AC9E6}"/>
                  </a:ext>
                </a:extLst>
              </p:cNvPr>
              <p:cNvSpPr/>
              <p:nvPr/>
            </p:nvSpPr>
            <p:spPr>
              <a:xfrm>
                <a:off x="5683308" y="4915497"/>
                <a:ext cx="54464" cy="79411"/>
              </a:xfrm>
              <a:custGeom>
                <a:avLst/>
                <a:gdLst>
                  <a:gd name="connsiteX0" fmla="*/ 53823 w 54464"/>
                  <a:gd name="connsiteY0" fmla="*/ 79188 h 79411"/>
                  <a:gd name="connsiteX1" fmla="*/ -641 w 54464"/>
                  <a:gd name="connsiteY1" fmla="*/ -223 h 79411"/>
                </a:gdLst>
                <a:ahLst/>
                <a:cxnLst>
                  <a:cxn ang="0">
                    <a:pos x="connsiteX0" y="connsiteY0"/>
                  </a:cxn>
                  <a:cxn ang="0">
                    <a:pos x="connsiteX1" y="connsiteY1"/>
                  </a:cxn>
                </a:cxnLst>
                <a:rect l="l" t="t" r="r" b="b"/>
                <a:pathLst>
                  <a:path w="54464" h="79411">
                    <a:moveTo>
                      <a:pt x="53823" y="79188"/>
                    </a:moveTo>
                    <a:cubicBezTo>
                      <a:pt x="32268" y="55161"/>
                      <a:pt x="14056" y="28608"/>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9" name="Freeform 927">
                <a:extLst>
                  <a:ext uri="{FF2B5EF4-FFF2-40B4-BE49-F238E27FC236}">
                    <a16:creationId xmlns:a16="http://schemas.microsoft.com/office/drawing/2014/main" id="{63950FB1-73D0-456C-ABFA-55CD9005838D}"/>
                  </a:ext>
                </a:extLst>
              </p:cNvPr>
              <p:cNvSpPr/>
              <p:nvPr/>
            </p:nvSpPr>
            <p:spPr>
              <a:xfrm>
                <a:off x="5731620" y="4884998"/>
                <a:ext cx="51538" cy="75116"/>
              </a:xfrm>
              <a:custGeom>
                <a:avLst/>
                <a:gdLst>
                  <a:gd name="connsiteX0" fmla="*/ 50897 w 51538"/>
                  <a:gd name="connsiteY0" fmla="*/ 74894 h 75116"/>
                  <a:gd name="connsiteX1" fmla="*/ -641 w 51538"/>
                  <a:gd name="connsiteY1" fmla="*/ -223 h 75116"/>
                </a:gdLst>
                <a:ahLst/>
                <a:cxnLst>
                  <a:cxn ang="0">
                    <a:pos x="connsiteX0" y="connsiteY0"/>
                  </a:cxn>
                  <a:cxn ang="0">
                    <a:pos x="connsiteX1" y="connsiteY1"/>
                  </a:cxn>
                </a:cxnLst>
                <a:rect l="l" t="t" r="r" b="b"/>
                <a:pathLst>
                  <a:path w="51538" h="75116">
                    <a:moveTo>
                      <a:pt x="50897" y="74894"/>
                    </a:moveTo>
                    <a:cubicBezTo>
                      <a:pt x="30495" y="52157"/>
                      <a:pt x="13263" y="27055"/>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0" name="Freeform 928">
                <a:extLst>
                  <a:ext uri="{FF2B5EF4-FFF2-40B4-BE49-F238E27FC236}">
                    <a16:creationId xmlns:a16="http://schemas.microsoft.com/office/drawing/2014/main" id="{592D9829-1903-4B2C-9530-014F7C72C5A4}"/>
                  </a:ext>
                </a:extLst>
              </p:cNvPr>
              <p:cNvSpPr/>
              <p:nvPr/>
            </p:nvSpPr>
            <p:spPr>
              <a:xfrm>
                <a:off x="5779946" y="4854499"/>
                <a:ext cx="48584" cy="70835"/>
              </a:xfrm>
              <a:custGeom>
                <a:avLst/>
                <a:gdLst>
                  <a:gd name="connsiteX0" fmla="*/ 47943 w 48584"/>
                  <a:gd name="connsiteY0" fmla="*/ 70613 h 70835"/>
                  <a:gd name="connsiteX1" fmla="*/ -641 w 48584"/>
                  <a:gd name="connsiteY1" fmla="*/ -223 h 70835"/>
                </a:gdLst>
                <a:ahLst/>
                <a:cxnLst>
                  <a:cxn ang="0">
                    <a:pos x="connsiteX0" y="connsiteY0"/>
                  </a:cxn>
                  <a:cxn ang="0">
                    <a:pos x="connsiteX1" y="connsiteY1"/>
                  </a:cxn>
                </a:cxnLst>
                <a:rect l="l" t="t" r="r" b="b"/>
                <a:pathLst>
                  <a:path w="48584" h="70835">
                    <a:moveTo>
                      <a:pt x="47943" y="70613"/>
                    </a:moveTo>
                    <a:cubicBezTo>
                      <a:pt x="28709" y="49168"/>
                      <a:pt x="12470" y="25488"/>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1" name="Freeform 929">
                <a:extLst>
                  <a:ext uri="{FF2B5EF4-FFF2-40B4-BE49-F238E27FC236}">
                    <a16:creationId xmlns:a16="http://schemas.microsoft.com/office/drawing/2014/main" id="{51354022-6DDF-43CC-9CDF-113369B85AC1}"/>
                  </a:ext>
                </a:extLst>
              </p:cNvPr>
              <p:cNvSpPr/>
              <p:nvPr/>
            </p:nvSpPr>
            <p:spPr>
              <a:xfrm>
                <a:off x="5828271" y="4823999"/>
                <a:ext cx="45632" cy="66541"/>
              </a:xfrm>
              <a:custGeom>
                <a:avLst/>
                <a:gdLst>
                  <a:gd name="connsiteX0" fmla="*/ 44991 w 45632"/>
                  <a:gd name="connsiteY0" fmla="*/ 66318 h 66541"/>
                  <a:gd name="connsiteX1" fmla="*/ -641 w 45632"/>
                  <a:gd name="connsiteY1" fmla="*/ -223 h 66541"/>
                </a:gdLst>
                <a:ahLst/>
                <a:cxnLst>
                  <a:cxn ang="0">
                    <a:pos x="connsiteX0" y="connsiteY0"/>
                  </a:cxn>
                  <a:cxn ang="0">
                    <a:pos x="connsiteX1" y="connsiteY1"/>
                  </a:cxn>
                </a:cxnLst>
                <a:rect l="l" t="t" r="r" b="b"/>
                <a:pathLst>
                  <a:path w="45632" h="66541">
                    <a:moveTo>
                      <a:pt x="44991" y="66318"/>
                    </a:moveTo>
                    <a:cubicBezTo>
                      <a:pt x="26923" y="46179"/>
                      <a:pt x="11664" y="23936"/>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2" name="Freeform 930">
                <a:extLst>
                  <a:ext uri="{FF2B5EF4-FFF2-40B4-BE49-F238E27FC236}">
                    <a16:creationId xmlns:a16="http://schemas.microsoft.com/office/drawing/2014/main" id="{8A5ADB52-6CCE-4030-8D98-1D659BB0331F}"/>
                  </a:ext>
                </a:extLst>
              </p:cNvPr>
              <p:cNvSpPr/>
              <p:nvPr/>
            </p:nvSpPr>
            <p:spPr>
              <a:xfrm>
                <a:off x="5876583" y="4793500"/>
                <a:ext cx="42692" cy="62246"/>
              </a:xfrm>
              <a:custGeom>
                <a:avLst/>
                <a:gdLst>
                  <a:gd name="connsiteX0" fmla="*/ 42051 w 42692"/>
                  <a:gd name="connsiteY0" fmla="*/ 62024 h 62246"/>
                  <a:gd name="connsiteX1" fmla="*/ -641 w 42692"/>
                  <a:gd name="connsiteY1" fmla="*/ -223 h 62246"/>
                </a:gdLst>
                <a:ahLst/>
                <a:cxnLst>
                  <a:cxn ang="0">
                    <a:pos x="connsiteX0" y="connsiteY0"/>
                  </a:cxn>
                  <a:cxn ang="0">
                    <a:pos x="connsiteX1" y="connsiteY1"/>
                  </a:cxn>
                </a:cxnLst>
                <a:rect l="l" t="t" r="r" b="b"/>
                <a:pathLst>
                  <a:path w="42692" h="62246">
                    <a:moveTo>
                      <a:pt x="42051" y="62024"/>
                    </a:moveTo>
                    <a:cubicBezTo>
                      <a:pt x="25150" y="43190"/>
                      <a:pt x="10886" y="22368"/>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3" name="Freeform 931">
                <a:extLst>
                  <a:ext uri="{FF2B5EF4-FFF2-40B4-BE49-F238E27FC236}">
                    <a16:creationId xmlns:a16="http://schemas.microsoft.com/office/drawing/2014/main" id="{E9B4A575-66A1-47D3-B5EC-76C48E04AE93}"/>
                  </a:ext>
                </a:extLst>
              </p:cNvPr>
              <p:cNvSpPr/>
              <p:nvPr/>
            </p:nvSpPr>
            <p:spPr>
              <a:xfrm>
                <a:off x="5924908" y="4763000"/>
                <a:ext cx="39752" cy="57951"/>
              </a:xfrm>
              <a:custGeom>
                <a:avLst/>
                <a:gdLst>
                  <a:gd name="connsiteX0" fmla="*/ 39111 w 39752"/>
                  <a:gd name="connsiteY0" fmla="*/ 57729 h 57951"/>
                  <a:gd name="connsiteX1" fmla="*/ -641 w 39752"/>
                  <a:gd name="connsiteY1" fmla="*/ -223 h 57951"/>
                </a:gdLst>
                <a:ahLst/>
                <a:cxnLst>
                  <a:cxn ang="0">
                    <a:pos x="connsiteX0" y="connsiteY0"/>
                  </a:cxn>
                  <a:cxn ang="0">
                    <a:pos x="connsiteX1" y="connsiteY1"/>
                  </a:cxn>
                </a:cxnLst>
                <a:rect l="l" t="t" r="r" b="b"/>
                <a:pathLst>
                  <a:path w="39752" h="57951">
                    <a:moveTo>
                      <a:pt x="39111" y="57729"/>
                    </a:moveTo>
                    <a:cubicBezTo>
                      <a:pt x="23364" y="40186"/>
                      <a:pt x="10079" y="20816"/>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4" name="Freeform 932">
                <a:extLst>
                  <a:ext uri="{FF2B5EF4-FFF2-40B4-BE49-F238E27FC236}">
                    <a16:creationId xmlns:a16="http://schemas.microsoft.com/office/drawing/2014/main" id="{9283284E-44D5-4176-8E7D-D36023A8C953}"/>
                  </a:ext>
                </a:extLst>
              </p:cNvPr>
              <p:cNvSpPr/>
              <p:nvPr/>
            </p:nvSpPr>
            <p:spPr>
              <a:xfrm>
                <a:off x="5973234" y="4732501"/>
                <a:ext cx="36799" cy="53656"/>
              </a:xfrm>
              <a:custGeom>
                <a:avLst/>
                <a:gdLst>
                  <a:gd name="connsiteX0" fmla="*/ 36158 w 36799"/>
                  <a:gd name="connsiteY0" fmla="*/ 53434 h 53656"/>
                  <a:gd name="connsiteX1" fmla="*/ -641 w 36799"/>
                  <a:gd name="connsiteY1" fmla="*/ -223 h 53656"/>
                </a:gdLst>
                <a:ahLst/>
                <a:cxnLst>
                  <a:cxn ang="0">
                    <a:pos x="connsiteX0" y="connsiteY0"/>
                  </a:cxn>
                  <a:cxn ang="0">
                    <a:pos x="connsiteX1" y="connsiteY1"/>
                  </a:cxn>
                </a:cxnLst>
                <a:rect l="l" t="t" r="r" b="b"/>
                <a:pathLst>
                  <a:path w="36799" h="53656">
                    <a:moveTo>
                      <a:pt x="36158" y="53434"/>
                    </a:moveTo>
                    <a:cubicBezTo>
                      <a:pt x="21591" y="37198"/>
                      <a:pt x="9286" y="19264"/>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5" name="Freeform 933">
                <a:extLst>
                  <a:ext uri="{FF2B5EF4-FFF2-40B4-BE49-F238E27FC236}">
                    <a16:creationId xmlns:a16="http://schemas.microsoft.com/office/drawing/2014/main" id="{36585B59-9329-403F-B135-25BFB8D99F29}"/>
                  </a:ext>
                </a:extLst>
              </p:cNvPr>
              <p:cNvSpPr/>
              <p:nvPr/>
            </p:nvSpPr>
            <p:spPr>
              <a:xfrm>
                <a:off x="6021545" y="4702002"/>
                <a:ext cx="33860" cy="49361"/>
              </a:xfrm>
              <a:custGeom>
                <a:avLst/>
                <a:gdLst>
                  <a:gd name="connsiteX0" fmla="*/ 33219 w 33860"/>
                  <a:gd name="connsiteY0" fmla="*/ 49139 h 49361"/>
                  <a:gd name="connsiteX1" fmla="*/ -641 w 33860"/>
                  <a:gd name="connsiteY1" fmla="*/ -223 h 49361"/>
                </a:gdLst>
                <a:ahLst/>
                <a:cxnLst>
                  <a:cxn ang="0">
                    <a:pos x="connsiteX0" y="connsiteY0"/>
                  </a:cxn>
                  <a:cxn ang="0">
                    <a:pos x="connsiteX1" y="connsiteY1"/>
                  </a:cxn>
                </a:cxnLst>
                <a:rect l="l" t="t" r="r" b="b"/>
                <a:pathLst>
                  <a:path w="33860" h="49361">
                    <a:moveTo>
                      <a:pt x="33219" y="49139"/>
                    </a:moveTo>
                    <a:cubicBezTo>
                      <a:pt x="19820" y="34208"/>
                      <a:pt x="8494" y="17696"/>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6" name="Freeform 934">
                <a:extLst>
                  <a:ext uri="{FF2B5EF4-FFF2-40B4-BE49-F238E27FC236}">
                    <a16:creationId xmlns:a16="http://schemas.microsoft.com/office/drawing/2014/main" id="{F7A2574C-C7DD-48F0-8094-C803AF26D649}"/>
                  </a:ext>
                </a:extLst>
              </p:cNvPr>
              <p:cNvSpPr/>
              <p:nvPr/>
            </p:nvSpPr>
            <p:spPr>
              <a:xfrm>
                <a:off x="6069871" y="4671503"/>
                <a:ext cx="30920" cy="45081"/>
              </a:xfrm>
              <a:custGeom>
                <a:avLst/>
                <a:gdLst>
                  <a:gd name="connsiteX0" fmla="*/ 30279 w 30920"/>
                  <a:gd name="connsiteY0" fmla="*/ 44858 h 45081"/>
                  <a:gd name="connsiteX1" fmla="*/ -641 w 30920"/>
                  <a:gd name="connsiteY1" fmla="*/ -223 h 45081"/>
                </a:gdLst>
                <a:ahLst/>
                <a:cxnLst>
                  <a:cxn ang="0">
                    <a:pos x="connsiteX0" y="connsiteY0"/>
                  </a:cxn>
                  <a:cxn ang="0">
                    <a:pos x="connsiteX1" y="connsiteY1"/>
                  </a:cxn>
                </a:cxnLst>
                <a:rect l="l" t="t" r="r" b="b"/>
                <a:pathLst>
                  <a:path w="30920" h="45081">
                    <a:moveTo>
                      <a:pt x="30279" y="44858"/>
                    </a:moveTo>
                    <a:cubicBezTo>
                      <a:pt x="18033" y="31205"/>
                      <a:pt x="7702" y="16144"/>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7" name="Freeform 935">
                <a:extLst>
                  <a:ext uri="{FF2B5EF4-FFF2-40B4-BE49-F238E27FC236}">
                    <a16:creationId xmlns:a16="http://schemas.microsoft.com/office/drawing/2014/main" id="{AE59CB09-2E18-4CCF-876F-96A2E83DE3CD}"/>
                  </a:ext>
                </a:extLst>
              </p:cNvPr>
              <p:cNvSpPr/>
              <p:nvPr/>
            </p:nvSpPr>
            <p:spPr>
              <a:xfrm>
                <a:off x="6118197" y="4641003"/>
                <a:ext cx="27967" cy="40786"/>
              </a:xfrm>
              <a:custGeom>
                <a:avLst/>
                <a:gdLst>
                  <a:gd name="connsiteX0" fmla="*/ 27326 w 27967"/>
                  <a:gd name="connsiteY0" fmla="*/ 40564 h 40786"/>
                  <a:gd name="connsiteX1" fmla="*/ -641 w 27967"/>
                  <a:gd name="connsiteY1" fmla="*/ -223 h 40786"/>
                </a:gdLst>
                <a:ahLst/>
                <a:cxnLst>
                  <a:cxn ang="0">
                    <a:pos x="connsiteX0" y="connsiteY0"/>
                  </a:cxn>
                  <a:cxn ang="0">
                    <a:pos x="connsiteX1" y="connsiteY1"/>
                  </a:cxn>
                </a:cxnLst>
                <a:rect l="l" t="t" r="r" b="b"/>
                <a:pathLst>
                  <a:path w="27967" h="40786">
                    <a:moveTo>
                      <a:pt x="27326" y="40564"/>
                    </a:moveTo>
                    <a:cubicBezTo>
                      <a:pt x="16246" y="28216"/>
                      <a:pt x="6895" y="14592"/>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8" name="Freeform 936">
                <a:extLst>
                  <a:ext uri="{FF2B5EF4-FFF2-40B4-BE49-F238E27FC236}">
                    <a16:creationId xmlns:a16="http://schemas.microsoft.com/office/drawing/2014/main" id="{5278C69E-A38F-4D21-B831-658E2AE3E114}"/>
                  </a:ext>
                </a:extLst>
              </p:cNvPr>
              <p:cNvSpPr/>
              <p:nvPr/>
            </p:nvSpPr>
            <p:spPr>
              <a:xfrm>
                <a:off x="6166508" y="4610504"/>
                <a:ext cx="25027" cy="36491"/>
              </a:xfrm>
              <a:custGeom>
                <a:avLst/>
                <a:gdLst>
                  <a:gd name="connsiteX0" fmla="*/ 24386 w 25027"/>
                  <a:gd name="connsiteY0" fmla="*/ 36269 h 36491"/>
                  <a:gd name="connsiteX1" fmla="*/ -641 w 25027"/>
                  <a:gd name="connsiteY1" fmla="*/ -223 h 36491"/>
                </a:gdLst>
                <a:ahLst/>
                <a:cxnLst>
                  <a:cxn ang="0">
                    <a:pos x="connsiteX0" y="connsiteY0"/>
                  </a:cxn>
                  <a:cxn ang="0">
                    <a:pos x="connsiteX1" y="connsiteY1"/>
                  </a:cxn>
                </a:cxnLst>
                <a:rect l="l" t="t" r="r" b="b"/>
                <a:pathLst>
                  <a:path w="25027" h="36491">
                    <a:moveTo>
                      <a:pt x="24386" y="36269"/>
                    </a:moveTo>
                    <a:cubicBezTo>
                      <a:pt x="14488" y="25227"/>
                      <a:pt x="6116" y="13024"/>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79" name="Freeform 937">
                <a:extLst>
                  <a:ext uri="{FF2B5EF4-FFF2-40B4-BE49-F238E27FC236}">
                    <a16:creationId xmlns:a16="http://schemas.microsoft.com/office/drawing/2014/main" id="{75074559-30E5-4106-881A-148650778F8B}"/>
                  </a:ext>
                </a:extLst>
              </p:cNvPr>
              <p:cNvSpPr/>
              <p:nvPr/>
            </p:nvSpPr>
            <p:spPr>
              <a:xfrm>
                <a:off x="6214834" y="4580005"/>
                <a:ext cx="22087" cy="32196"/>
              </a:xfrm>
              <a:custGeom>
                <a:avLst/>
                <a:gdLst>
                  <a:gd name="connsiteX0" fmla="*/ 21446 w 22087"/>
                  <a:gd name="connsiteY0" fmla="*/ 31974 h 32196"/>
                  <a:gd name="connsiteX1" fmla="*/ -641 w 22087"/>
                  <a:gd name="connsiteY1" fmla="*/ -223 h 32196"/>
                </a:gdLst>
                <a:ahLst/>
                <a:cxnLst>
                  <a:cxn ang="0">
                    <a:pos x="connsiteX0" y="connsiteY0"/>
                  </a:cxn>
                  <a:cxn ang="0">
                    <a:pos x="connsiteX1" y="connsiteY1"/>
                  </a:cxn>
                </a:cxnLst>
                <a:rect l="l" t="t" r="r" b="b"/>
                <a:pathLst>
                  <a:path w="22087" h="32196">
                    <a:moveTo>
                      <a:pt x="21446" y="31974"/>
                    </a:moveTo>
                    <a:cubicBezTo>
                      <a:pt x="12701" y="22238"/>
                      <a:pt x="5309" y="11472"/>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0" name="Freeform 938">
                <a:extLst>
                  <a:ext uri="{FF2B5EF4-FFF2-40B4-BE49-F238E27FC236}">
                    <a16:creationId xmlns:a16="http://schemas.microsoft.com/office/drawing/2014/main" id="{4C6C402A-91E3-4540-81AD-4A003D127829}"/>
                  </a:ext>
                </a:extLst>
              </p:cNvPr>
              <p:cNvSpPr/>
              <p:nvPr/>
            </p:nvSpPr>
            <p:spPr>
              <a:xfrm>
                <a:off x="6263160" y="4549505"/>
                <a:ext cx="19134" cy="27902"/>
              </a:xfrm>
              <a:custGeom>
                <a:avLst/>
                <a:gdLst>
                  <a:gd name="connsiteX0" fmla="*/ 18493 w 19134"/>
                  <a:gd name="connsiteY0" fmla="*/ 27679 h 27902"/>
                  <a:gd name="connsiteX1" fmla="*/ -641 w 19134"/>
                  <a:gd name="connsiteY1" fmla="*/ -223 h 27902"/>
                </a:gdLst>
                <a:ahLst/>
                <a:cxnLst>
                  <a:cxn ang="0">
                    <a:pos x="connsiteX0" y="connsiteY0"/>
                  </a:cxn>
                  <a:cxn ang="0">
                    <a:pos x="connsiteX1" y="connsiteY1"/>
                  </a:cxn>
                </a:cxnLst>
                <a:rect l="l" t="t" r="r" b="b"/>
                <a:pathLst>
                  <a:path w="19134" h="27902">
                    <a:moveTo>
                      <a:pt x="18493" y="27679"/>
                    </a:moveTo>
                    <a:cubicBezTo>
                      <a:pt x="10915" y="19234"/>
                      <a:pt x="4517" y="9905"/>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1" name="Freeform 939">
                <a:extLst>
                  <a:ext uri="{FF2B5EF4-FFF2-40B4-BE49-F238E27FC236}">
                    <a16:creationId xmlns:a16="http://schemas.microsoft.com/office/drawing/2014/main" id="{2DAAED00-BA92-4621-8246-3B93F42165BB}"/>
                  </a:ext>
                </a:extLst>
              </p:cNvPr>
              <p:cNvSpPr/>
              <p:nvPr/>
            </p:nvSpPr>
            <p:spPr>
              <a:xfrm>
                <a:off x="6311471" y="4519006"/>
                <a:ext cx="16195" cy="23607"/>
              </a:xfrm>
              <a:custGeom>
                <a:avLst/>
                <a:gdLst>
                  <a:gd name="connsiteX0" fmla="*/ 15554 w 16195"/>
                  <a:gd name="connsiteY0" fmla="*/ 23384 h 23607"/>
                  <a:gd name="connsiteX1" fmla="*/ -641 w 16195"/>
                  <a:gd name="connsiteY1" fmla="*/ -223 h 23607"/>
                </a:gdLst>
                <a:ahLst/>
                <a:cxnLst>
                  <a:cxn ang="0">
                    <a:pos x="connsiteX0" y="connsiteY0"/>
                  </a:cxn>
                  <a:cxn ang="0">
                    <a:pos x="connsiteX1" y="connsiteY1"/>
                  </a:cxn>
                </a:cxnLst>
                <a:rect l="l" t="t" r="r" b="b"/>
                <a:pathLst>
                  <a:path w="16195" h="23607">
                    <a:moveTo>
                      <a:pt x="15554" y="23384"/>
                    </a:moveTo>
                    <a:cubicBezTo>
                      <a:pt x="9143" y="16245"/>
                      <a:pt x="3739" y="8352"/>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83" name="Freeform 940">
                <a:extLst>
                  <a:ext uri="{FF2B5EF4-FFF2-40B4-BE49-F238E27FC236}">
                    <a16:creationId xmlns:a16="http://schemas.microsoft.com/office/drawing/2014/main" id="{EEDDD08A-E785-41BB-9D36-2628BF9D7691}"/>
                  </a:ext>
                </a:extLst>
              </p:cNvPr>
              <p:cNvSpPr/>
              <p:nvPr/>
            </p:nvSpPr>
            <p:spPr>
              <a:xfrm>
                <a:off x="6359797" y="4488507"/>
                <a:ext cx="13255" cy="19326"/>
              </a:xfrm>
              <a:custGeom>
                <a:avLst/>
                <a:gdLst>
                  <a:gd name="connsiteX0" fmla="*/ 12614 w 13255"/>
                  <a:gd name="connsiteY0" fmla="*/ 19104 h 19326"/>
                  <a:gd name="connsiteX1" fmla="*/ -641 w 13255"/>
                  <a:gd name="connsiteY1" fmla="*/ -223 h 19326"/>
                </a:gdLst>
                <a:ahLst/>
                <a:cxnLst>
                  <a:cxn ang="0">
                    <a:pos x="connsiteX0" y="connsiteY0"/>
                  </a:cxn>
                  <a:cxn ang="0">
                    <a:pos x="connsiteX1" y="connsiteY1"/>
                  </a:cxn>
                </a:cxnLst>
                <a:rect l="l" t="t" r="r" b="b"/>
                <a:pathLst>
                  <a:path w="13255" h="19326">
                    <a:moveTo>
                      <a:pt x="12614" y="19104"/>
                    </a:moveTo>
                    <a:cubicBezTo>
                      <a:pt x="7371" y="13256"/>
                      <a:pt x="2932" y="6800"/>
                      <a:pt x="-641" y="-223"/>
                    </a:cubicBezTo>
                  </a:path>
                </a:pathLst>
              </a:custGeom>
              <a:grp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grpSp>
          <p:nvGrpSpPr>
            <p:cNvPr id="342" name="Graphic 895">
              <a:extLst>
                <a:ext uri="{FF2B5EF4-FFF2-40B4-BE49-F238E27FC236}">
                  <a16:creationId xmlns:a16="http://schemas.microsoft.com/office/drawing/2014/main" id="{EA1FBB3E-AA8E-4EBE-A8C2-AF803CABE98E}"/>
                </a:ext>
              </a:extLst>
            </p:cNvPr>
            <p:cNvGrpSpPr/>
            <p:nvPr/>
          </p:nvGrpSpPr>
          <p:grpSpPr>
            <a:xfrm rot="3178782">
              <a:off x="6791871" y="3099864"/>
              <a:ext cx="514904" cy="385358"/>
              <a:chOff x="5490020" y="4488507"/>
              <a:chExt cx="883032" cy="645577"/>
            </a:xfrm>
          </p:grpSpPr>
          <p:sp>
            <p:nvSpPr>
              <p:cNvPr id="645" name="Freeform 942">
                <a:extLst>
                  <a:ext uri="{FF2B5EF4-FFF2-40B4-BE49-F238E27FC236}">
                    <a16:creationId xmlns:a16="http://schemas.microsoft.com/office/drawing/2014/main" id="{4FB16881-74B0-4935-BC0A-4AB6A5CABAE8}"/>
                  </a:ext>
                </a:extLst>
              </p:cNvPr>
              <p:cNvSpPr/>
              <p:nvPr/>
            </p:nvSpPr>
            <p:spPr>
              <a:xfrm>
                <a:off x="5490020" y="5037494"/>
                <a:ext cx="66249" cy="96590"/>
              </a:xfrm>
              <a:custGeom>
                <a:avLst/>
                <a:gdLst>
                  <a:gd name="connsiteX0" fmla="*/ 65608 w 66249"/>
                  <a:gd name="connsiteY0" fmla="*/ 96368 h 96590"/>
                  <a:gd name="connsiteX1" fmla="*/ -641 w 66249"/>
                  <a:gd name="connsiteY1" fmla="*/ -223 h 96590"/>
                </a:gdLst>
                <a:ahLst/>
                <a:cxnLst>
                  <a:cxn ang="0">
                    <a:pos x="connsiteX0" y="connsiteY0"/>
                  </a:cxn>
                  <a:cxn ang="0">
                    <a:pos x="connsiteX1" y="connsiteY1"/>
                  </a:cxn>
                </a:cxnLst>
                <a:rect l="l" t="t" r="r" b="b"/>
                <a:pathLst>
                  <a:path w="66249" h="96590">
                    <a:moveTo>
                      <a:pt x="65608" y="96368"/>
                    </a:moveTo>
                    <a:cubicBezTo>
                      <a:pt x="39385" y="67131"/>
                      <a:pt x="17225" y="3483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46" name="Freeform 943">
                <a:extLst>
                  <a:ext uri="{FF2B5EF4-FFF2-40B4-BE49-F238E27FC236}">
                    <a16:creationId xmlns:a16="http://schemas.microsoft.com/office/drawing/2014/main" id="{83EDB1B0-9403-41DA-B2CF-4DC626AA8A0C}"/>
                  </a:ext>
                </a:extLst>
              </p:cNvPr>
              <p:cNvSpPr/>
              <p:nvPr/>
            </p:nvSpPr>
            <p:spPr>
              <a:xfrm>
                <a:off x="5538346" y="5006995"/>
                <a:ext cx="63296" cy="92295"/>
              </a:xfrm>
              <a:custGeom>
                <a:avLst/>
                <a:gdLst>
                  <a:gd name="connsiteX0" fmla="*/ 62655 w 63296"/>
                  <a:gd name="connsiteY0" fmla="*/ 92073 h 92295"/>
                  <a:gd name="connsiteX1" fmla="*/ -641 w 63296"/>
                  <a:gd name="connsiteY1" fmla="*/ -223 h 92295"/>
                </a:gdLst>
                <a:ahLst/>
                <a:cxnLst>
                  <a:cxn ang="0">
                    <a:pos x="connsiteX0" y="connsiteY0"/>
                  </a:cxn>
                  <a:cxn ang="0">
                    <a:pos x="connsiteX1" y="connsiteY1"/>
                  </a:cxn>
                </a:cxnLst>
                <a:rect l="l" t="t" r="r" b="b"/>
                <a:pathLst>
                  <a:path w="63296" h="92295">
                    <a:moveTo>
                      <a:pt x="62655" y="92073"/>
                    </a:moveTo>
                    <a:cubicBezTo>
                      <a:pt x="37599" y="64127"/>
                      <a:pt x="16433" y="3328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47" name="Freeform 944">
                <a:extLst>
                  <a:ext uri="{FF2B5EF4-FFF2-40B4-BE49-F238E27FC236}">
                    <a16:creationId xmlns:a16="http://schemas.microsoft.com/office/drawing/2014/main" id="{EA4BC11F-101E-4A3B-985C-7F2D57E47CBD}"/>
                  </a:ext>
                </a:extLst>
              </p:cNvPr>
              <p:cNvSpPr/>
              <p:nvPr/>
            </p:nvSpPr>
            <p:spPr>
              <a:xfrm>
                <a:off x="5586657" y="4976496"/>
                <a:ext cx="60371" cy="88001"/>
              </a:xfrm>
              <a:custGeom>
                <a:avLst/>
                <a:gdLst>
                  <a:gd name="connsiteX0" fmla="*/ 59730 w 60371"/>
                  <a:gd name="connsiteY0" fmla="*/ 87778 h 88001"/>
                  <a:gd name="connsiteX1" fmla="*/ -641 w 60371"/>
                  <a:gd name="connsiteY1" fmla="*/ -223 h 88001"/>
                </a:gdLst>
                <a:ahLst/>
                <a:cxnLst>
                  <a:cxn ang="0">
                    <a:pos x="connsiteX0" y="connsiteY0"/>
                  </a:cxn>
                  <a:cxn ang="0">
                    <a:pos x="connsiteX1" y="connsiteY1"/>
                  </a:cxn>
                </a:cxnLst>
                <a:rect l="l" t="t" r="r" b="b"/>
                <a:pathLst>
                  <a:path w="60371" h="88001">
                    <a:moveTo>
                      <a:pt x="59730" y="87778"/>
                    </a:moveTo>
                    <a:cubicBezTo>
                      <a:pt x="35827" y="61138"/>
                      <a:pt x="15641" y="31727"/>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48" name="Freeform 945">
                <a:extLst>
                  <a:ext uri="{FF2B5EF4-FFF2-40B4-BE49-F238E27FC236}">
                    <a16:creationId xmlns:a16="http://schemas.microsoft.com/office/drawing/2014/main" id="{74F5FA72-89A4-4968-81CF-234FF0FEBEBC}"/>
                  </a:ext>
                </a:extLst>
              </p:cNvPr>
              <p:cNvSpPr/>
              <p:nvPr/>
            </p:nvSpPr>
            <p:spPr>
              <a:xfrm>
                <a:off x="5634983" y="4945996"/>
                <a:ext cx="57417" cy="83705"/>
              </a:xfrm>
              <a:custGeom>
                <a:avLst/>
                <a:gdLst>
                  <a:gd name="connsiteX0" fmla="*/ 56776 w 57417"/>
                  <a:gd name="connsiteY0" fmla="*/ 83483 h 83705"/>
                  <a:gd name="connsiteX1" fmla="*/ -641 w 57417"/>
                  <a:gd name="connsiteY1" fmla="*/ -223 h 83705"/>
                </a:gdLst>
                <a:ahLst/>
                <a:cxnLst>
                  <a:cxn ang="0">
                    <a:pos x="connsiteX0" y="connsiteY0"/>
                  </a:cxn>
                  <a:cxn ang="0">
                    <a:pos x="connsiteX1" y="connsiteY1"/>
                  </a:cxn>
                </a:cxnLst>
                <a:rect l="l" t="t" r="r" b="b"/>
                <a:pathLst>
                  <a:path w="57417" h="83705">
                    <a:moveTo>
                      <a:pt x="56776" y="83483"/>
                    </a:moveTo>
                    <a:cubicBezTo>
                      <a:pt x="34040" y="58149"/>
                      <a:pt x="14848" y="3016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49" name="Freeform 946">
                <a:extLst>
                  <a:ext uri="{FF2B5EF4-FFF2-40B4-BE49-F238E27FC236}">
                    <a16:creationId xmlns:a16="http://schemas.microsoft.com/office/drawing/2014/main" id="{A018819B-F0B3-466B-BF9B-E60C143BD300}"/>
                  </a:ext>
                </a:extLst>
              </p:cNvPr>
              <p:cNvSpPr/>
              <p:nvPr/>
            </p:nvSpPr>
            <p:spPr>
              <a:xfrm>
                <a:off x="5683308" y="4915497"/>
                <a:ext cx="54464" cy="79411"/>
              </a:xfrm>
              <a:custGeom>
                <a:avLst/>
                <a:gdLst>
                  <a:gd name="connsiteX0" fmla="*/ 53823 w 54464"/>
                  <a:gd name="connsiteY0" fmla="*/ 79188 h 79411"/>
                  <a:gd name="connsiteX1" fmla="*/ -641 w 54464"/>
                  <a:gd name="connsiteY1" fmla="*/ -223 h 79411"/>
                </a:gdLst>
                <a:ahLst/>
                <a:cxnLst>
                  <a:cxn ang="0">
                    <a:pos x="connsiteX0" y="connsiteY0"/>
                  </a:cxn>
                  <a:cxn ang="0">
                    <a:pos x="connsiteX1" y="connsiteY1"/>
                  </a:cxn>
                </a:cxnLst>
                <a:rect l="l" t="t" r="r" b="b"/>
                <a:pathLst>
                  <a:path w="54464" h="79411">
                    <a:moveTo>
                      <a:pt x="53823" y="79188"/>
                    </a:moveTo>
                    <a:cubicBezTo>
                      <a:pt x="32268" y="55161"/>
                      <a:pt x="14056" y="28608"/>
                      <a:pt x="-641" y="-223"/>
                    </a:cubicBezTo>
                  </a:path>
                </a:pathLst>
              </a:custGeom>
              <a:solidFill>
                <a:schemeClr val="bg1"/>
              </a:solid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0" name="Freeform 947">
                <a:extLst>
                  <a:ext uri="{FF2B5EF4-FFF2-40B4-BE49-F238E27FC236}">
                    <a16:creationId xmlns:a16="http://schemas.microsoft.com/office/drawing/2014/main" id="{EAAFC35F-DD2B-4A26-ADCF-1CED1372DFF7}"/>
                  </a:ext>
                </a:extLst>
              </p:cNvPr>
              <p:cNvSpPr/>
              <p:nvPr/>
            </p:nvSpPr>
            <p:spPr>
              <a:xfrm>
                <a:off x="5731620" y="4884998"/>
                <a:ext cx="51538" cy="75116"/>
              </a:xfrm>
              <a:custGeom>
                <a:avLst/>
                <a:gdLst>
                  <a:gd name="connsiteX0" fmla="*/ 50897 w 51538"/>
                  <a:gd name="connsiteY0" fmla="*/ 74894 h 75116"/>
                  <a:gd name="connsiteX1" fmla="*/ -641 w 51538"/>
                  <a:gd name="connsiteY1" fmla="*/ -223 h 75116"/>
                </a:gdLst>
                <a:ahLst/>
                <a:cxnLst>
                  <a:cxn ang="0">
                    <a:pos x="connsiteX0" y="connsiteY0"/>
                  </a:cxn>
                  <a:cxn ang="0">
                    <a:pos x="connsiteX1" y="connsiteY1"/>
                  </a:cxn>
                </a:cxnLst>
                <a:rect l="l" t="t" r="r" b="b"/>
                <a:pathLst>
                  <a:path w="51538" h="75116">
                    <a:moveTo>
                      <a:pt x="50897" y="74894"/>
                    </a:moveTo>
                    <a:cubicBezTo>
                      <a:pt x="30495" y="52157"/>
                      <a:pt x="13263" y="27055"/>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1" name="Freeform 948">
                <a:extLst>
                  <a:ext uri="{FF2B5EF4-FFF2-40B4-BE49-F238E27FC236}">
                    <a16:creationId xmlns:a16="http://schemas.microsoft.com/office/drawing/2014/main" id="{F4C383BF-8C7C-42EA-9298-2CDA53C443DF}"/>
                  </a:ext>
                </a:extLst>
              </p:cNvPr>
              <p:cNvSpPr/>
              <p:nvPr/>
            </p:nvSpPr>
            <p:spPr>
              <a:xfrm>
                <a:off x="5779946" y="4854499"/>
                <a:ext cx="48584" cy="70835"/>
              </a:xfrm>
              <a:custGeom>
                <a:avLst/>
                <a:gdLst>
                  <a:gd name="connsiteX0" fmla="*/ 47943 w 48584"/>
                  <a:gd name="connsiteY0" fmla="*/ 70613 h 70835"/>
                  <a:gd name="connsiteX1" fmla="*/ -641 w 48584"/>
                  <a:gd name="connsiteY1" fmla="*/ -223 h 70835"/>
                </a:gdLst>
                <a:ahLst/>
                <a:cxnLst>
                  <a:cxn ang="0">
                    <a:pos x="connsiteX0" y="connsiteY0"/>
                  </a:cxn>
                  <a:cxn ang="0">
                    <a:pos x="connsiteX1" y="connsiteY1"/>
                  </a:cxn>
                </a:cxnLst>
                <a:rect l="l" t="t" r="r" b="b"/>
                <a:pathLst>
                  <a:path w="48584" h="70835">
                    <a:moveTo>
                      <a:pt x="47943" y="70613"/>
                    </a:moveTo>
                    <a:cubicBezTo>
                      <a:pt x="28709" y="49168"/>
                      <a:pt x="12470" y="25488"/>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2" name="Freeform 949">
                <a:extLst>
                  <a:ext uri="{FF2B5EF4-FFF2-40B4-BE49-F238E27FC236}">
                    <a16:creationId xmlns:a16="http://schemas.microsoft.com/office/drawing/2014/main" id="{8080965B-453F-444C-BE0F-F38A2F9C84CA}"/>
                  </a:ext>
                </a:extLst>
              </p:cNvPr>
              <p:cNvSpPr/>
              <p:nvPr/>
            </p:nvSpPr>
            <p:spPr>
              <a:xfrm>
                <a:off x="5828271" y="4823999"/>
                <a:ext cx="45632" cy="66541"/>
              </a:xfrm>
              <a:custGeom>
                <a:avLst/>
                <a:gdLst>
                  <a:gd name="connsiteX0" fmla="*/ 44991 w 45632"/>
                  <a:gd name="connsiteY0" fmla="*/ 66318 h 66541"/>
                  <a:gd name="connsiteX1" fmla="*/ -641 w 45632"/>
                  <a:gd name="connsiteY1" fmla="*/ -223 h 66541"/>
                </a:gdLst>
                <a:ahLst/>
                <a:cxnLst>
                  <a:cxn ang="0">
                    <a:pos x="connsiteX0" y="connsiteY0"/>
                  </a:cxn>
                  <a:cxn ang="0">
                    <a:pos x="connsiteX1" y="connsiteY1"/>
                  </a:cxn>
                </a:cxnLst>
                <a:rect l="l" t="t" r="r" b="b"/>
                <a:pathLst>
                  <a:path w="45632" h="66541">
                    <a:moveTo>
                      <a:pt x="44991" y="66318"/>
                    </a:moveTo>
                    <a:cubicBezTo>
                      <a:pt x="26923" y="46179"/>
                      <a:pt x="11664" y="23936"/>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3" name="Freeform 950">
                <a:extLst>
                  <a:ext uri="{FF2B5EF4-FFF2-40B4-BE49-F238E27FC236}">
                    <a16:creationId xmlns:a16="http://schemas.microsoft.com/office/drawing/2014/main" id="{843CD92A-DD41-4528-B9CE-22A0631DA288}"/>
                  </a:ext>
                </a:extLst>
              </p:cNvPr>
              <p:cNvSpPr/>
              <p:nvPr/>
            </p:nvSpPr>
            <p:spPr>
              <a:xfrm>
                <a:off x="5876583" y="4793500"/>
                <a:ext cx="42692" cy="62246"/>
              </a:xfrm>
              <a:custGeom>
                <a:avLst/>
                <a:gdLst>
                  <a:gd name="connsiteX0" fmla="*/ 42051 w 42692"/>
                  <a:gd name="connsiteY0" fmla="*/ 62024 h 62246"/>
                  <a:gd name="connsiteX1" fmla="*/ -641 w 42692"/>
                  <a:gd name="connsiteY1" fmla="*/ -223 h 62246"/>
                </a:gdLst>
                <a:ahLst/>
                <a:cxnLst>
                  <a:cxn ang="0">
                    <a:pos x="connsiteX0" y="connsiteY0"/>
                  </a:cxn>
                  <a:cxn ang="0">
                    <a:pos x="connsiteX1" y="connsiteY1"/>
                  </a:cxn>
                </a:cxnLst>
                <a:rect l="l" t="t" r="r" b="b"/>
                <a:pathLst>
                  <a:path w="42692" h="62246">
                    <a:moveTo>
                      <a:pt x="42051" y="62024"/>
                    </a:moveTo>
                    <a:cubicBezTo>
                      <a:pt x="25150" y="43190"/>
                      <a:pt x="10886" y="22368"/>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4" name="Freeform 951">
                <a:extLst>
                  <a:ext uri="{FF2B5EF4-FFF2-40B4-BE49-F238E27FC236}">
                    <a16:creationId xmlns:a16="http://schemas.microsoft.com/office/drawing/2014/main" id="{ADB0EC64-2BC3-4049-B066-EA567DF1E0AF}"/>
                  </a:ext>
                </a:extLst>
              </p:cNvPr>
              <p:cNvSpPr/>
              <p:nvPr/>
            </p:nvSpPr>
            <p:spPr>
              <a:xfrm>
                <a:off x="5924908" y="4763000"/>
                <a:ext cx="39752" cy="57951"/>
              </a:xfrm>
              <a:custGeom>
                <a:avLst/>
                <a:gdLst>
                  <a:gd name="connsiteX0" fmla="*/ 39111 w 39752"/>
                  <a:gd name="connsiteY0" fmla="*/ 57729 h 57951"/>
                  <a:gd name="connsiteX1" fmla="*/ -641 w 39752"/>
                  <a:gd name="connsiteY1" fmla="*/ -223 h 57951"/>
                </a:gdLst>
                <a:ahLst/>
                <a:cxnLst>
                  <a:cxn ang="0">
                    <a:pos x="connsiteX0" y="connsiteY0"/>
                  </a:cxn>
                  <a:cxn ang="0">
                    <a:pos x="connsiteX1" y="connsiteY1"/>
                  </a:cxn>
                </a:cxnLst>
                <a:rect l="l" t="t" r="r" b="b"/>
                <a:pathLst>
                  <a:path w="39752" h="57951">
                    <a:moveTo>
                      <a:pt x="39111" y="57729"/>
                    </a:moveTo>
                    <a:cubicBezTo>
                      <a:pt x="23364" y="40186"/>
                      <a:pt x="10079" y="20816"/>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5" name="Freeform 952">
                <a:extLst>
                  <a:ext uri="{FF2B5EF4-FFF2-40B4-BE49-F238E27FC236}">
                    <a16:creationId xmlns:a16="http://schemas.microsoft.com/office/drawing/2014/main" id="{D85F30A7-37FE-463E-9D9F-CF1D3F6D533A}"/>
                  </a:ext>
                </a:extLst>
              </p:cNvPr>
              <p:cNvSpPr/>
              <p:nvPr/>
            </p:nvSpPr>
            <p:spPr>
              <a:xfrm>
                <a:off x="5973234" y="4732501"/>
                <a:ext cx="36799" cy="53656"/>
              </a:xfrm>
              <a:custGeom>
                <a:avLst/>
                <a:gdLst>
                  <a:gd name="connsiteX0" fmla="*/ 36158 w 36799"/>
                  <a:gd name="connsiteY0" fmla="*/ 53434 h 53656"/>
                  <a:gd name="connsiteX1" fmla="*/ -641 w 36799"/>
                  <a:gd name="connsiteY1" fmla="*/ -223 h 53656"/>
                </a:gdLst>
                <a:ahLst/>
                <a:cxnLst>
                  <a:cxn ang="0">
                    <a:pos x="connsiteX0" y="connsiteY0"/>
                  </a:cxn>
                  <a:cxn ang="0">
                    <a:pos x="connsiteX1" y="connsiteY1"/>
                  </a:cxn>
                </a:cxnLst>
                <a:rect l="l" t="t" r="r" b="b"/>
                <a:pathLst>
                  <a:path w="36799" h="53656">
                    <a:moveTo>
                      <a:pt x="36158" y="53434"/>
                    </a:moveTo>
                    <a:cubicBezTo>
                      <a:pt x="21591" y="37198"/>
                      <a:pt x="9286" y="1926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6" name="Freeform 953">
                <a:extLst>
                  <a:ext uri="{FF2B5EF4-FFF2-40B4-BE49-F238E27FC236}">
                    <a16:creationId xmlns:a16="http://schemas.microsoft.com/office/drawing/2014/main" id="{AD6C3825-7AA2-4A5F-8E7B-190699C59F56}"/>
                  </a:ext>
                </a:extLst>
              </p:cNvPr>
              <p:cNvSpPr/>
              <p:nvPr/>
            </p:nvSpPr>
            <p:spPr>
              <a:xfrm>
                <a:off x="6021545" y="4702002"/>
                <a:ext cx="33860" cy="49361"/>
              </a:xfrm>
              <a:custGeom>
                <a:avLst/>
                <a:gdLst>
                  <a:gd name="connsiteX0" fmla="*/ 33219 w 33860"/>
                  <a:gd name="connsiteY0" fmla="*/ 49139 h 49361"/>
                  <a:gd name="connsiteX1" fmla="*/ -641 w 33860"/>
                  <a:gd name="connsiteY1" fmla="*/ -223 h 49361"/>
                </a:gdLst>
                <a:ahLst/>
                <a:cxnLst>
                  <a:cxn ang="0">
                    <a:pos x="connsiteX0" y="connsiteY0"/>
                  </a:cxn>
                  <a:cxn ang="0">
                    <a:pos x="connsiteX1" y="connsiteY1"/>
                  </a:cxn>
                </a:cxnLst>
                <a:rect l="l" t="t" r="r" b="b"/>
                <a:pathLst>
                  <a:path w="33860" h="49361">
                    <a:moveTo>
                      <a:pt x="33219" y="49139"/>
                    </a:moveTo>
                    <a:cubicBezTo>
                      <a:pt x="19820" y="34208"/>
                      <a:pt x="8494" y="17696"/>
                      <a:pt x="-641" y="-223"/>
                    </a:cubicBezTo>
                  </a:path>
                </a:pathLst>
              </a:custGeom>
              <a:solidFill>
                <a:schemeClr val="bg1"/>
              </a:solid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7" name="Freeform 954">
                <a:extLst>
                  <a:ext uri="{FF2B5EF4-FFF2-40B4-BE49-F238E27FC236}">
                    <a16:creationId xmlns:a16="http://schemas.microsoft.com/office/drawing/2014/main" id="{64AA6B4B-3C66-46EB-9FEC-BC2DCCAA0849}"/>
                  </a:ext>
                </a:extLst>
              </p:cNvPr>
              <p:cNvSpPr/>
              <p:nvPr/>
            </p:nvSpPr>
            <p:spPr>
              <a:xfrm>
                <a:off x="6069871" y="4671503"/>
                <a:ext cx="30920" cy="45081"/>
              </a:xfrm>
              <a:custGeom>
                <a:avLst/>
                <a:gdLst>
                  <a:gd name="connsiteX0" fmla="*/ 30279 w 30920"/>
                  <a:gd name="connsiteY0" fmla="*/ 44858 h 45081"/>
                  <a:gd name="connsiteX1" fmla="*/ -641 w 30920"/>
                  <a:gd name="connsiteY1" fmla="*/ -223 h 45081"/>
                </a:gdLst>
                <a:ahLst/>
                <a:cxnLst>
                  <a:cxn ang="0">
                    <a:pos x="connsiteX0" y="connsiteY0"/>
                  </a:cxn>
                  <a:cxn ang="0">
                    <a:pos x="connsiteX1" y="connsiteY1"/>
                  </a:cxn>
                </a:cxnLst>
                <a:rect l="l" t="t" r="r" b="b"/>
                <a:pathLst>
                  <a:path w="30920" h="45081">
                    <a:moveTo>
                      <a:pt x="30279" y="44858"/>
                    </a:moveTo>
                    <a:cubicBezTo>
                      <a:pt x="18033" y="31205"/>
                      <a:pt x="7702" y="1614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8" name="Freeform 955">
                <a:extLst>
                  <a:ext uri="{FF2B5EF4-FFF2-40B4-BE49-F238E27FC236}">
                    <a16:creationId xmlns:a16="http://schemas.microsoft.com/office/drawing/2014/main" id="{DBDD40A5-0DE7-47E2-ADCE-D93C5320C21A}"/>
                  </a:ext>
                </a:extLst>
              </p:cNvPr>
              <p:cNvSpPr/>
              <p:nvPr/>
            </p:nvSpPr>
            <p:spPr>
              <a:xfrm>
                <a:off x="6118197" y="4641003"/>
                <a:ext cx="27967" cy="40786"/>
              </a:xfrm>
              <a:custGeom>
                <a:avLst/>
                <a:gdLst>
                  <a:gd name="connsiteX0" fmla="*/ 27326 w 27967"/>
                  <a:gd name="connsiteY0" fmla="*/ 40564 h 40786"/>
                  <a:gd name="connsiteX1" fmla="*/ -641 w 27967"/>
                  <a:gd name="connsiteY1" fmla="*/ -223 h 40786"/>
                </a:gdLst>
                <a:ahLst/>
                <a:cxnLst>
                  <a:cxn ang="0">
                    <a:pos x="connsiteX0" y="connsiteY0"/>
                  </a:cxn>
                  <a:cxn ang="0">
                    <a:pos x="connsiteX1" y="connsiteY1"/>
                  </a:cxn>
                </a:cxnLst>
                <a:rect l="l" t="t" r="r" b="b"/>
                <a:pathLst>
                  <a:path w="27967" h="40786">
                    <a:moveTo>
                      <a:pt x="27326" y="40564"/>
                    </a:moveTo>
                    <a:cubicBezTo>
                      <a:pt x="16246" y="28216"/>
                      <a:pt x="6895" y="1459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59" name="Freeform 956">
                <a:extLst>
                  <a:ext uri="{FF2B5EF4-FFF2-40B4-BE49-F238E27FC236}">
                    <a16:creationId xmlns:a16="http://schemas.microsoft.com/office/drawing/2014/main" id="{F4093D62-1ED3-49BE-8DA5-5DC56C9D5D13}"/>
                  </a:ext>
                </a:extLst>
              </p:cNvPr>
              <p:cNvSpPr/>
              <p:nvPr/>
            </p:nvSpPr>
            <p:spPr>
              <a:xfrm>
                <a:off x="6166508" y="4610504"/>
                <a:ext cx="25027" cy="36491"/>
              </a:xfrm>
              <a:custGeom>
                <a:avLst/>
                <a:gdLst>
                  <a:gd name="connsiteX0" fmla="*/ 24386 w 25027"/>
                  <a:gd name="connsiteY0" fmla="*/ 36269 h 36491"/>
                  <a:gd name="connsiteX1" fmla="*/ -641 w 25027"/>
                  <a:gd name="connsiteY1" fmla="*/ -223 h 36491"/>
                </a:gdLst>
                <a:ahLst/>
                <a:cxnLst>
                  <a:cxn ang="0">
                    <a:pos x="connsiteX0" y="connsiteY0"/>
                  </a:cxn>
                  <a:cxn ang="0">
                    <a:pos x="connsiteX1" y="connsiteY1"/>
                  </a:cxn>
                </a:cxnLst>
                <a:rect l="l" t="t" r="r" b="b"/>
                <a:pathLst>
                  <a:path w="25027" h="36491">
                    <a:moveTo>
                      <a:pt x="24386" y="36269"/>
                    </a:moveTo>
                    <a:cubicBezTo>
                      <a:pt x="14488" y="25227"/>
                      <a:pt x="6116" y="13024"/>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0" name="Freeform 957">
                <a:extLst>
                  <a:ext uri="{FF2B5EF4-FFF2-40B4-BE49-F238E27FC236}">
                    <a16:creationId xmlns:a16="http://schemas.microsoft.com/office/drawing/2014/main" id="{0D33477F-067F-4D43-9C78-DAA91745B876}"/>
                  </a:ext>
                </a:extLst>
              </p:cNvPr>
              <p:cNvSpPr/>
              <p:nvPr/>
            </p:nvSpPr>
            <p:spPr>
              <a:xfrm>
                <a:off x="6214834" y="4580005"/>
                <a:ext cx="22087" cy="32196"/>
              </a:xfrm>
              <a:custGeom>
                <a:avLst/>
                <a:gdLst>
                  <a:gd name="connsiteX0" fmla="*/ 21446 w 22087"/>
                  <a:gd name="connsiteY0" fmla="*/ 31974 h 32196"/>
                  <a:gd name="connsiteX1" fmla="*/ -641 w 22087"/>
                  <a:gd name="connsiteY1" fmla="*/ -223 h 32196"/>
                </a:gdLst>
                <a:ahLst/>
                <a:cxnLst>
                  <a:cxn ang="0">
                    <a:pos x="connsiteX0" y="connsiteY0"/>
                  </a:cxn>
                  <a:cxn ang="0">
                    <a:pos x="connsiteX1" y="connsiteY1"/>
                  </a:cxn>
                </a:cxnLst>
                <a:rect l="l" t="t" r="r" b="b"/>
                <a:pathLst>
                  <a:path w="22087" h="32196">
                    <a:moveTo>
                      <a:pt x="21446" y="31974"/>
                    </a:moveTo>
                    <a:cubicBezTo>
                      <a:pt x="12701" y="22238"/>
                      <a:pt x="5309" y="1147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1" name="Freeform 958">
                <a:extLst>
                  <a:ext uri="{FF2B5EF4-FFF2-40B4-BE49-F238E27FC236}">
                    <a16:creationId xmlns:a16="http://schemas.microsoft.com/office/drawing/2014/main" id="{80FDD49F-2BEB-46A6-9CA2-DF2F133EB883}"/>
                  </a:ext>
                </a:extLst>
              </p:cNvPr>
              <p:cNvSpPr/>
              <p:nvPr/>
            </p:nvSpPr>
            <p:spPr>
              <a:xfrm>
                <a:off x="6263160" y="4549505"/>
                <a:ext cx="19134" cy="27902"/>
              </a:xfrm>
              <a:custGeom>
                <a:avLst/>
                <a:gdLst>
                  <a:gd name="connsiteX0" fmla="*/ 18493 w 19134"/>
                  <a:gd name="connsiteY0" fmla="*/ 27679 h 27902"/>
                  <a:gd name="connsiteX1" fmla="*/ -641 w 19134"/>
                  <a:gd name="connsiteY1" fmla="*/ -223 h 27902"/>
                </a:gdLst>
                <a:ahLst/>
                <a:cxnLst>
                  <a:cxn ang="0">
                    <a:pos x="connsiteX0" y="connsiteY0"/>
                  </a:cxn>
                  <a:cxn ang="0">
                    <a:pos x="connsiteX1" y="connsiteY1"/>
                  </a:cxn>
                </a:cxnLst>
                <a:rect l="l" t="t" r="r" b="b"/>
                <a:pathLst>
                  <a:path w="19134" h="27902">
                    <a:moveTo>
                      <a:pt x="18493" y="27679"/>
                    </a:moveTo>
                    <a:cubicBezTo>
                      <a:pt x="10915" y="19234"/>
                      <a:pt x="4517" y="9905"/>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2" name="Freeform 959">
                <a:extLst>
                  <a:ext uri="{FF2B5EF4-FFF2-40B4-BE49-F238E27FC236}">
                    <a16:creationId xmlns:a16="http://schemas.microsoft.com/office/drawing/2014/main" id="{0FF6EBE4-33EF-455E-894B-6BEAB703302F}"/>
                  </a:ext>
                </a:extLst>
              </p:cNvPr>
              <p:cNvSpPr/>
              <p:nvPr/>
            </p:nvSpPr>
            <p:spPr>
              <a:xfrm>
                <a:off x="6311471" y="4519006"/>
                <a:ext cx="16195" cy="23607"/>
              </a:xfrm>
              <a:custGeom>
                <a:avLst/>
                <a:gdLst>
                  <a:gd name="connsiteX0" fmla="*/ 15554 w 16195"/>
                  <a:gd name="connsiteY0" fmla="*/ 23384 h 23607"/>
                  <a:gd name="connsiteX1" fmla="*/ -641 w 16195"/>
                  <a:gd name="connsiteY1" fmla="*/ -223 h 23607"/>
                </a:gdLst>
                <a:ahLst/>
                <a:cxnLst>
                  <a:cxn ang="0">
                    <a:pos x="connsiteX0" y="connsiteY0"/>
                  </a:cxn>
                  <a:cxn ang="0">
                    <a:pos x="connsiteX1" y="connsiteY1"/>
                  </a:cxn>
                </a:cxnLst>
                <a:rect l="l" t="t" r="r" b="b"/>
                <a:pathLst>
                  <a:path w="16195" h="23607">
                    <a:moveTo>
                      <a:pt x="15554" y="23384"/>
                    </a:moveTo>
                    <a:cubicBezTo>
                      <a:pt x="9143" y="16245"/>
                      <a:pt x="3739" y="8352"/>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663" name="Freeform 960">
                <a:extLst>
                  <a:ext uri="{FF2B5EF4-FFF2-40B4-BE49-F238E27FC236}">
                    <a16:creationId xmlns:a16="http://schemas.microsoft.com/office/drawing/2014/main" id="{02612C12-1E4B-45FB-B985-8E54A129F50C}"/>
                  </a:ext>
                </a:extLst>
              </p:cNvPr>
              <p:cNvSpPr/>
              <p:nvPr/>
            </p:nvSpPr>
            <p:spPr>
              <a:xfrm>
                <a:off x="6359797" y="4488507"/>
                <a:ext cx="13255" cy="19326"/>
              </a:xfrm>
              <a:custGeom>
                <a:avLst/>
                <a:gdLst>
                  <a:gd name="connsiteX0" fmla="*/ 12614 w 13255"/>
                  <a:gd name="connsiteY0" fmla="*/ 19104 h 19326"/>
                  <a:gd name="connsiteX1" fmla="*/ -641 w 13255"/>
                  <a:gd name="connsiteY1" fmla="*/ -223 h 19326"/>
                </a:gdLst>
                <a:ahLst/>
                <a:cxnLst>
                  <a:cxn ang="0">
                    <a:pos x="connsiteX0" y="connsiteY0"/>
                  </a:cxn>
                  <a:cxn ang="0">
                    <a:pos x="connsiteX1" y="connsiteY1"/>
                  </a:cxn>
                </a:cxnLst>
                <a:rect l="l" t="t" r="r" b="b"/>
                <a:pathLst>
                  <a:path w="13255" h="19326">
                    <a:moveTo>
                      <a:pt x="12614" y="19104"/>
                    </a:moveTo>
                    <a:cubicBezTo>
                      <a:pt x="7371" y="13256"/>
                      <a:pt x="2932" y="6800"/>
                      <a:pt x="-641" y="-223"/>
                    </a:cubicBezTo>
                  </a:path>
                </a:pathLst>
              </a:custGeom>
              <a:noFill/>
              <a:ln w="9525"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sp>
          <p:nvSpPr>
            <p:cNvPr id="343" name="TextBox 342">
              <a:extLst>
                <a:ext uri="{FF2B5EF4-FFF2-40B4-BE49-F238E27FC236}">
                  <a16:creationId xmlns:a16="http://schemas.microsoft.com/office/drawing/2014/main" id="{4510B012-4F5A-475B-881C-C0F655B37C68}"/>
                </a:ext>
              </a:extLst>
            </p:cNvPr>
            <p:cNvSpPr txBox="1"/>
            <p:nvPr/>
          </p:nvSpPr>
          <p:spPr>
            <a:xfrm>
              <a:off x="7367826" y="3764212"/>
              <a:ext cx="976875" cy="321255"/>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GB" sz="1200" b="0" i="0" u="none" strike="noStrike" kern="1200" cap="none" spc="0" normalizeH="0" baseline="0" noProof="0" dirty="0">
                  <a:ln>
                    <a:noFill/>
                  </a:ln>
                  <a:solidFill>
                    <a:srgbClr val="FFFFFF"/>
                  </a:solidFill>
                  <a:effectLst/>
                  <a:uLnTx/>
                  <a:uFillTx/>
                  <a:latin typeface="Nokia Pure Text Light"/>
                  <a:ea typeface="+mn-ea"/>
                  <a:cs typeface="+mn-cs"/>
                </a:rPr>
                <a:t>Sensing-only Access Points</a:t>
              </a:r>
            </a:p>
          </p:txBody>
        </p:sp>
        <p:grpSp>
          <p:nvGrpSpPr>
            <p:cNvPr id="344" name="Group 343">
              <a:extLst>
                <a:ext uri="{FF2B5EF4-FFF2-40B4-BE49-F238E27FC236}">
                  <a16:creationId xmlns:a16="http://schemas.microsoft.com/office/drawing/2014/main" id="{25AA9892-7E73-4D32-9F04-FCAAB9BCF097}"/>
                </a:ext>
              </a:extLst>
            </p:cNvPr>
            <p:cNvGrpSpPr/>
            <p:nvPr/>
          </p:nvGrpSpPr>
          <p:grpSpPr>
            <a:xfrm>
              <a:off x="4300445" y="1818967"/>
              <a:ext cx="332413" cy="587052"/>
              <a:chOff x="3891771" y="1411049"/>
              <a:chExt cx="579596" cy="1109287"/>
            </a:xfrm>
          </p:grpSpPr>
          <p:grpSp>
            <p:nvGrpSpPr>
              <p:cNvPr id="597" name="Group 596">
                <a:extLst>
                  <a:ext uri="{FF2B5EF4-FFF2-40B4-BE49-F238E27FC236}">
                    <a16:creationId xmlns:a16="http://schemas.microsoft.com/office/drawing/2014/main" id="{D3EB8AF2-EE1D-43AF-9EEC-81009D896A4D}"/>
                  </a:ext>
                </a:extLst>
              </p:cNvPr>
              <p:cNvGrpSpPr>
                <a:grpSpLocks noChangeAspect="1"/>
              </p:cNvGrpSpPr>
              <p:nvPr/>
            </p:nvGrpSpPr>
            <p:grpSpPr>
              <a:xfrm rot="4428370">
                <a:off x="3520046" y="1988521"/>
                <a:ext cx="903540" cy="160089"/>
                <a:chOff x="3239476" y="2239474"/>
                <a:chExt cx="3832058" cy="972000"/>
              </a:xfrm>
            </p:grpSpPr>
            <p:cxnSp>
              <p:nvCxnSpPr>
                <p:cNvPr id="630" name="Straight Connector 629">
                  <a:extLst>
                    <a:ext uri="{FF2B5EF4-FFF2-40B4-BE49-F238E27FC236}">
                      <a16:creationId xmlns:a16="http://schemas.microsoft.com/office/drawing/2014/main" id="{066EAA7C-1A44-4886-9AC7-AA9EDC10F0FC}"/>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a16="http://schemas.microsoft.com/office/drawing/2014/main" id="{A71FAEBD-5FDA-46A7-A293-165E8E14BF57}"/>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C309BB0C-5C21-484E-B01D-1E429F5FEED6}"/>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3" name="Straight Connector 632">
                  <a:extLst>
                    <a:ext uri="{FF2B5EF4-FFF2-40B4-BE49-F238E27FC236}">
                      <a16:creationId xmlns:a16="http://schemas.microsoft.com/office/drawing/2014/main" id="{01E343FD-E705-4529-8E35-37FB6325C0B3}"/>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4" name="Straight Connector 633">
                  <a:extLst>
                    <a:ext uri="{FF2B5EF4-FFF2-40B4-BE49-F238E27FC236}">
                      <a16:creationId xmlns:a16="http://schemas.microsoft.com/office/drawing/2014/main" id="{00158BFA-A550-4391-B882-75B3E6086838}"/>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5" name="Straight Connector 634">
                  <a:extLst>
                    <a:ext uri="{FF2B5EF4-FFF2-40B4-BE49-F238E27FC236}">
                      <a16:creationId xmlns:a16="http://schemas.microsoft.com/office/drawing/2014/main" id="{6E99187B-9660-4A6E-9911-9DB0D044787E}"/>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6" name="Straight Connector 635">
                  <a:extLst>
                    <a:ext uri="{FF2B5EF4-FFF2-40B4-BE49-F238E27FC236}">
                      <a16:creationId xmlns:a16="http://schemas.microsoft.com/office/drawing/2014/main" id="{75DE752E-E394-450D-A64E-1FB545AFE67B}"/>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7" name="Straight Connector 636">
                  <a:extLst>
                    <a:ext uri="{FF2B5EF4-FFF2-40B4-BE49-F238E27FC236}">
                      <a16:creationId xmlns:a16="http://schemas.microsoft.com/office/drawing/2014/main" id="{2DE5DC03-5FDD-477E-9951-B982E5A31E34}"/>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2AD5C528-2270-43F2-A31C-3EF88A23F613}"/>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068BB1A4-6B0F-4EA5-8D4D-DBACE7F1E8EB}"/>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9E513BA5-B086-4106-B1A5-9C22C1B046BB}"/>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1" name="Straight Connector 640">
                  <a:extLst>
                    <a:ext uri="{FF2B5EF4-FFF2-40B4-BE49-F238E27FC236}">
                      <a16:creationId xmlns:a16="http://schemas.microsoft.com/office/drawing/2014/main" id="{F4EEE941-1771-4B6C-815F-85FA2009A3B1}"/>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72B8A15C-C451-474A-85B0-EA162FA17DFA}"/>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2DF90643-E354-43B9-8365-0B98ABFE0A03}"/>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9856F6F6-49D0-42F7-AD46-D602359F15DE}"/>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98" name="Group 597">
                <a:extLst>
                  <a:ext uri="{FF2B5EF4-FFF2-40B4-BE49-F238E27FC236}">
                    <a16:creationId xmlns:a16="http://schemas.microsoft.com/office/drawing/2014/main" id="{6A9A7699-0301-4A91-BD64-64E41551255C}"/>
                  </a:ext>
                </a:extLst>
              </p:cNvPr>
              <p:cNvGrpSpPr>
                <a:grpSpLocks noChangeAspect="1"/>
              </p:cNvGrpSpPr>
              <p:nvPr/>
            </p:nvGrpSpPr>
            <p:grpSpPr>
              <a:xfrm rot="3753414">
                <a:off x="3741233" y="1904818"/>
                <a:ext cx="903540" cy="160089"/>
                <a:chOff x="3239476" y="2239474"/>
                <a:chExt cx="3832058" cy="972000"/>
              </a:xfrm>
            </p:grpSpPr>
            <p:cxnSp>
              <p:nvCxnSpPr>
                <p:cNvPr id="615" name="Straight Connector 614">
                  <a:extLst>
                    <a:ext uri="{FF2B5EF4-FFF2-40B4-BE49-F238E27FC236}">
                      <a16:creationId xmlns:a16="http://schemas.microsoft.com/office/drawing/2014/main" id="{AE3C94A4-3374-4E50-9BDA-A793B6E389EB}"/>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37D1301F-A365-4E71-8038-ABE38D54ECEC}"/>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3F687026-6495-4742-9995-E3E55A051BD7}"/>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6D38D431-746F-46BE-9DE5-9D16AF4DE60A}"/>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DB77C638-1A32-4972-88F4-8FC940B53E52}"/>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75345126-7DCC-4277-A386-63C17EFB08E9}"/>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1" name="Straight Connector 620">
                  <a:extLst>
                    <a:ext uri="{FF2B5EF4-FFF2-40B4-BE49-F238E27FC236}">
                      <a16:creationId xmlns:a16="http://schemas.microsoft.com/office/drawing/2014/main" id="{BA92B6E0-3805-4D69-929C-67A19B859D5C}"/>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2" name="Straight Connector 621">
                  <a:extLst>
                    <a:ext uri="{FF2B5EF4-FFF2-40B4-BE49-F238E27FC236}">
                      <a16:creationId xmlns:a16="http://schemas.microsoft.com/office/drawing/2014/main" id="{30772127-B1BC-48FC-A6CE-98750BA99443}"/>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23" name="Straight Connector 622">
                  <a:extLst>
                    <a:ext uri="{FF2B5EF4-FFF2-40B4-BE49-F238E27FC236}">
                      <a16:creationId xmlns:a16="http://schemas.microsoft.com/office/drawing/2014/main" id="{E1601BD2-6E36-4776-90B1-EB450C6DAC90}"/>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4" name="Straight Connector 623">
                  <a:extLst>
                    <a:ext uri="{FF2B5EF4-FFF2-40B4-BE49-F238E27FC236}">
                      <a16:creationId xmlns:a16="http://schemas.microsoft.com/office/drawing/2014/main" id="{9374C867-592D-4B5C-B1C0-5FB7AD223A99}"/>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5" name="Straight Connector 624">
                  <a:extLst>
                    <a:ext uri="{FF2B5EF4-FFF2-40B4-BE49-F238E27FC236}">
                      <a16:creationId xmlns:a16="http://schemas.microsoft.com/office/drawing/2014/main" id="{4CF4046B-4076-4BA0-A682-D7BA3AF9A35C}"/>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6" name="Straight Connector 625">
                  <a:extLst>
                    <a:ext uri="{FF2B5EF4-FFF2-40B4-BE49-F238E27FC236}">
                      <a16:creationId xmlns:a16="http://schemas.microsoft.com/office/drawing/2014/main" id="{7E9476A8-2FA6-45D5-B768-4AF397457CD2}"/>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7" name="Straight Connector 626">
                  <a:extLst>
                    <a:ext uri="{FF2B5EF4-FFF2-40B4-BE49-F238E27FC236}">
                      <a16:creationId xmlns:a16="http://schemas.microsoft.com/office/drawing/2014/main" id="{345417C1-20DD-44E2-88AF-D14640B1CD36}"/>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8" name="Straight Connector 627">
                  <a:extLst>
                    <a:ext uri="{FF2B5EF4-FFF2-40B4-BE49-F238E27FC236}">
                      <a16:creationId xmlns:a16="http://schemas.microsoft.com/office/drawing/2014/main" id="{980FEBF3-AFE5-463B-8D94-E718CF2B5B0D}"/>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9" name="Straight Connector 628">
                  <a:extLst>
                    <a:ext uri="{FF2B5EF4-FFF2-40B4-BE49-F238E27FC236}">
                      <a16:creationId xmlns:a16="http://schemas.microsoft.com/office/drawing/2014/main" id="{26D22B55-A31C-4E9F-879A-E0FB736F7D16}"/>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99" name="Group 598">
                <a:extLst>
                  <a:ext uri="{FF2B5EF4-FFF2-40B4-BE49-F238E27FC236}">
                    <a16:creationId xmlns:a16="http://schemas.microsoft.com/office/drawing/2014/main" id="{1296E6E7-DB5C-4FA3-8FF8-BA2F08E4BFEE}"/>
                  </a:ext>
                </a:extLst>
              </p:cNvPr>
              <p:cNvGrpSpPr>
                <a:grpSpLocks noChangeAspect="1"/>
              </p:cNvGrpSpPr>
              <p:nvPr/>
            </p:nvGrpSpPr>
            <p:grpSpPr>
              <a:xfrm rot="3170398">
                <a:off x="3939553" y="1782774"/>
                <a:ext cx="903540" cy="160089"/>
                <a:chOff x="3239476" y="2239474"/>
                <a:chExt cx="3832058" cy="972000"/>
              </a:xfrm>
            </p:grpSpPr>
            <p:cxnSp>
              <p:nvCxnSpPr>
                <p:cNvPr id="600" name="Straight Connector 599">
                  <a:extLst>
                    <a:ext uri="{FF2B5EF4-FFF2-40B4-BE49-F238E27FC236}">
                      <a16:creationId xmlns:a16="http://schemas.microsoft.com/office/drawing/2014/main" id="{05927B90-900B-4C09-8CF6-5FE3BD1C2FE3}"/>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1" name="Straight Connector 600">
                  <a:extLst>
                    <a:ext uri="{FF2B5EF4-FFF2-40B4-BE49-F238E27FC236}">
                      <a16:creationId xmlns:a16="http://schemas.microsoft.com/office/drawing/2014/main" id="{588C37E9-ED42-41CD-97F1-499C6C1149CE}"/>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2" name="Straight Connector 601">
                  <a:extLst>
                    <a:ext uri="{FF2B5EF4-FFF2-40B4-BE49-F238E27FC236}">
                      <a16:creationId xmlns:a16="http://schemas.microsoft.com/office/drawing/2014/main" id="{08576670-D726-477C-999D-3D0603096C85}"/>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3" name="Straight Connector 602">
                  <a:extLst>
                    <a:ext uri="{FF2B5EF4-FFF2-40B4-BE49-F238E27FC236}">
                      <a16:creationId xmlns:a16="http://schemas.microsoft.com/office/drawing/2014/main" id="{85A2BACC-6399-4621-A3D3-DF409365E16F}"/>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4" name="Straight Connector 603">
                  <a:extLst>
                    <a:ext uri="{FF2B5EF4-FFF2-40B4-BE49-F238E27FC236}">
                      <a16:creationId xmlns:a16="http://schemas.microsoft.com/office/drawing/2014/main" id="{B3181093-69E4-4DDA-B5E6-39D8FC464228}"/>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5" name="Straight Connector 604">
                  <a:extLst>
                    <a:ext uri="{FF2B5EF4-FFF2-40B4-BE49-F238E27FC236}">
                      <a16:creationId xmlns:a16="http://schemas.microsoft.com/office/drawing/2014/main" id="{6BEC2CC3-219E-4521-96A1-66CD939634D7}"/>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6" name="Straight Connector 605">
                  <a:extLst>
                    <a:ext uri="{FF2B5EF4-FFF2-40B4-BE49-F238E27FC236}">
                      <a16:creationId xmlns:a16="http://schemas.microsoft.com/office/drawing/2014/main" id="{6B7E8644-C76A-4C9D-9E05-624EA4C99139}"/>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795D73E3-EB9C-4BD4-AD68-9B68FB5BA7A0}"/>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25EC6F17-8B43-4096-A88D-52B6E72E9FBF}"/>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809BDD8A-2699-4975-AEE4-DC9F2C1856FC}"/>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3656C6C3-374A-4271-A374-F182FD6CD8CE}"/>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D667A459-B539-4C69-A5F0-A350252EFBF7}"/>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AAAA820E-3720-4D20-BA88-936C291F7167}"/>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52848CBA-8ACD-4F49-B988-738819D69806}"/>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45952591-2FC0-4FCB-A247-8CF7FAC0FE00}"/>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grpSp>
          <p:nvGrpSpPr>
            <p:cNvPr id="361" name="Group 360">
              <a:extLst>
                <a:ext uri="{FF2B5EF4-FFF2-40B4-BE49-F238E27FC236}">
                  <a16:creationId xmlns:a16="http://schemas.microsoft.com/office/drawing/2014/main" id="{B1A0C26D-D55F-43AC-8347-3010005E3D6D}"/>
                </a:ext>
              </a:extLst>
            </p:cNvPr>
            <p:cNvGrpSpPr/>
            <p:nvPr/>
          </p:nvGrpSpPr>
          <p:grpSpPr>
            <a:xfrm>
              <a:off x="6853856" y="1905360"/>
              <a:ext cx="1370600" cy="912674"/>
              <a:chOff x="6721768" y="2210709"/>
              <a:chExt cx="1643706" cy="1094533"/>
            </a:xfrm>
          </p:grpSpPr>
          <p:sp>
            <p:nvSpPr>
              <p:cNvPr id="450" name="Freeform: Shape 677">
                <a:extLst>
                  <a:ext uri="{FF2B5EF4-FFF2-40B4-BE49-F238E27FC236}">
                    <a16:creationId xmlns:a16="http://schemas.microsoft.com/office/drawing/2014/main" id="{85F43E0E-5BCB-4F55-94A9-50897ABB6A4E}"/>
                  </a:ext>
                </a:extLst>
              </p:cNvPr>
              <p:cNvSpPr/>
              <p:nvPr/>
            </p:nvSpPr>
            <p:spPr>
              <a:xfrm>
                <a:off x="6721768" y="2210709"/>
                <a:ext cx="1643706" cy="1094533"/>
              </a:xfrm>
              <a:custGeom>
                <a:avLst/>
                <a:gdLst>
                  <a:gd name="connsiteX0" fmla="*/ 1270729 w 2482097"/>
                  <a:gd name="connsiteY0" fmla="*/ 0 h 1751853"/>
                  <a:gd name="connsiteX1" fmla="*/ 2002964 w 2482097"/>
                  <a:gd name="connsiteY1" fmla="*/ 732235 h 1751853"/>
                  <a:gd name="connsiteX2" fmla="*/ 1988088 w 2482097"/>
                  <a:gd name="connsiteY2" fmla="*/ 879806 h 1751853"/>
                  <a:gd name="connsiteX3" fmla="*/ 1982301 w 2482097"/>
                  <a:gd name="connsiteY3" fmla="*/ 898448 h 1751853"/>
                  <a:gd name="connsiteX4" fmla="*/ 2051887 w 2482097"/>
                  <a:gd name="connsiteY4" fmla="*/ 891433 h 1751853"/>
                  <a:gd name="connsiteX5" fmla="*/ 2482097 w 2482097"/>
                  <a:gd name="connsiteY5" fmla="*/ 1321643 h 1751853"/>
                  <a:gd name="connsiteX6" fmla="*/ 2051887 w 2482097"/>
                  <a:gd name="connsiteY6" fmla="*/ 1751853 h 1751853"/>
                  <a:gd name="connsiteX7" fmla="*/ 2040506 w 2482097"/>
                  <a:gd name="connsiteY7" fmla="*/ 1750706 h 1751853"/>
                  <a:gd name="connsiteX8" fmla="*/ 2029145 w 2482097"/>
                  <a:gd name="connsiteY8" fmla="*/ 1751851 h 1751853"/>
                  <a:gd name="connsiteX9" fmla="*/ 558589 w 2482097"/>
                  <a:gd name="connsiteY9" fmla="*/ 1751851 h 1751853"/>
                  <a:gd name="connsiteX10" fmla="*/ 558569 w 2482097"/>
                  <a:gd name="connsiteY10" fmla="*/ 1751853 h 1751853"/>
                  <a:gd name="connsiteX11" fmla="*/ 558549 w 2482097"/>
                  <a:gd name="connsiteY11" fmla="*/ 1751851 h 1751853"/>
                  <a:gd name="connsiteX12" fmla="*/ 513101 w 2482097"/>
                  <a:gd name="connsiteY12" fmla="*/ 1751851 h 1751853"/>
                  <a:gd name="connsiteX13" fmla="*/ 475642 w 2482097"/>
                  <a:gd name="connsiteY13" fmla="*/ 1748075 h 1751853"/>
                  <a:gd name="connsiteX14" fmla="*/ 453785 w 2482097"/>
                  <a:gd name="connsiteY14" fmla="*/ 1741290 h 1751853"/>
                  <a:gd name="connsiteX15" fmla="*/ 445998 w 2482097"/>
                  <a:gd name="connsiteY15" fmla="*/ 1740505 h 1751853"/>
                  <a:gd name="connsiteX16" fmla="*/ 0 w 2482097"/>
                  <a:gd name="connsiteY16" fmla="*/ 1193284 h 1751853"/>
                  <a:gd name="connsiteX17" fmla="*/ 445998 w 2482097"/>
                  <a:gd name="connsiteY17" fmla="*/ 646063 h 1751853"/>
                  <a:gd name="connsiteX18" fmla="*/ 548220 w 2482097"/>
                  <a:gd name="connsiteY18" fmla="*/ 635758 h 1751853"/>
                  <a:gd name="connsiteX19" fmla="*/ 553371 w 2482097"/>
                  <a:gd name="connsiteY19" fmla="*/ 584664 h 1751853"/>
                  <a:gd name="connsiteX20" fmla="*/ 1270729 w 2482097"/>
                  <a:gd name="connsiteY20" fmla="*/ 0 h 175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82097" h="1751853">
                    <a:moveTo>
                      <a:pt x="1270729" y="0"/>
                    </a:moveTo>
                    <a:cubicBezTo>
                      <a:pt x="1675131" y="0"/>
                      <a:pt x="2002964" y="327833"/>
                      <a:pt x="2002964" y="732235"/>
                    </a:cubicBezTo>
                    <a:cubicBezTo>
                      <a:pt x="2002964" y="782785"/>
                      <a:pt x="1997842" y="832139"/>
                      <a:pt x="1988088" y="879806"/>
                    </a:cubicBezTo>
                    <a:lnTo>
                      <a:pt x="1982301" y="898448"/>
                    </a:lnTo>
                    <a:lnTo>
                      <a:pt x="2051887" y="891433"/>
                    </a:lnTo>
                    <a:cubicBezTo>
                      <a:pt x="2289485" y="891433"/>
                      <a:pt x="2482097" y="1084045"/>
                      <a:pt x="2482097" y="1321643"/>
                    </a:cubicBezTo>
                    <a:cubicBezTo>
                      <a:pt x="2482097" y="1559241"/>
                      <a:pt x="2289485" y="1751853"/>
                      <a:pt x="2051887" y="1751853"/>
                    </a:cubicBezTo>
                    <a:lnTo>
                      <a:pt x="2040506" y="1750706"/>
                    </a:lnTo>
                    <a:lnTo>
                      <a:pt x="2029145" y="1751851"/>
                    </a:lnTo>
                    <a:lnTo>
                      <a:pt x="558589" y="1751851"/>
                    </a:lnTo>
                    <a:lnTo>
                      <a:pt x="558569" y="1751853"/>
                    </a:lnTo>
                    <a:lnTo>
                      <a:pt x="558549" y="1751851"/>
                    </a:lnTo>
                    <a:lnTo>
                      <a:pt x="513101" y="1751851"/>
                    </a:lnTo>
                    <a:cubicBezTo>
                      <a:pt x="500270" y="1751851"/>
                      <a:pt x="487742" y="1750551"/>
                      <a:pt x="475642" y="1748075"/>
                    </a:cubicBezTo>
                    <a:lnTo>
                      <a:pt x="453785" y="1741290"/>
                    </a:lnTo>
                    <a:lnTo>
                      <a:pt x="445998" y="1740505"/>
                    </a:lnTo>
                    <a:cubicBezTo>
                      <a:pt x="191467" y="1688420"/>
                      <a:pt x="0" y="1463212"/>
                      <a:pt x="0" y="1193284"/>
                    </a:cubicBezTo>
                    <a:cubicBezTo>
                      <a:pt x="0" y="923356"/>
                      <a:pt x="191467" y="698148"/>
                      <a:pt x="445998" y="646063"/>
                    </a:cubicBezTo>
                    <a:lnTo>
                      <a:pt x="548220" y="635758"/>
                    </a:lnTo>
                    <a:lnTo>
                      <a:pt x="553371" y="584664"/>
                    </a:lnTo>
                    <a:cubicBezTo>
                      <a:pt x="621649" y="250997"/>
                      <a:pt x="916878" y="0"/>
                      <a:pt x="1270729" y="0"/>
                    </a:cubicBezTo>
                    <a:close/>
                  </a:path>
                </a:pathLst>
              </a:custGeom>
              <a:solidFill>
                <a:schemeClr val="tx1">
                  <a:lumMod val="20000"/>
                  <a:lumOff val="80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nvGrpSpPr>
              <p:cNvPr id="452" name="Graphic 259">
                <a:extLst>
                  <a:ext uri="{FF2B5EF4-FFF2-40B4-BE49-F238E27FC236}">
                    <a16:creationId xmlns:a16="http://schemas.microsoft.com/office/drawing/2014/main" id="{06E7E053-97D7-4C52-A35C-936341A82508}"/>
                  </a:ext>
                </a:extLst>
              </p:cNvPr>
              <p:cNvGrpSpPr>
                <a:grpSpLocks noChangeAspect="1"/>
              </p:cNvGrpSpPr>
              <p:nvPr/>
            </p:nvGrpSpPr>
            <p:grpSpPr>
              <a:xfrm>
                <a:off x="7174155" y="2568111"/>
                <a:ext cx="681892" cy="626018"/>
                <a:chOff x="7784278" y="3666595"/>
                <a:chExt cx="329029" cy="326999"/>
              </a:xfrm>
              <a:solidFill>
                <a:schemeClr val="bg1">
                  <a:alpha val="99000"/>
                </a:schemeClr>
              </a:solidFill>
            </p:grpSpPr>
            <p:sp>
              <p:nvSpPr>
                <p:cNvPr id="458" name="Freeform 1389">
                  <a:extLst>
                    <a:ext uri="{FF2B5EF4-FFF2-40B4-BE49-F238E27FC236}">
                      <a16:creationId xmlns:a16="http://schemas.microsoft.com/office/drawing/2014/main" id="{6D402674-243F-449A-8126-85DAEBCFE233}"/>
                    </a:ext>
                  </a:extLst>
                </p:cNvPr>
                <p:cNvSpPr/>
                <p:nvPr/>
              </p:nvSpPr>
              <p:spPr>
                <a:xfrm>
                  <a:off x="7989000" y="3779739"/>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1"/>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59" name="Freeform 1390">
                  <a:extLst>
                    <a:ext uri="{FF2B5EF4-FFF2-40B4-BE49-F238E27FC236}">
                      <a16:creationId xmlns:a16="http://schemas.microsoft.com/office/drawing/2014/main" id="{00599F8D-D9E6-4965-8988-ED22C742F118}"/>
                    </a:ext>
                  </a:extLst>
                </p:cNvPr>
                <p:cNvSpPr/>
                <p:nvPr/>
              </p:nvSpPr>
              <p:spPr>
                <a:xfrm>
                  <a:off x="7909580" y="3816531"/>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2"/>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66" name="Freeform 1391">
                  <a:extLst>
                    <a:ext uri="{FF2B5EF4-FFF2-40B4-BE49-F238E27FC236}">
                      <a16:creationId xmlns:a16="http://schemas.microsoft.com/office/drawing/2014/main" id="{71665E3C-133B-4C46-B3A5-27CD0A1B36D4}"/>
                    </a:ext>
                  </a:extLst>
                </p:cNvPr>
                <p:cNvSpPr/>
                <p:nvPr/>
              </p:nvSpPr>
              <p:spPr>
                <a:xfrm>
                  <a:off x="7906389" y="3737457"/>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2"/>
                        <a:pt x="12722" y="16764"/>
                        <a:pt x="8196" y="16764"/>
                      </a:cubicBezTo>
                      <a:cubicBezTo>
                        <a:pt x="3669" y="16764"/>
                        <a:pt x="0" y="13012"/>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67" name="Freeform 1392">
                  <a:extLst>
                    <a:ext uri="{FF2B5EF4-FFF2-40B4-BE49-F238E27FC236}">
                      <a16:creationId xmlns:a16="http://schemas.microsoft.com/office/drawing/2014/main" id="{CF491439-9CEE-4368-988D-99B6F61E3FDA}"/>
                    </a:ext>
                  </a:extLst>
                </p:cNvPr>
                <p:cNvSpPr/>
                <p:nvPr/>
              </p:nvSpPr>
              <p:spPr>
                <a:xfrm>
                  <a:off x="7865627" y="3778626"/>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2"/>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68" name="Freeform 1393">
                  <a:extLst>
                    <a:ext uri="{FF2B5EF4-FFF2-40B4-BE49-F238E27FC236}">
                      <a16:creationId xmlns:a16="http://schemas.microsoft.com/office/drawing/2014/main" id="{792725C5-941F-45E6-A95C-23B2BE63C62F}"/>
                    </a:ext>
                  </a:extLst>
                </p:cNvPr>
                <p:cNvSpPr/>
                <p:nvPr/>
              </p:nvSpPr>
              <p:spPr>
                <a:xfrm>
                  <a:off x="7808473" y="3784041"/>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1"/>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69" name="Freeform 1394">
                  <a:extLst>
                    <a:ext uri="{FF2B5EF4-FFF2-40B4-BE49-F238E27FC236}">
                      <a16:creationId xmlns:a16="http://schemas.microsoft.com/office/drawing/2014/main" id="{54EC40E6-46AB-41BD-B0F6-8ECA39EB9B2C}"/>
                    </a:ext>
                  </a:extLst>
                </p:cNvPr>
                <p:cNvSpPr/>
                <p:nvPr/>
              </p:nvSpPr>
              <p:spPr>
                <a:xfrm>
                  <a:off x="7942944" y="3700145"/>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1"/>
                        <a:pt x="12722" y="16764"/>
                        <a:pt x="8196" y="16764"/>
                      </a:cubicBezTo>
                      <a:cubicBezTo>
                        <a:pt x="3669" y="16764"/>
                        <a:pt x="0" y="13012"/>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86" name="Freeform 1395">
                  <a:extLst>
                    <a:ext uri="{FF2B5EF4-FFF2-40B4-BE49-F238E27FC236}">
                      <a16:creationId xmlns:a16="http://schemas.microsoft.com/office/drawing/2014/main" id="{DF690834-416A-4346-AA4A-EDDFA9883346}"/>
                    </a:ext>
                  </a:extLst>
                </p:cNvPr>
                <p:cNvSpPr/>
                <p:nvPr/>
              </p:nvSpPr>
              <p:spPr>
                <a:xfrm>
                  <a:off x="7997994" y="3717429"/>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2"/>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94" name="Freeform 1396">
                  <a:extLst>
                    <a:ext uri="{FF2B5EF4-FFF2-40B4-BE49-F238E27FC236}">
                      <a16:creationId xmlns:a16="http://schemas.microsoft.com/office/drawing/2014/main" id="{5EEBFEED-C74E-4C63-B516-87FB7CB310A7}"/>
                    </a:ext>
                  </a:extLst>
                </p:cNvPr>
                <p:cNvSpPr/>
                <p:nvPr/>
              </p:nvSpPr>
              <p:spPr>
                <a:xfrm>
                  <a:off x="8043035" y="3762381"/>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1"/>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00" name="Freeform 1397">
                  <a:extLst>
                    <a:ext uri="{FF2B5EF4-FFF2-40B4-BE49-F238E27FC236}">
                      <a16:creationId xmlns:a16="http://schemas.microsoft.com/office/drawing/2014/main" id="{2D53753E-1C3F-4DCF-97AD-ABF985B6EEB5}"/>
                    </a:ext>
                  </a:extLst>
                </p:cNvPr>
                <p:cNvSpPr/>
                <p:nvPr/>
              </p:nvSpPr>
              <p:spPr>
                <a:xfrm>
                  <a:off x="8049345" y="3807926"/>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2"/>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03" name="Freeform 1398">
                  <a:extLst>
                    <a:ext uri="{FF2B5EF4-FFF2-40B4-BE49-F238E27FC236}">
                      <a16:creationId xmlns:a16="http://schemas.microsoft.com/office/drawing/2014/main" id="{B0DEB6E3-F018-4737-AAD7-E914FBCC09B4}"/>
                    </a:ext>
                  </a:extLst>
                </p:cNvPr>
                <p:cNvSpPr/>
                <p:nvPr/>
              </p:nvSpPr>
              <p:spPr>
                <a:xfrm>
                  <a:off x="8008583" y="3845238"/>
                  <a:ext cx="16391" cy="16764"/>
                </a:xfrm>
                <a:custGeom>
                  <a:avLst/>
                  <a:gdLst>
                    <a:gd name="connsiteX0" fmla="*/ 16392 w 16391"/>
                    <a:gd name="connsiteY0" fmla="*/ 8382 h 16764"/>
                    <a:gd name="connsiteX1" fmla="*/ 8196 w 16391"/>
                    <a:gd name="connsiteY1" fmla="*/ 16764 h 16764"/>
                    <a:gd name="connsiteX2" fmla="*/ 0 w 16391"/>
                    <a:gd name="connsiteY2" fmla="*/ 8382 h 16764"/>
                    <a:gd name="connsiteX3" fmla="*/ 8196 w 16391"/>
                    <a:gd name="connsiteY3" fmla="*/ 0 h 16764"/>
                    <a:gd name="connsiteX4" fmla="*/ 16392 w 16391"/>
                    <a:gd name="connsiteY4" fmla="*/ 8382 h 16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91" h="16764">
                      <a:moveTo>
                        <a:pt x="16392" y="8382"/>
                      </a:moveTo>
                      <a:cubicBezTo>
                        <a:pt x="16392" y="13011"/>
                        <a:pt x="12722" y="16764"/>
                        <a:pt x="8196" y="16764"/>
                      </a:cubicBezTo>
                      <a:cubicBezTo>
                        <a:pt x="3669" y="16764"/>
                        <a:pt x="0" y="13011"/>
                        <a:pt x="0" y="8382"/>
                      </a:cubicBezTo>
                      <a:cubicBezTo>
                        <a:pt x="0" y="3753"/>
                        <a:pt x="3669" y="0"/>
                        <a:pt x="8196" y="0"/>
                      </a:cubicBezTo>
                      <a:cubicBezTo>
                        <a:pt x="12722" y="0"/>
                        <a:pt x="16392" y="3753"/>
                        <a:pt x="16392" y="8382"/>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04" name="Freeform 1399">
                  <a:extLst>
                    <a:ext uri="{FF2B5EF4-FFF2-40B4-BE49-F238E27FC236}">
                      <a16:creationId xmlns:a16="http://schemas.microsoft.com/office/drawing/2014/main" id="{044B34D9-8911-49E7-BFBC-A7346F0A5729}"/>
                    </a:ext>
                  </a:extLst>
                </p:cNvPr>
                <p:cNvSpPr/>
                <p:nvPr/>
              </p:nvSpPr>
              <p:spPr>
                <a:xfrm>
                  <a:off x="7784278" y="3666595"/>
                  <a:ext cx="329029" cy="326999"/>
                </a:xfrm>
                <a:custGeom>
                  <a:avLst/>
                  <a:gdLst>
                    <a:gd name="connsiteX0" fmla="*/ 235113 w 329029"/>
                    <a:gd name="connsiteY0" fmla="*/ 327000 h 326999"/>
                    <a:gd name="connsiteX1" fmla="*/ 227860 w 329029"/>
                    <a:gd name="connsiteY1" fmla="*/ 326555 h 326999"/>
                    <a:gd name="connsiteX2" fmla="*/ 212846 w 329029"/>
                    <a:gd name="connsiteY2" fmla="*/ 245404 h 326999"/>
                    <a:gd name="connsiteX3" fmla="*/ 199355 w 329029"/>
                    <a:gd name="connsiteY3" fmla="*/ 229455 h 326999"/>
                    <a:gd name="connsiteX4" fmla="*/ 178394 w 329029"/>
                    <a:gd name="connsiteY4" fmla="*/ 212691 h 326999"/>
                    <a:gd name="connsiteX5" fmla="*/ 108838 w 329029"/>
                    <a:gd name="connsiteY5" fmla="*/ 216845 h 326999"/>
                    <a:gd name="connsiteX6" fmla="*/ 87079 w 329029"/>
                    <a:gd name="connsiteY6" fmla="*/ 185838 h 326999"/>
                    <a:gd name="connsiteX7" fmla="*/ 10414 w 329029"/>
                    <a:gd name="connsiteY7" fmla="*/ 173241 h 326999"/>
                    <a:gd name="connsiteX8" fmla="*/ 9254 w 329029"/>
                    <a:gd name="connsiteY8" fmla="*/ 109138 h 326999"/>
                    <a:gd name="connsiteX9" fmla="*/ 31013 w 329029"/>
                    <a:gd name="connsiteY9" fmla="*/ 69082 h 326999"/>
                    <a:gd name="connsiteX10" fmla="*/ 63434 w 329029"/>
                    <a:gd name="connsiteY10" fmla="*/ 33921 h 326999"/>
                    <a:gd name="connsiteX11" fmla="*/ 100569 w 329029"/>
                    <a:gd name="connsiteY11" fmla="*/ 15302 h 326999"/>
                    <a:gd name="connsiteX12" fmla="*/ 139953 w 329029"/>
                    <a:gd name="connsiteY12" fmla="*/ 6178 h 326999"/>
                    <a:gd name="connsiteX13" fmla="*/ 158158 w 329029"/>
                    <a:gd name="connsiteY13" fmla="*/ 21 h 326999"/>
                    <a:gd name="connsiteX14" fmla="*/ 169691 w 329029"/>
                    <a:gd name="connsiteY14" fmla="*/ 2321 h 326999"/>
                    <a:gd name="connsiteX15" fmla="*/ 182311 w 329029"/>
                    <a:gd name="connsiteY15" fmla="*/ 21 h 326999"/>
                    <a:gd name="connsiteX16" fmla="*/ 197179 w 329029"/>
                    <a:gd name="connsiteY16" fmla="*/ 3656 h 326999"/>
                    <a:gd name="connsiteX17" fmla="*/ 203780 w 329029"/>
                    <a:gd name="connsiteY17" fmla="*/ 2098 h 326999"/>
                    <a:gd name="connsiteX18" fmla="*/ 213789 w 329029"/>
                    <a:gd name="connsiteY18" fmla="*/ 6178 h 326999"/>
                    <a:gd name="connsiteX19" fmla="*/ 227062 w 329029"/>
                    <a:gd name="connsiteY19" fmla="*/ 10110 h 326999"/>
                    <a:gd name="connsiteX20" fmla="*/ 243308 w 329029"/>
                    <a:gd name="connsiteY20" fmla="*/ 17528 h 326999"/>
                    <a:gd name="connsiteX21" fmla="*/ 261006 w 329029"/>
                    <a:gd name="connsiteY21" fmla="*/ 32957 h 326999"/>
                    <a:gd name="connsiteX22" fmla="*/ 263109 w 329029"/>
                    <a:gd name="connsiteY22" fmla="*/ 32957 h 326999"/>
                    <a:gd name="connsiteX23" fmla="*/ 283563 w 329029"/>
                    <a:gd name="connsiteY23" fmla="*/ 50389 h 326999"/>
                    <a:gd name="connsiteX24" fmla="*/ 299157 w 329029"/>
                    <a:gd name="connsiteY24" fmla="*/ 71455 h 326999"/>
                    <a:gd name="connsiteX25" fmla="*/ 311559 w 329029"/>
                    <a:gd name="connsiteY25" fmla="*/ 94821 h 326999"/>
                    <a:gd name="connsiteX26" fmla="*/ 311559 w 329029"/>
                    <a:gd name="connsiteY26" fmla="*/ 96453 h 326999"/>
                    <a:gd name="connsiteX27" fmla="*/ 320263 w 329029"/>
                    <a:gd name="connsiteY27" fmla="*/ 111289 h 326999"/>
                    <a:gd name="connsiteX28" fmla="*/ 319683 w 329029"/>
                    <a:gd name="connsiteY28" fmla="*/ 115666 h 326999"/>
                    <a:gd name="connsiteX29" fmla="*/ 325920 w 329029"/>
                    <a:gd name="connsiteY29" fmla="*/ 134952 h 326999"/>
                    <a:gd name="connsiteX30" fmla="*/ 325920 w 329029"/>
                    <a:gd name="connsiteY30" fmla="*/ 135545 h 326999"/>
                    <a:gd name="connsiteX31" fmla="*/ 328604 w 329029"/>
                    <a:gd name="connsiteY31" fmla="*/ 142963 h 326999"/>
                    <a:gd name="connsiteX32" fmla="*/ 316274 w 329029"/>
                    <a:gd name="connsiteY32" fmla="*/ 167590 h 326999"/>
                    <a:gd name="connsiteX33" fmla="*/ 319175 w 329029"/>
                    <a:gd name="connsiteY33" fmla="*/ 173302 h 326999"/>
                    <a:gd name="connsiteX34" fmla="*/ 303581 w 329029"/>
                    <a:gd name="connsiteY34" fmla="*/ 218848 h 326999"/>
                    <a:gd name="connsiteX35" fmla="*/ 301985 w 329029"/>
                    <a:gd name="connsiteY35" fmla="*/ 219590 h 326999"/>
                    <a:gd name="connsiteX36" fmla="*/ 300462 w 329029"/>
                    <a:gd name="connsiteY36" fmla="*/ 227007 h 326999"/>
                    <a:gd name="connsiteX37" fmla="*/ 253753 w 329029"/>
                    <a:gd name="connsiteY37" fmla="*/ 252228 h 326999"/>
                    <a:gd name="connsiteX38" fmla="*/ 252882 w 329029"/>
                    <a:gd name="connsiteY38" fmla="*/ 252228 h 326999"/>
                    <a:gd name="connsiteX39" fmla="*/ 258177 w 329029"/>
                    <a:gd name="connsiteY39" fmla="*/ 322698 h 326999"/>
                    <a:gd name="connsiteX40" fmla="*/ 250924 w 329029"/>
                    <a:gd name="connsiteY40" fmla="*/ 324626 h 326999"/>
                    <a:gd name="connsiteX41" fmla="*/ 246427 w 329029"/>
                    <a:gd name="connsiteY41" fmla="*/ 246220 h 326999"/>
                    <a:gd name="connsiteX42" fmla="*/ 247370 w 329029"/>
                    <a:gd name="connsiteY42" fmla="*/ 241621 h 326999"/>
                    <a:gd name="connsiteX43" fmla="*/ 251504 w 329029"/>
                    <a:gd name="connsiteY43" fmla="*/ 243697 h 326999"/>
                    <a:gd name="connsiteX44" fmla="*/ 255711 w 329029"/>
                    <a:gd name="connsiteY44" fmla="*/ 245478 h 326999"/>
                    <a:gd name="connsiteX45" fmla="*/ 292992 w 329029"/>
                    <a:gd name="connsiteY45" fmla="*/ 224782 h 326999"/>
                    <a:gd name="connsiteX46" fmla="*/ 294370 w 329029"/>
                    <a:gd name="connsiteY46" fmla="*/ 216919 h 326999"/>
                    <a:gd name="connsiteX47" fmla="*/ 294370 w 329029"/>
                    <a:gd name="connsiteY47" fmla="*/ 214768 h 326999"/>
                    <a:gd name="connsiteX48" fmla="*/ 299954 w 329029"/>
                    <a:gd name="connsiteY48" fmla="*/ 212023 h 326999"/>
                    <a:gd name="connsiteX49" fmla="*/ 311849 w 329029"/>
                    <a:gd name="connsiteY49" fmla="*/ 176047 h 326999"/>
                    <a:gd name="connsiteX50" fmla="*/ 306990 w 329029"/>
                    <a:gd name="connsiteY50" fmla="*/ 168036 h 326999"/>
                    <a:gd name="connsiteX51" fmla="*/ 303001 w 329029"/>
                    <a:gd name="connsiteY51" fmla="*/ 163214 h 326999"/>
                    <a:gd name="connsiteX52" fmla="*/ 309238 w 329029"/>
                    <a:gd name="connsiteY52" fmla="*/ 162027 h 326999"/>
                    <a:gd name="connsiteX53" fmla="*/ 321168 w 329029"/>
                    <a:gd name="connsiteY53" fmla="*/ 144959 h 326999"/>
                    <a:gd name="connsiteX54" fmla="*/ 321061 w 329029"/>
                    <a:gd name="connsiteY54" fmla="*/ 144373 h 326999"/>
                    <a:gd name="connsiteX55" fmla="*/ 318450 w 329029"/>
                    <a:gd name="connsiteY55" fmla="*/ 138216 h 326999"/>
                    <a:gd name="connsiteX56" fmla="*/ 317724 w 329029"/>
                    <a:gd name="connsiteY56" fmla="*/ 137177 h 326999"/>
                    <a:gd name="connsiteX57" fmla="*/ 317724 w 329029"/>
                    <a:gd name="connsiteY57" fmla="*/ 135990 h 326999"/>
                    <a:gd name="connsiteX58" fmla="*/ 318667 w 329029"/>
                    <a:gd name="connsiteY58" fmla="*/ 132949 h 326999"/>
                    <a:gd name="connsiteX59" fmla="*/ 313300 w 329029"/>
                    <a:gd name="connsiteY59" fmla="*/ 120636 h 326999"/>
                    <a:gd name="connsiteX60" fmla="*/ 310036 w 329029"/>
                    <a:gd name="connsiteY60" fmla="*/ 118707 h 326999"/>
                    <a:gd name="connsiteX61" fmla="*/ 311704 w 329029"/>
                    <a:gd name="connsiteY61" fmla="*/ 115369 h 326999"/>
                    <a:gd name="connsiteX62" fmla="*/ 312720 w 329029"/>
                    <a:gd name="connsiteY62" fmla="*/ 111067 h 326999"/>
                    <a:gd name="connsiteX63" fmla="*/ 306265 w 329029"/>
                    <a:gd name="connsiteY63" fmla="*/ 102239 h 326999"/>
                    <a:gd name="connsiteX64" fmla="*/ 303146 w 329029"/>
                    <a:gd name="connsiteY64" fmla="*/ 101275 h 326999"/>
                    <a:gd name="connsiteX65" fmla="*/ 303726 w 329029"/>
                    <a:gd name="connsiteY65" fmla="*/ 98011 h 326999"/>
                    <a:gd name="connsiteX66" fmla="*/ 303726 w 329029"/>
                    <a:gd name="connsiteY66" fmla="*/ 94747 h 326999"/>
                    <a:gd name="connsiteX67" fmla="*/ 293282 w 329029"/>
                    <a:gd name="connsiteY67" fmla="*/ 76796 h 326999"/>
                    <a:gd name="connsiteX68" fmla="*/ 291468 w 329029"/>
                    <a:gd name="connsiteY68" fmla="*/ 75758 h 326999"/>
                    <a:gd name="connsiteX69" fmla="*/ 291468 w 329029"/>
                    <a:gd name="connsiteY69" fmla="*/ 73458 h 326999"/>
                    <a:gd name="connsiteX70" fmla="*/ 278776 w 329029"/>
                    <a:gd name="connsiteY70" fmla="*/ 56620 h 326999"/>
                    <a:gd name="connsiteX71" fmla="*/ 276310 w 329029"/>
                    <a:gd name="connsiteY71" fmla="*/ 55952 h 326999"/>
                    <a:gd name="connsiteX72" fmla="*/ 276310 w 329029"/>
                    <a:gd name="connsiteY72" fmla="*/ 53282 h 326999"/>
                    <a:gd name="connsiteX73" fmla="*/ 262747 w 329029"/>
                    <a:gd name="connsiteY73" fmla="*/ 40226 h 326999"/>
                    <a:gd name="connsiteX74" fmla="*/ 258685 w 329029"/>
                    <a:gd name="connsiteY74" fmla="*/ 40820 h 326999"/>
                    <a:gd name="connsiteX75" fmla="*/ 254406 w 329029"/>
                    <a:gd name="connsiteY75" fmla="*/ 42081 h 326999"/>
                    <a:gd name="connsiteX76" fmla="*/ 254406 w 329029"/>
                    <a:gd name="connsiteY76" fmla="*/ 37556 h 326999"/>
                    <a:gd name="connsiteX77" fmla="*/ 241713 w 329029"/>
                    <a:gd name="connsiteY77" fmla="*/ 24871 h 326999"/>
                    <a:gd name="connsiteX78" fmla="*/ 239972 w 329029"/>
                    <a:gd name="connsiteY78" fmla="*/ 24871 h 326999"/>
                    <a:gd name="connsiteX79" fmla="*/ 239247 w 329029"/>
                    <a:gd name="connsiteY79" fmla="*/ 23684 h 326999"/>
                    <a:gd name="connsiteX80" fmla="*/ 225611 w 329029"/>
                    <a:gd name="connsiteY80" fmla="*/ 17453 h 326999"/>
                    <a:gd name="connsiteX81" fmla="*/ 223943 w 329029"/>
                    <a:gd name="connsiteY81" fmla="*/ 17453 h 326999"/>
                    <a:gd name="connsiteX82" fmla="*/ 222855 w 329029"/>
                    <a:gd name="connsiteY82" fmla="*/ 16118 h 326999"/>
                    <a:gd name="connsiteX83" fmla="*/ 214151 w 329029"/>
                    <a:gd name="connsiteY83" fmla="*/ 13819 h 326999"/>
                    <a:gd name="connsiteX84" fmla="*/ 211323 w 329029"/>
                    <a:gd name="connsiteY84" fmla="*/ 14857 h 326999"/>
                    <a:gd name="connsiteX85" fmla="*/ 209655 w 329029"/>
                    <a:gd name="connsiteY85" fmla="*/ 12558 h 326999"/>
                    <a:gd name="connsiteX86" fmla="*/ 203707 w 329029"/>
                    <a:gd name="connsiteY86" fmla="*/ 9442 h 326999"/>
                    <a:gd name="connsiteX87" fmla="*/ 199283 w 329029"/>
                    <a:gd name="connsiteY87" fmla="*/ 10926 h 326999"/>
                    <a:gd name="connsiteX88" fmla="*/ 197397 w 329029"/>
                    <a:gd name="connsiteY88" fmla="*/ 12335 h 326999"/>
                    <a:gd name="connsiteX89" fmla="*/ 195729 w 329029"/>
                    <a:gd name="connsiteY89" fmla="*/ 11148 h 326999"/>
                    <a:gd name="connsiteX90" fmla="*/ 182093 w 329029"/>
                    <a:gd name="connsiteY90" fmla="*/ 7439 h 326999"/>
                    <a:gd name="connsiteX91" fmla="*/ 171286 w 329029"/>
                    <a:gd name="connsiteY91" fmla="*/ 9961 h 326999"/>
                    <a:gd name="connsiteX92" fmla="*/ 169763 w 329029"/>
                    <a:gd name="connsiteY92" fmla="*/ 10703 h 326999"/>
                    <a:gd name="connsiteX93" fmla="*/ 168240 w 329029"/>
                    <a:gd name="connsiteY93" fmla="*/ 10036 h 326999"/>
                    <a:gd name="connsiteX94" fmla="*/ 158158 w 329029"/>
                    <a:gd name="connsiteY94" fmla="*/ 7439 h 326999"/>
                    <a:gd name="connsiteX95" fmla="*/ 142999 w 329029"/>
                    <a:gd name="connsiteY95" fmla="*/ 12780 h 326999"/>
                    <a:gd name="connsiteX96" fmla="*/ 141694 w 329029"/>
                    <a:gd name="connsiteY96" fmla="*/ 13819 h 326999"/>
                    <a:gd name="connsiteX97" fmla="*/ 140026 w 329029"/>
                    <a:gd name="connsiteY97" fmla="*/ 13819 h 326999"/>
                    <a:gd name="connsiteX98" fmla="*/ 103761 w 329029"/>
                    <a:gd name="connsiteY98" fmla="*/ 21978 h 326999"/>
                    <a:gd name="connsiteX99" fmla="*/ 102890 w 329029"/>
                    <a:gd name="connsiteY99" fmla="*/ 22720 h 326999"/>
                    <a:gd name="connsiteX100" fmla="*/ 101730 w 329029"/>
                    <a:gd name="connsiteY100" fmla="*/ 22720 h 326999"/>
                    <a:gd name="connsiteX101" fmla="*/ 68366 w 329029"/>
                    <a:gd name="connsiteY101" fmla="*/ 39484 h 326999"/>
                    <a:gd name="connsiteX102" fmla="*/ 67713 w 329029"/>
                    <a:gd name="connsiteY102" fmla="*/ 40300 h 326999"/>
                    <a:gd name="connsiteX103" fmla="*/ 66770 w 329029"/>
                    <a:gd name="connsiteY103" fmla="*/ 40300 h 326999"/>
                    <a:gd name="connsiteX104" fmla="*/ 37758 w 329029"/>
                    <a:gd name="connsiteY104" fmla="*/ 72049 h 326999"/>
                    <a:gd name="connsiteX105" fmla="*/ 37396 w 329029"/>
                    <a:gd name="connsiteY105" fmla="*/ 73384 h 326999"/>
                    <a:gd name="connsiteX106" fmla="*/ 36163 w 329029"/>
                    <a:gd name="connsiteY106" fmla="*/ 74200 h 326999"/>
                    <a:gd name="connsiteX107" fmla="*/ 16435 w 329029"/>
                    <a:gd name="connsiteY107" fmla="*/ 110547 h 326999"/>
                    <a:gd name="connsiteX108" fmla="*/ 16435 w 329029"/>
                    <a:gd name="connsiteY108" fmla="*/ 111660 h 326999"/>
                    <a:gd name="connsiteX109" fmla="*/ 15782 w 329029"/>
                    <a:gd name="connsiteY109" fmla="*/ 112550 h 326999"/>
                    <a:gd name="connsiteX110" fmla="*/ 27881 w 329029"/>
                    <a:gd name="connsiteY110" fmla="*/ 180352 h 326999"/>
                    <a:gd name="connsiteX111" fmla="*/ 86934 w 329029"/>
                    <a:gd name="connsiteY111" fmla="*/ 176418 h 326999"/>
                    <a:gd name="connsiteX112" fmla="*/ 91793 w 329029"/>
                    <a:gd name="connsiteY112" fmla="*/ 171819 h 326999"/>
                    <a:gd name="connsiteX113" fmla="*/ 92954 w 329029"/>
                    <a:gd name="connsiteY113" fmla="*/ 178495 h 326999"/>
                    <a:gd name="connsiteX114" fmla="*/ 149382 w 329029"/>
                    <a:gd name="connsiteY114" fmla="*/ 219144 h 326999"/>
                    <a:gd name="connsiteX115" fmla="*/ 176363 w 329029"/>
                    <a:gd name="connsiteY115" fmla="*/ 204309 h 326999"/>
                    <a:gd name="connsiteX116" fmla="*/ 179700 w 329029"/>
                    <a:gd name="connsiteY116" fmla="*/ 200674 h 326999"/>
                    <a:gd name="connsiteX117" fmla="*/ 182166 w 329029"/>
                    <a:gd name="connsiteY117" fmla="*/ 204976 h 326999"/>
                    <a:gd name="connsiteX118" fmla="*/ 203344 w 329029"/>
                    <a:gd name="connsiteY118" fmla="*/ 223002 h 326999"/>
                    <a:gd name="connsiteX119" fmla="*/ 205013 w 329029"/>
                    <a:gd name="connsiteY119" fmla="*/ 223595 h 326999"/>
                    <a:gd name="connsiteX120" fmla="*/ 205593 w 329029"/>
                    <a:gd name="connsiteY120" fmla="*/ 225301 h 326999"/>
                    <a:gd name="connsiteX121" fmla="*/ 217488 w 329029"/>
                    <a:gd name="connsiteY121" fmla="*/ 239469 h 326999"/>
                    <a:gd name="connsiteX122" fmla="*/ 218576 w 329029"/>
                    <a:gd name="connsiteY122" fmla="*/ 240063 h 326999"/>
                    <a:gd name="connsiteX123" fmla="*/ 219083 w 329029"/>
                    <a:gd name="connsiteY123" fmla="*/ 241175 h 326999"/>
                    <a:gd name="connsiteX124" fmla="*/ 235113 w 329029"/>
                    <a:gd name="connsiteY124" fmla="*/ 327000 h 32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29029" h="326999">
                      <a:moveTo>
                        <a:pt x="235113" y="327000"/>
                      </a:moveTo>
                      <a:lnTo>
                        <a:pt x="227860" y="326555"/>
                      </a:lnTo>
                      <a:cubicBezTo>
                        <a:pt x="229349" y="298661"/>
                        <a:pt x="224198" y="270813"/>
                        <a:pt x="212846" y="245404"/>
                      </a:cubicBezTo>
                      <a:cubicBezTo>
                        <a:pt x="206726" y="241787"/>
                        <a:pt x="201974" y="236170"/>
                        <a:pt x="199355" y="229455"/>
                      </a:cubicBezTo>
                      <a:cubicBezTo>
                        <a:pt x="190951" y="226020"/>
                        <a:pt x="183680" y="220204"/>
                        <a:pt x="178394" y="212691"/>
                      </a:cubicBezTo>
                      <a:cubicBezTo>
                        <a:pt x="158977" y="230457"/>
                        <a:pt x="130145" y="232178"/>
                        <a:pt x="108838" y="216845"/>
                      </a:cubicBezTo>
                      <a:cubicBezTo>
                        <a:pt x="98307" y="209384"/>
                        <a:pt x="90620" y="198430"/>
                        <a:pt x="87079" y="185838"/>
                      </a:cubicBezTo>
                      <a:cubicBezTo>
                        <a:pt x="62507" y="204011"/>
                        <a:pt x="28183" y="198372"/>
                        <a:pt x="10414" y="173241"/>
                      </a:cubicBezTo>
                      <a:cubicBezTo>
                        <a:pt x="-3034" y="154221"/>
                        <a:pt x="-3497" y="128653"/>
                        <a:pt x="9254" y="109138"/>
                      </a:cubicBezTo>
                      <a:cubicBezTo>
                        <a:pt x="10344" y="93147"/>
                        <a:pt x="18314" y="78475"/>
                        <a:pt x="31013" y="69082"/>
                      </a:cubicBezTo>
                      <a:cubicBezTo>
                        <a:pt x="35833" y="52812"/>
                        <a:pt x="47835" y="39795"/>
                        <a:pt x="63434" y="33921"/>
                      </a:cubicBezTo>
                      <a:cubicBezTo>
                        <a:pt x="72801" y="22781"/>
                        <a:pt x="86222" y="16052"/>
                        <a:pt x="100569" y="15302"/>
                      </a:cubicBezTo>
                      <a:cubicBezTo>
                        <a:pt x="111963" y="6967"/>
                        <a:pt x="126159" y="3678"/>
                        <a:pt x="139953" y="6178"/>
                      </a:cubicBezTo>
                      <a:cubicBezTo>
                        <a:pt x="145265" y="2275"/>
                        <a:pt x="151618" y="126"/>
                        <a:pt x="158158" y="21"/>
                      </a:cubicBezTo>
                      <a:cubicBezTo>
                        <a:pt x="162106" y="75"/>
                        <a:pt x="166013" y="854"/>
                        <a:pt x="169691" y="2321"/>
                      </a:cubicBezTo>
                      <a:cubicBezTo>
                        <a:pt x="173688" y="641"/>
                        <a:pt x="177992" y="-143"/>
                        <a:pt x="182311" y="21"/>
                      </a:cubicBezTo>
                      <a:cubicBezTo>
                        <a:pt x="187476" y="34"/>
                        <a:pt x="192567" y="1279"/>
                        <a:pt x="197179" y="3656"/>
                      </a:cubicBezTo>
                      <a:cubicBezTo>
                        <a:pt x="199228" y="2611"/>
                        <a:pt x="201490" y="2078"/>
                        <a:pt x="203780" y="2098"/>
                      </a:cubicBezTo>
                      <a:cubicBezTo>
                        <a:pt x="207493" y="2152"/>
                        <a:pt x="211057" y="3605"/>
                        <a:pt x="213789" y="6178"/>
                      </a:cubicBezTo>
                      <a:cubicBezTo>
                        <a:pt x="218575" y="5205"/>
                        <a:pt x="223525" y="6671"/>
                        <a:pt x="227062" y="10110"/>
                      </a:cubicBezTo>
                      <a:cubicBezTo>
                        <a:pt x="233164" y="10542"/>
                        <a:pt x="238920" y="13170"/>
                        <a:pt x="243308" y="17528"/>
                      </a:cubicBezTo>
                      <a:cubicBezTo>
                        <a:pt x="251712" y="18546"/>
                        <a:pt x="258693" y="24632"/>
                        <a:pt x="261006" y="32957"/>
                      </a:cubicBezTo>
                      <a:lnTo>
                        <a:pt x="263109" y="32957"/>
                      </a:lnTo>
                      <a:cubicBezTo>
                        <a:pt x="273144" y="32966"/>
                        <a:pt x="281744" y="40295"/>
                        <a:pt x="283563" y="50389"/>
                      </a:cubicBezTo>
                      <a:cubicBezTo>
                        <a:pt x="292229" y="53841"/>
                        <a:pt x="298259" y="61987"/>
                        <a:pt x="299157" y="71455"/>
                      </a:cubicBezTo>
                      <a:cubicBezTo>
                        <a:pt x="306888" y="76598"/>
                        <a:pt x="311554" y="85389"/>
                        <a:pt x="311559" y="94821"/>
                      </a:cubicBezTo>
                      <a:lnTo>
                        <a:pt x="311559" y="96453"/>
                      </a:lnTo>
                      <a:cubicBezTo>
                        <a:pt x="316936" y="99354"/>
                        <a:pt x="320290" y="105072"/>
                        <a:pt x="320263" y="111289"/>
                      </a:cubicBezTo>
                      <a:cubicBezTo>
                        <a:pt x="320253" y="112767"/>
                        <a:pt x="320058" y="114238"/>
                        <a:pt x="319683" y="115666"/>
                      </a:cubicBezTo>
                      <a:cubicBezTo>
                        <a:pt x="325443" y="120170"/>
                        <a:pt x="327918" y="127823"/>
                        <a:pt x="325920" y="134952"/>
                      </a:cubicBezTo>
                      <a:cubicBezTo>
                        <a:pt x="325953" y="135149"/>
                        <a:pt x="325953" y="135349"/>
                        <a:pt x="325920" y="135545"/>
                      </a:cubicBezTo>
                      <a:cubicBezTo>
                        <a:pt x="327257" y="137826"/>
                        <a:pt x="328167" y="140342"/>
                        <a:pt x="328604" y="142963"/>
                      </a:cubicBezTo>
                      <a:cubicBezTo>
                        <a:pt x="330590" y="153106"/>
                        <a:pt x="325481" y="163310"/>
                        <a:pt x="316274" y="167590"/>
                      </a:cubicBezTo>
                      <a:cubicBezTo>
                        <a:pt x="317425" y="169390"/>
                        <a:pt x="318397" y="171304"/>
                        <a:pt x="319175" y="173302"/>
                      </a:cubicBezTo>
                      <a:cubicBezTo>
                        <a:pt x="327081" y="192885"/>
                        <a:pt x="320698" y="211652"/>
                        <a:pt x="303581" y="218848"/>
                      </a:cubicBezTo>
                      <a:lnTo>
                        <a:pt x="301985" y="219590"/>
                      </a:lnTo>
                      <a:cubicBezTo>
                        <a:pt x="301702" y="222105"/>
                        <a:pt x="301192" y="224588"/>
                        <a:pt x="300462" y="227007"/>
                      </a:cubicBezTo>
                      <a:cubicBezTo>
                        <a:pt x="294338" y="247133"/>
                        <a:pt x="273457" y="258409"/>
                        <a:pt x="253753" y="252228"/>
                      </a:cubicBezTo>
                      <a:lnTo>
                        <a:pt x="252882" y="252228"/>
                      </a:lnTo>
                      <a:cubicBezTo>
                        <a:pt x="248095" y="282715"/>
                        <a:pt x="258032" y="322327"/>
                        <a:pt x="258177" y="322698"/>
                      </a:cubicBezTo>
                      <a:lnTo>
                        <a:pt x="250924" y="324626"/>
                      </a:lnTo>
                      <a:cubicBezTo>
                        <a:pt x="250489" y="322772"/>
                        <a:pt x="239392" y="278858"/>
                        <a:pt x="246427" y="246220"/>
                      </a:cubicBezTo>
                      <a:lnTo>
                        <a:pt x="247370" y="241621"/>
                      </a:lnTo>
                      <a:lnTo>
                        <a:pt x="251504" y="243697"/>
                      </a:lnTo>
                      <a:cubicBezTo>
                        <a:pt x="252874" y="244367"/>
                        <a:pt x="254279" y="244962"/>
                        <a:pt x="255711" y="245478"/>
                      </a:cubicBezTo>
                      <a:cubicBezTo>
                        <a:pt x="271578" y="250141"/>
                        <a:pt x="288170" y="240931"/>
                        <a:pt x="292992" y="224782"/>
                      </a:cubicBezTo>
                      <a:cubicBezTo>
                        <a:pt x="293736" y="222222"/>
                        <a:pt x="294199" y="219584"/>
                        <a:pt x="294370" y="216919"/>
                      </a:cubicBezTo>
                      <a:lnTo>
                        <a:pt x="294370" y="214768"/>
                      </a:lnTo>
                      <a:lnTo>
                        <a:pt x="299954" y="212023"/>
                      </a:lnTo>
                      <a:cubicBezTo>
                        <a:pt x="315548" y="205421"/>
                        <a:pt x="317144" y="189176"/>
                        <a:pt x="311849" y="176047"/>
                      </a:cubicBezTo>
                      <a:cubicBezTo>
                        <a:pt x="310657" y="173129"/>
                        <a:pt x="309017" y="170424"/>
                        <a:pt x="306990" y="168036"/>
                      </a:cubicBezTo>
                      <a:lnTo>
                        <a:pt x="303001" y="163214"/>
                      </a:lnTo>
                      <a:lnTo>
                        <a:pt x="309238" y="162027"/>
                      </a:lnTo>
                      <a:cubicBezTo>
                        <a:pt x="317141" y="160683"/>
                        <a:pt x="322482" y="153041"/>
                        <a:pt x="321168" y="144959"/>
                      </a:cubicBezTo>
                      <a:cubicBezTo>
                        <a:pt x="321136" y="144763"/>
                        <a:pt x="321101" y="144567"/>
                        <a:pt x="321061" y="144373"/>
                      </a:cubicBezTo>
                      <a:cubicBezTo>
                        <a:pt x="320680" y="142138"/>
                        <a:pt x="319785" y="140027"/>
                        <a:pt x="318450" y="138216"/>
                      </a:cubicBezTo>
                      <a:lnTo>
                        <a:pt x="317724" y="137177"/>
                      </a:lnTo>
                      <a:lnTo>
                        <a:pt x="317724" y="135990"/>
                      </a:lnTo>
                      <a:cubicBezTo>
                        <a:pt x="317772" y="134910"/>
                        <a:pt x="318097" y="133861"/>
                        <a:pt x="318667" y="132949"/>
                      </a:cubicBezTo>
                      <a:cubicBezTo>
                        <a:pt x="320048" y="128056"/>
                        <a:pt x="317782" y="122856"/>
                        <a:pt x="313300" y="120636"/>
                      </a:cubicBezTo>
                      <a:lnTo>
                        <a:pt x="310036" y="118707"/>
                      </a:lnTo>
                      <a:lnTo>
                        <a:pt x="311704" y="115369"/>
                      </a:lnTo>
                      <a:cubicBezTo>
                        <a:pt x="312364" y="114034"/>
                        <a:pt x="312712" y="112562"/>
                        <a:pt x="312720" y="111067"/>
                      </a:cubicBezTo>
                      <a:cubicBezTo>
                        <a:pt x="312721" y="106985"/>
                        <a:pt x="310093" y="103391"/>
                        <a:pt x="306265" y="102239"/>
                      </a:cubicBezTo>
                      <a:lnTo>
                        <a:pt x="303146" y="101275"/>
                      </a:lnTo>
                      <a:lnTo>
                        <a:pt x="303726" y="98011"/>
                      </a:lnTo>
                      <a:cubicBezTo>
                        <a:pt x="303830" y="96926"/>
                        <a:pt x="303830" y="95832"/>
                        <a:pt x="303726" y="94747"/>
                      </a:cubicBezTo>
                      <a:cubicBezTo>
                        <a:pt x="303732" y="87256"/>
                        <a:pt x="299722" y="80365"/>
                        <a:pt x="293282" y="76796"/>
                      </a:cubicBezTo>
                      <a:lnTo>
                        <a:pt x="291468" y="75758"/>
                      </a:lnTo>
                      <a:lnTo>
                        <a:pt x="291468" y="73458"/>
                      </a:lnTo>
                      <a:cubicBezTo>
                        <a:pt x="291436" y="65559"/>
                        <a:pt x="286236" y="58661"/>
                        <a:pt x="278776" y="56620"/>
                      </a:cubicBezTo>
                      <a:lnTo>
                        <a:pt x="276310" y="55952"/>
                      </a:lnTo>
                      <a:lnTo>
                        <a:pt x="276310" y="53282"/>
                      </a:lnTo>
                      <a:cubicBezTo>
                        <a:pt x="275852" y="45958"/>
                        <a:pt x="269922" y="40250"/>
                        <a:pt x="262747" y="40226"/>
                      </a:cubicBezTo>
                      <a:cubicBezTo>
                        <a:pt x="261373" y="40241"/>
                        <a:pt x="260008" y="40440"/>
                        <a:pt x="258685" y="40820"/>
                      </a:cubicBezTo>
                      <a:lnTo>
                        <a:pt x="254406" y="42081"/>
                      </a:lnTo>
                      <a:lnTo>
                        <a:pt x="254406" y="37556"/>
                      </a:lnTo>
                      <a:cubicBezTo>
                        <a:pt x="253812" y="30705"/>
                        <a:pt x="248423" y="25320"/>
                        <a:pt x="241713" y="24871"/>
                      </a:cubicBezTo>
                      <a:lnTo>
                        <a:pt x="239972" y="24871"/>
                      </a:lnTo>
                      <a:lnTo>
                        <a:pt x="239247" y="23684"/>
                      </a:lnTo>
                      <a:cubicBezTo>
                        <a:pt x="235709" y="19812"/>
                        <a:pt x="230792" y="17566"/>
                        <a:pt x="225611" y="17453"/>
                      </a:cubicBezTo>
                      <a:lnTo>
                        <a:pt x="223943" y="17453"/>
                      </a:lnTo>
                      <a:lnTo>
                        <a:pt x="222855" y="16118"/>
                      </a:lnTo>
                      <a:cubicBezTo>
                        <a:pt x="220728" y="13536"/>
                        <a:pt x="217235" y="12614"/>
                        <a:pt x="214151" y="13819"/>
                      </a:cubicBezTo>
                      <a:lnTo>
                        <a:pt x="211323" y="14857"/>
                      </a:lnTo>
                      <a:lnTo>
                        <a:pt x="209655" y="12558"/>
                      </a:lnTo>
                      <a:cubicBezTo>
                        <a:pt x="208286" y="10591"/>
                        <a:pt x="206067" y="9429"/>
                        <a:pt x="203707" y="9442"/>
                      </a:cubicBezTo>
                      <a:cubicBezTo>
                        <a:pt x="202119" y="9467"/>
                        <a:pt x="200577" y="9984"/>
                        <a:pt x="199283" y="10926"/>
                      </a:cubicBezTo>
                      <a:lnTo>
                        <a:pt x="197397" y="12335"/>
                      </a:lnTo>
                      <a:lnTo>
                        <a:pt x="195729" y="11148"/>
                      </a:lnTo>
                      <a:cubicBezTo>
                        <a:pt x="191605" y="8648"/>
                        <a:pt x="186886" y="7365"/>
                        <a:pt x="182093" y="7439"/>
                      </a:cubicBezTo>
                      <a:cubicBezTo>
                        <a:pt x="178352" y="7446"/>
                        <a:pt x="174660" y="8307"/>
                        <a:pt x="171286" y="9961"/>
                      </a:cubicBezTo>
                      <a:lnTo>
                        <a:pt x="169763" y="10703"/>
                      </a:lnTo>
                      <a:lnTo>
                        <a:pt x="168240" y="10036"/>
                      </a:lnTo>
                      <a:cubicBezTo>
                        <a:pt x="165089" y="8472"/>
                        <a:pt x="161657" y="7588"/>
                        <a:pt x="158158" y="7439"/>
                      </a:cubicBezTo>
                      <a:cubicBezTo>
                        <a:pt x="152664" y="7437"/>
                        <a:pt x="147327" y="9318"/>
                        <a:pt x="142999" y="12780"/>
                      </a:cubicBezTo>
                      <a:lnTo>
                        <a:pt x="141694" y="13819"/>
                      </a:lnTo>
                      <a:lnTo>
                        <a:pt x="140026" y="13819"/>
                      </a:lnTo>
                      <a:cubicBezTo>
                        <a:pt x="127353" y="11089"/>
                        <a:pt x="114143" y="14061"/>
                        <a:pt x="103761" y="21978"/>
                      </a:cubicBezTo>
                      <a:lnTo>
                        <a:pt x="102890" y="22720"/>
                      </a:lnTo>
                      <a:lnTo>
                        <a:pt x="101730" y="22720"/>
                      </a:lnTo>
                      <a:cubicBezTo>
                        <a:pt x="88788" y="23220"/>
                        <a:pt x="76662" y="29313"/>
                        <a:pt x="68366" y="39484"/>
                      </a:cubicBezTo>
                      <a:lnTo>
                        <a:pt x="67713" y="40300"/>
                      </a:lnTo>
                      <a:lnTo>
                        <a:pt x="66770" y="40300"/>
                      </a:lnTo>
                      <a:cubicBezTo>
                        <a:pt x="52549" y="45306"/>
                        <a:pt x="41681" y="57199"/>
                        <a:pt x="37758" y="72049"/>
                      </a:cubicBezTo>
                      <a:lnTo>
                        <a:pt x="37396" y="73384"/>
                      </a:lnTo>
                      <a:lnTo>
                        <a:pt x="36163" y="74200"/>
                      </a:lnTo>
                      <a:cubicBezTo>
                        <a:pt x="24381" y="82485"/>
                        <a:pt x="17078" y="95939"/>
                        <a:pt x="16435" y="110547"/>
                      </a:cubicBezTo>
                      <a:lnTo>
                        <a:pt x="16435" y="111660"/>
                      </a:lnTo>
                      <a:lnTo>
                        <a:pt x="15782" y="112550"/>
                      </a:lnTo>
                      <a:cubicBezTo>
                        <a:pt x="816" y="134690"/>
                        <a:pt x="6233" y="165046"/>
                        <a:pt x="27881" y="180352"/>
                      </a:cubicBezTo>
                      <a:cubicBezTo>
                        <a:pt x="46073" y="193215"/>
                        <a:pt x="70527" y="191586"/>
                        <a:pt x="86934" y="176418"/>
                      </a:cubicBezTo>
                      <a:lnTo>
                        <a:pt x="91793" y="171819"/>
                      </a:lnTo>
                      <a:lnTo>
                        <a:pt x="92954" y="178495"/>
                      </a:lnTo>
                      <a:cubicBezTo>
                        <a:pt x="97601" y="205630"/>
                        <a:pt x="122835" y="223808"/>
                        <a:pt x="149382" y="219144"/>
                      </a:cubicBezTo>
                      <a:cubicBezTo>
                        <a:pt x="159683" y="217239"/>
                        <a:pt x="169128" y="212045"/>
                        <a:pt x="176363" y="204309"/>
                      </a:cubicBezTo>
                      <a:lnTo>
                        <a:pt x="179700" y="200674"/>
                      </a:lnTo>
                      <a:lnTo>
                        <a:pt x="182166" y="204976"/>
                      </a:lnTo>
                      <a:cubicBezTo>
                        <a:pt x="186913" y="213362"/>
                        <a:pt x="194419" y="219750"/>
                        <a:pt x="203344" y="223002"/>
                      </a:cubicBezTo>
                      <a:lnTo>
                        <a:pt x="205013" y="223595"/>
                      </a:lnTo>
                      <a:lnTo>
                        <a:pt x="205593" y="225301"/>
                      </a:lnTo>
                      <a:cubicBezTo>
                        <a:pt x="207585" y="231438"/>
                        <a:pt x="211858" y="236527"/>
                        <a:pt x="217488" y="239469"/>
                      </a:cubicBezTo>
                      <a:lnTo>
                        <a:pt x="218576" y="240063"/>
                      </a:lnTo>
                      <a:lnTo>
                        <a:pt x="219083" y="241175"/>
                      </a:lnTo>
                      <a:cubicBezTo>
                        <a:pt x="231274" y="267991"/>
                        <a:pt x="236781" y="297477"/>
                        <a:pt x="235113" y="327000"/>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76" name="Freeform 1400">
                  <a:extLst>
                    <a:ext uri="{FF2B5EF4-FFF2-40B4-BE49-F238E27FC236}">
                      <a16:creationId xmlns:a16="http://schemas.microsoft.com/office/drawing/2014/main" id="{37422986-8325-44AD-95E2-0564A2B97433}"/>
                    </a:ext>
                  </a:extLst>
                </p:cNvPr>
                <p:cNvSpPr/>
                <p:nvPr/>
              </p:nvSpPr>
              <p:spPr>
                <a:xfrm rot="-5279400">
                  <a:off x="7792463" y="3761646"/>
                  <a:ext cx="49900" cy="3708"/>
                </a:xfrm>
                <a:custGeom>
                  <a:avLst/>
                  <a:gdLst>
                    <a:gd name="connsiteX0" fmla="*/ 0 w 49900"/>
                    <a:gd name="connsiteY0" fmla="*/ 0 h 3708"/>
                    <a:gd name="connsiteX1" fmla="*/ 49901 w 49900"/>
                    <a:gd name="connsiteY1" fmla="*/ 0 h 3708"/>
                    <a:gd name="connsiteX2" fmla="*/ 49901 w 49900"/>
                    <a:gd name="connsiteY2" fmla="*/ 3709 h 3708"/>
                    <a:gd name="connsiteX3" fmla="*/ 0 w 49900"/>
                    <a:gd name="connsiteY3" fmla="*/ 3709 h 3708"/>
                  </a:gdLst>
                  <a:ahLst/>
                  <a:cxnLst>
                    <a:cxn ang="0">
                      <a:pos x="connsiteX0" y="connsiteY0"/>
                    </a:cxn>
                    <a:cxn ang="0">
                      <a:pos x="connsiteX1" y="connsiteY1"/>
                    </a:cxn>
                    <a:cxn ang="0">
                      <a:pos x="connsiteX2" y="connsiteY2"/>
                    </a:cxn>
                    <a:cxn ang="0">
                      <a:pos x="connsiteX3" y="connsiteY3"/>
                    </a:cxn>
                  </a:cxnLst>
                  <a:rect l="l" t="t" r="r" b="b"/>
                  <a:pathLst>
                    <a:path w="49900" h="3708">
                      <a:moveTo>
                        <a:pt x="0" y="0"/>
                      </a:moveTo>
                      <a:lnTo>
                        <a:pt x="49901" y="0"/>
                      </a:lnTo>
                      <a:lnTo>
                        <a:pt x="49901" y="3709"/>
                      </a:lnTo>
                      <a:lnTo>
                        <a:pt x="0" y="370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77" name="Freeform 1401">
                  <a:extLst>
                    <a:ext uri="{FF2B5EF4-FFF2-40B4-BE49-F238E27FC236}">
                      <a16:creationId xmlns:a16="http://schemas.microsoft.com/office/drawing/2014/main" id="{423C9EC3-E722-4F67-BD0C-A59105A6BECE}"/>
                    </a:ext>
                  </a:extLst>
                </p:cNvPr>
                <p:cNvSpPr/>
                <p:nvPr/>
              </p:nvSpPr>
              <p:spPr>
                <a:xfrm>
                  <a:off x="7912626" y="3786340"/>
                  <a:ext cx="107779" cy="69727"/>
                </a:xfrm>
                <a:custGeom>
                  <a:avLst/>
                  <a:gdLst>
                    <a:gd name="connsiteX0" fmla="*/ 107780 w 107779"/>
                    <a:gd name="connsiteY0" fmla="*/ 69728 h 69727"/>
                    <a:gd name="connsiteX1" fmla="*/ 0 w 107779"/>
                    <a:gd name="connsiteY1" fmla="*/ 38721 h 69727"/>
                    <a:gd name="connsiteX2" fmla="*/ 86238 w 107779"/>
                    <a:gd name="connsiteY2" fmla="*/ 0 h 69727"/>
                    <a:gd name="connsiteX3" fmla="*/ 10734 w 107779"/>
                    <a:gd name="connsiteY3" fmla="*/ 37979 h 69727"/>
                    <a:gd name="connsiteX4" fmla="*/ 102340 w 107779"/>
                    <a:gd name="connsiteY4" fmla="*/ 64239 h 69727"/>
                    <a:gd name="connsiteX5" fmla="*/ 83990 w 107779"/>
                    <a:gd name="connsiteY5" fmla="*/ 4896 h 6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779" h="69727">
                      <a:moveTo>
                        <a:pt x="107780" y="69728"/>
                      </a:moveTo>
                      <a:lnTo>
                        <a:pt x="0" y="38721"/>
                      </a:lnTo>
                      <a:lnTo>
                        <a:pt x="86238" y="0"/>
                      </a:lnTo>
                      <a:close/>
                      <a:moveTo>
                        <a:pt x="10734" y="37979"/>
                      </a:moveTo>
                      <a:lnTo>
                        <a:pt x="102340" y="64239"/>
                      </a:lnTo>
                      <a:lnTo>
                        <a:pt x="83990" y="4896"/>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78" name="Freeform 1402">
                  <a:extLst>
                    <a:ext uri="{FF2B5EF4-FFF2-40B4-BE49-F238E27FC236}">
                      <a16:creationId xmlns:a16="http://schemas.microsoft.com/office/drawing/2014/main" id="{1D49CCE4-B55A-45B1-85EA-FBD9945B1A8D}"/>
                    </a:ext>
                  </a:extLst>
                </p:cNvPr>
                <p:cNvSpPr/>
                <p:nvPr/>
              </p:nvSpPr>
              <p:spPr>
                <a:xfrm>
                  <a:off x="7995746" y="3722918"/>
                  <a:ext cx="64696" cy="96951"/>
                </a:xfrm>
                <a:custGeom>
                  <a:avLst/>
                  <a:gdLst>
                    <a:gd name="connsiteX0" fmla="*/ 64697 w 64696"/>
                    <a:gd name="connsiteY0" fmla="*/ 96951 h 96951"/>
                    <a:gd name="connsiteX1" fmla="*/ 0 w 64696"/>
                    <a:gd name="connsiteY1" fmla="*/ 67280 h 96951"/>
                    <a:gd name="connsiteX2" fmla="*/ 8994 w 64696"/>
                    <a:gd name="connsiteY2" fmla="*/ 0 h 96951"/>
                    <a:gd name="connsiteX3" fmla="*/ 57371 w 64696"/>
                    <a:gd name="connsiteY3" fmla="*/ 47326 h 96951"/>
                    <a:gd name="connsiteX4" fmla="*/ 3989 w 64696"/>
                    <a:gd name="connsiteY4" fmla="*/ 64832 h 96951"/>
                    <a:gd name="connsiteX5" fmla="*/ 60127 w 64696"/>
                    <a:gd name="connsiteY5" fmla="*/ 90720 h 96951"/>
                    <a:gd name="connsiteX6" fmla="*/ 53962 w 64696"/>
                    <a:gd name="connsiteY6" fmla="*/ 48884 h 96951"/>
                    <a:gd name="connsiteX7" fmla="*/ 11677 w 64696"/>
                    <a:gd name="connsiteY7" fmla="*/ 7492 h 9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696" h="96951">
                      <a:moveTo>
                        <a:pt x="64697" y="96951"/>
                      </a:moveTo>
                      <a:lnTo>
                        <a:pt x="0" y="67280"/>
                      </a:lnTo>
                      <a:lnTo>
                        <a:pt x="8994" y="0"/>
                      </a:lnTo>
                      <a:lnTo>
                        <a:pt x="57371" y="47326"/>
                      </a:lnTo>
                      <a:close/>
                      <a:moveTo>
                        <a:pt x="3989" y="64832"/>
                      </a:moveTo>
                      <a:lnTo>
                        <a:pt x="60127" y="90720"/>
                      </a:lnTo>
                      <a:lnTo>
                        <a:pt x="53962" y="48884"/>
                      </a:lnTo>
                      <a:lnTo>
                        <a:pt x="11677" y="7492"/>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79" name="Freeform 1403">
                  <a:extLst>
                    <a:ext uri="{FF2B5EF4-FFF2-40B4-BE49-F238E27FC236}">
                      <a16:creationId xmlns:a16="http://schemas.microsoft.com/office/drawing/2014/main" id="{19CA5ED0-643B-4A88-9EDE-7C2C8A0A359B}"/>
                    </a:ext>
                  </a:extLst>
                </p:cNvPr>
                <p:cNvSpPr/>
                <p:nvPr/>
              </p:nvSpPr>
              <p:spPr>
                <a:xfrm>
                  <a:off x="7872880" y="3671290"/>
                  <a:ext cx="222667" cy="147169"/>
                </a:xfrm>
                <a:custGeom>
                  <a:avLst/>
                  <a:gdLst>
                    <a:gd name="connsiteX0" fmla="*/ 186765 w 222667"/>
                    <a:gd name="connsiteY0" fmla="*/ 147170 h 147169"/>
                    <a:gd name="connsiteX1" fmla="*/ 183791 w 222667"/>
                    <a:gd name="connsiteY1" fmla="*/ 145093 h 147169"/>
                    <a:gd name="connsiteX2" fmla="*/ 215197 w 222667"/>
                    <a:gd name="connsiteY2" fmla="*/ 96506 h 147169"/>
                    <a:gd name="connsiteX3" fmla="*/ 176973 w 222667"/>
                    <a:gd name="connsiteY3" fmla="*/ 101699 h 147169"/>
                    <a:gd name="connsiteX4" fmla="*/ 167762 w 222667"/>
                    <a:gd name="connsiteY4" fmla="*/ 35680 h 147169"/>
                    <a:gd name="connsiteX5" fmla="*/ 133818 w 222667"/>
                    <a:gd name="connsiteY5" fmla="*/ 59269 h 147169"/>
                    <a:gd name="connsiteX6" fmla="*/ 108142 w 222667"/>
                    <a:gd name="connsiteY6" fmla="*/ 6528 h 147169"/>
                    <a:gd name="connsiteX7" fmla="*/ 78913 w 222667"/>
                    <a:gd name="connsiteY7" fmla="*/ 39315 h 147169"/>
                    <a:gd name="connsiteX8" fmla="*/ 16754 w 222667"/>
                    <a:gd name="connsiteY8" fmla="*/ 17432 h 147169"/>
                    <a:gd name="connsiteX9" fmla="*/ 44316 w 222667"/>
                    <a:gd name="connsiteY9" fmla="*/ 74994 h 147169"/>
                    <a:gd name="connsiteX10" fmla="*/ 2539 w 222667"/>
                    <a:gd name="connsiteY10" fmla="*/ 117944 h 147169"/>
                    <a:gd name="connsiteX11" fmla="*/ 0 w 222667"/>
                    <a:gd name="connsiteY11" fmla="*/ 115273 h 147169"/>
                    <a:gd name="connsiteX12" fmla="*/ 39892 w 222667"/>
                    <a:gd name="connsiteY12" fmla="*/ 74253 h 147169"/>
                    <a:gd name="connsiteX13" fmla="*/ 9646 w 222667"/>
                    <a:gd name="connsiteY13" fmla="*/ 11053 h 147169"/>
                    <a:gd name="connsiteX14" fmla="*/ 77825 w 222667"/>
                    <a:gd name="connsiteY14" fmla="*/ 35012 h 147169"/>
                    <a:gd name="connsiteX15" fmla="*/ 109085 w 222667"/>
                    <a:gd name="connsiteY15" fmla="*/ 0 h 147169"/>
                    <a:gd name="connsiteX16" fmla="*/ 135196 w 222667"/>
                    <a:gd name="connsiteY16" fmla="*/ 53779 h 147169"/>
                    <a:gd name="connsiteX17" fmla="*/ 170591 w 222667"/>
                    <a:gd name="connsiteY17" fmla="*/ 29300 h 147169"/>
                    <a:gd name="connsiteX18" fmla="*/ 180092 w 222667"/>
                    <a:gd name="connsiteY18" fmla="*/ 97545 h 147169"/>
                    <a:gd name="connsiteX19" fmla="*/ 222667 w 222667"/>
                    <a:gd name="connsiteY19" fmla="*/ 91759 h 147169"/>
                    <a:gd name="connsiteX20" fmla="*/ 186765 w 222667"/>
                    <a:gd name="connsiteY20" fmla="*/ 147170 h 14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2667" h="147169">
                      <a:moveTo>
                        <a:pt x="186765" y="147170"/>
                      </a:moveTo>
                      <a:lnTo>
                        <a:pt x="183791" y="145093"/>
                      </a:lnTo>
                      <a:lnTo>
                        <a:pt x="215197" y="96506"/>
                      </a:lnTo>
                      <a:lnTo>
                        <a:pt x="176973" y="101699"/>
                      </a:lnTo>
                      <a:lnTo>
                        <a:pt x="167762" y="35680"/>
                      </a:lnTo>
                      <a:lnTo>
                        <a:pt x="133818" y="59269"/>
                      </a:lnTo>
                      <a:lnTo>
                        <a:pt x="108142" y="6528"/>
                      </a:lnTo>
                      <a:lnTo>
                        <a:pt x="78913" y="39315"/>
                      </a:lnTo>
                      <a:lnTo>
                        <a:pt x="16754" y="17432"/>
                      </a:lnTo>
                      <a:lnTo>
                        <a:pt x="44316" y="74994"/>
                      </a:lnTo>
                      <a:lnTo>
                        <a:pt x="2539" y="117944"/>
                      </a:lnTo>
                      <a:lnTo>
                        <a:pt x="0" y="115273"/>
                      </a:lnTo>
                      <a:lnTo>
                        <a:pt x="39892" y="74253"/>
                      </a:lnTo>
                      <a:lnTo>
                        <a:pt x="9646" y="11053"/>
                      </a:lnTo>
                      <a:lnTo>
                        <a:pt x="77825" y="35012"/>
                      </a:lnTo>
                      <a:lnTo>
                        <a:pt x="109085" y="0"/>
                      </a:lnTo>
                      <a:lnTo>
                        <a:pt x="135196" y="53779"/>
                      </a:lnTo>
                      <a:lnTo>
                        <a:pt x="170591" y="29300"/>
                      </a:lnTo>
                      <a:lnTo>
                        <a:pt x="180092" y="97545"/>
                      </a:lnTo>
                      <a:lnTo>
                        <a:pt x="222667" y="91759"/>
                      </a:lnTo>
                      <a:lnTo>
                        <a:pt x="186765" y="147170"/>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0" name="Freeform 1404">
                  <a:extLst>
                    <a:ext uri="{FF2B5EF4-FFF2-40B4-BE49-F238E27FC236}">
                      <a16:creationId xmlns:a16="http://schemas.microsoft.com/office/drawing/2014/main" id="{40721FB3-4EA2-4F36-8709-FC8D5CDDFD49}"/>
                    </a:ext>
                  </a:extLst>
                </p:cNvPr>
                <p:cNvSpPr/>
                <p:nvPr/>
              </p:nvSpPr>
              <p:spPr>
                <a:xfrm rot="-4989002">
                  <a:off x="7829728" y="3734872"/>
                  <a:ext cx="100816" cy="3708"/>
                </a:xfrm>
                <a:custGeom>
                  <a:avLst/>
                  <a:gdLst>
                    <a:gd name="connsiteX0" fmla="*/ 0 w 100816"/>
                    <a:gd name="connsiteY0" fmla="*/ 0 h 3708"/>
                    <a:gd name="connsiteX1" fmla="*/ 100817 w 100816"/>
                    <a:gd name="connsiteY1" fmla="*/ 0 h 3708"/>
                    <a:gd name="connsiteX2" fmla="*/ 100817 w 100816"/>
                    <a:gd name="connsiteY2" fmla="*/ 3709 h 3708"/>
                    <a:gd name="connsiteX3" fmla="*/ 0 w 100816"/>
                    <a:gd name="connsiteY3" fmla="*/ 3709 h 3708"/>
                  </a:gdLst>
                  <a:ahLst/>
                  <a:cxnLst>
                    <a:cxn ang="0">
                      <a:pos x="connsiteX0" y="connsiteY0"/>
                    </a:cxn>
                    <a:cxn ang="0">
                      <a:pos x="connsiteX1" y="connsiteY1"/>
                    </a:cxn>
                    <a:cxn ang="0">
                      <a:pos x="connsiteX2" y="connsiteY2"/>
                    </a:cxn>
                    <a:cxn ang="0">
                      <a:pos x="connsiteX3" y="connsiteY3"/>
                    </a:cxn>
                  </a:cxnLst>
                  <a:rect l="l" t="t" r="r" b="b"/>
                  <a:pathLst>
                    <a:path w="100816" h="3708">
                      <a:moveTo>
                        <a:pt x="0" y="0"/>
                      </a:moveTo>
                      <a:lnTo>
                        <a:pt x="100817" y="0"/>
                      </a:lnTo>
                      <a:lnTo>
                        <a:pt x="100817" y="3709"/>
                      </a:lnTo>
                      <a:lnTo>
                        <a:pt x="0" y="370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1" name="Freeform 1405">
                  <a:extLst>
                    <a:ext uri="{FF2B5EF4-FFF2-40B4-BE49-F238E27FC236}">
                      <a16:creationId xmlns:a16="http://schemas.microsoft.com/office/drawing/2014/main" id="{C54BC448-341C-4B2D-83DD-34B7E92D983C}"/>
                    </a:ext>
                  </a:extLst>
                </p:cNvPr>
                <p:cNvSpPr/>
                <p:nvPr/>
              </p:nvSpPr>
              <p:spPr>
                <a:xfrm>
                  <a:off x="7889126" y="3816012"/>
                  <a:ext cx="170227" cy="60010"/>
                </a:xfrm>
                <a:custGeom>
                  <a:avLst/>
                  <a:gdLst>
                    <a:gd name="connsiteX0" fmla="*/ 3119 w 170227"/>
                    <a:gd name="connsiteY0" fmla="*/ 60010 h 60010"/>
                    <a:gd name="connsiteX1" fmla="*/ 0 w 170227"/>
                    <a:gd name="connsiteY1" fmla="*/ 58230 h 60010"/>
                    <a:gd name="connsiteX2" fmla="*/ 27997 w 170227"/>
                    <a:gd name="connsiteY2" fmla="*/ 6528 h 60010"/>
                    <a:gd name="connsiteX3" fmla="*/ 128088 w 170227"/>
                    <a:gd name="connsiteY3" fmla="*/ 35235 h 60010"/>
                    <a:gd name="connsiteX4" fmla="*/ 167834 w 170227"/>
                    <a:gd name="connsiteY4" fmla="*/ 0 h 60010"/>
                    <a:gd name="connsiteX5" fmla="*/ 170228 w 170227"/>
                    <a:gd name="connsiteY5" fmla="*/ 2819 h 60010"/>
                    <a:gd name="connsiteX6" fmla="*/ 129031 w 170227"/>
                    <a:gd name="connsiteY6" fmla="*/ 39389 h 60010"/>
                    <a:gd name="connsiteX7" fmla="*/ 29810 w 170227"/>
                    <a:gd name="connsiteY7" fmla="*/ 10830 h 60010"/>
                    <a:gd name="connsiteX8" fmla="*/ 3119 w 170227"/>
                    <a:gd name="connsiteY8" fmla="*/ 60010 h 6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7" h="60010">
                      <a:moveTo>
                        <a:pt x="3119" y="60010"/>
                      </a:moveTo>
                      <a:lnTo>
                        <a:pt x="0" y="58230"/>
                      </a:lnTo>
                      <a:lnTo>
                        <a:pt x="27997" y="6528"/>
                      </a:lnTo>
                      <a:lnTo>
                        <a:pt x="128088" y="35235"/>
                      </a:lnTo>
                      <a:lnTo>
                        <a:pt x="167834" y="0"/>
                      </a:lnTo>
                      <a:lnTo>
                        <a:pt x="170228" y="2819"/>
                      </a:lnTo>
                      <a:lnTo>
                        <a:pt x="129031" y="39389"/>
                      </a:lnTo>
                      <a:lnTo>
                        <a:pt x="29810" y="10830"/>
                      </a:lnTo>
                      <a:lnTo>
                        <a:pt x="3119" y="60010"/>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2" name="Freeform 1406">
                  <a:extLst>
                    <a:ext uri="{FF2B5EF4-FFF2-40B4-BE49-F238E27FC236}">
                      <a16:creationId xmlns:a16="http://schemas.microsoft.com/office/drawing/2014/main" id="{E95332DD-9160-42F7-94EC-5B2A3B274C53}"/>
                    </a:ext>
                  </a:extLst>
                </p:cNvPr>
                <p:cNvSpPr/>
                <p:nvPr/>
              </p:nvSpPr>
              <p:spPr>
                <a:xfrm rot="-2775601">
                  <a:off x="8026970" y="3716686"/>
                  <a:ext cx="3626" cy="64164"/>
                </a:xfrm>
                <a:custGeom>
                  <a:avLst/>
                  <a:gdLst>
                    <a:gd name="connsiteX0" fmla="*/ 0 w 3626"/>
                    <a:gd name="connsiteY0" fmla="*/ 0 h 64164"/>
                    <a:gd name="connsiteX1" fmla="*/ 3627 w 3626"/>
                    <a:gd name="connsiteY1" fmla="*/ 0 h 64164"/>
                    <a:gd name="connsiteX2" fmla="*/ 3627 w 3626"/>
                    <a:gd name="connsiteY2" fmla="*/ 64164 h 64164"/>
                    <a:gd name="connsiteX3" fmla="*/ 0 w 3626"/>
                    <a:gd name="connsiteY3" fmla="*/ 64164 h 64164"/>
                  </a:gdLst>
                  <a:ahLst/>
                  <a:cxnLst>
                    <a:cxn ang="0">
                      <a:pos x="connsiteX0" y="connsiteY0"/>
                    </a:cxn>
                    <a:cxn ang="0">
                      <a:pos x="connsiteX1" y="connsiteY1"/>
                    </a:cxn>
                    <a:cxn ang="0">
                      <a:pos x="connsiteX2" y="connsiteY2"/>
                    </a:cxn>
                    <a:cxn ang="0">
                      <a:pos x="connsiteX3" y="connsiteY3"/>
                    </a:cxn>
                  </a:cxnLst>
                  <a:rect l="l" t="t" r="r" b="b"/>
                  <a:pathLst>
                    <a:path w="3626" h="64164">
                      <a:moveTo>
                        <a:pt x="0" y="0"/>
                      </a:moveTo>
                      <a:lnTo>
                        <a:pt x="3627" y="0"/>
                      </a:lnTo>
                      <a:lnTo>
                        <a:pt x="3627" y="64164"/>
                      </a:lnTo>
                      <a:lnTo>
                        <a:pt x="0" y="64164"/>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3" name="Freeform 1407">
                  <a:extLst>
                    <a:ext uri="{FF2B5EF4-FFF2-40B4-BE49-F238E27FC236}">
                      <a16:creationId xmlns:a16="http://schemas.microsoft.com/office/drawing/2014/main" id="{3FBB9B85-0F9B-4610-87DC-96F1A6E76300}"/>
                    </a:ext>
                  </a:extLst>
                </p:cNvPr>
                <p:cNvSpPr/>
                <p:nvPr/>
              </p:nvSpPr>
              <p:spPr>
                <a:xfrm>
                  <a:off x="7913714" y="3705412"/>
                  <a:ext cx="85512" cy="85230"/>
                </a:xfrm>
                <a:custGeom>
                  <a:avLst/>
                  <a:gdLst>
                    <a:gd name="connsiteX0" fmla="*/ 82394 w 85512"/>
                    <a:gd name="connsiteY0" fmla="*/ 85231 h 85230"/>
                    <a:gd name="connsiteX1" fmla="*/ 37135 w 85512"/>
                    <a:gd name="connsiteY1" fmla="*/ 6083 h 85230"/>
                    <a:gd name="connsiteX2" fmla="*/ 2539 w 85512"/>
                    <a:gd name="connsiteY2" fmla="*/ 41837 h 85230"/>
                    <a:gd name="connsiteX3" fmla="*/ 0 w 85512"/>
                    <a:gd name="connsiteY3" fmla="*/ 39166 h 85230"/>
                    <a:gd name="connsiteX4" fmla="*/ 37933 w 85512"/>
                    <a:gd name="connsiteY4" fmla="*/ 0 h 85230"/>
                    <a:gd name="connsiteX5" fmla="*/ 85513 w 85512"/>
                    <a:gd name="connsiteY5" fmla="*/ 83302 h 85230"/>
                    <a:gd name="connsiteX6" fmla="*/ 82394 w 85512"/>
                    <a:gd name="connsiteY6" fmla="*/ 85231 h 8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12" h="85230">
                      <a:moveTo>
                        <a:pt x="82394" y="85231"/>
                      </a:moveTo>
                      <a:lnTo>
                        <a:pt x="37135" y="6083"/>
                      </a:lnTo>
                      <a:lnTo>
                        <a:pt x="2539" y="41837"/>
                      </a:lnTo>
                      <a:lnTo>
                        <a:pt x="0" y="39166"/>
                      </a:lnTo>
                      <a:lnTo>
                        <a:pt x="37933" y="0"/>
                      </a:lnTo>
                      <a:lnTo>
                        <a:pt x="85513" y="83302"/>
                      </a:lnTo>
                      <a:lnTo>
                        <a:pt x="82394" y="85231"/>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4" name="Freeform 1408">
                  <a:extLst>
                    <a:ext uri="{FF2B5EF4-FFF2-40B4-BE49-F238E27FC236}">
                      <a16:creationId xmlns:a16="http://schemas.microsoft.com/office/drawing/2014/main" id="{3C449126-0BAB-492B-B14E-99BE39C1EE39}"/>
                    </a:ext>
                  </a:extLst>
                </p:cNvPr>
                <p:cNvSpPr/>
                <p:nvPr/>
              </p:nvSpPr>
              <p:spPr>
                <a:xfrm rot="-79200">
                  <a:off x="7914016" y="3745896"/>
                  <a:ext cx="3626" cy="77368"/>
                </a:xfrm>
                <a:custGeom>
                  <a:avLst/>
                  <a:gdLst>
                    <a:gd name="connsiteX0" fmla="*/ 0 w 3626"/>
                    <a:gd name="connsiteY0" fmla="*/ 0 h 77368"/>
                    <a:gd name="connsiteX1" fmla="*/ 3627 w 3626"/>
                    <a:gd name="connsiteY1" fmla="*/ 0 h 77368"/>
                    <a:gd name="connsiteX2" fmla="*/ 3627 w 3626"/>
                    <a:gd name="connsiteY2" fmla="*/ 77368 h 77368"/>
                    <a:gd name="connsiteX3" fmla="*/ 0 w 3626"/>
                    <a:gd name="connsiteY3" fmla="*/ 77368 h 77368"/>
                  </a:gdLst>
                  <a:ahLst/>
                  <a:cxnLst>
                    <a:cxn ang="0">
                      <a:pos x="connsiteX0" y="connsiteY0"/>
                    </a:cxn>
                    <a:cxn ang="0">
                      <a:pos x="connsiteX1" y="connsiteY1"/>
                    </a:cxn>
                    <a:cxn ang="0">
                      <a:pos x="connsiteX2" y="connsiteY2"/>
                    </a:cxn>
                    <a:cxn ang="0">
                      <a:pos x="connsiteX3" y="connsiteY3"/>
                    </a:cxn>
                  </a:cxnLst>
                  <a:rect l="l" t="t" r="r" b="b"/>
                  <a:pathLst>
                    <a:path w="3626" h="77368">
                      <a:moveTo>
                        <a:pt x="0" y="0"/>
                      </a:moveTo>
                      <a:lnTo>
                        <a:pt x="3627" y="0"/>
                      </a:lnTo>
                      <a:lnTo>
                        <a:pt x="3627" y="77368"/>
                      </a:lnTo>
                      <a:lnTo>
                        <a:pt x="0" y="77368"/>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5" name="Freeform 1409">
                  <a:extLst>
                    <a:ext uri="{FF2B5EF4-FFF2-40B4-BE49-F238E27FC236}">
                      <a16:creationId xmlns:a16="http://schemas.microsoft.com/office/drawing/2014/main" id="{C33CA6D7-FD80-454F-8408-7C096132A219}"/>
                    </a:ext>
                  </a:extLst>
                </p:cNvPr>
                <p:cNvSpPr/>
                <p:nvPr/>
              </p:nvSpPr>
              <p:spPr>
                <a:xfrm>
                  <a:off x="7807022" y="3786893"/>
                  <a:ext cx="110535" cy="74590"/>
                </a:xfrm>
                <a:custGeom>
                  <a:avLst/>
                  <a:gdLst>
                    <a:gd name="connsiteX0" fmla="*/ 40254 w 110535"/>
                    <a:gd name="connsiteY0" fmla="*/ 74590 h 74590"/>
                    <a:gd name="connsiteX1" fmla="*/ 38658 w 110535"/>
                    <a:gd name="connsiteY1" fmla="*/ 73477 h 74590"/>
                    <a:gd name="connsiteX2" fmla="*/ 10807 w 110535"/>
                    <a:gd name="connsiteY2" fmla="*/ 11464 h 74590"/>
                    <a:gd name="connsiteX3" fmla="*/ 3554 w 110535"/>
                    <a:gd name="connsiteY3" fmla="*/ 62944 h 74590"/>
                    <a:gd name="connsiteX4" fmla="*/ 0 w 110535"/>
                    <a:gd name="connsiteY4" fmla="*/ 62499 h 74590"/>
                    <a:gd name="connsiteX5" fmla="*/ 7833 w 110535"/>
                    <a:gd name="connsiteY5" fmla="*/ 4714 h 74590"/>
                    <a:gd name="connsiteX6" fmla="*/ 9356 w 110535"/>
                    <a:gd name="connsiteY6" fmla="*/ 3082 h 74590"/>
                    <a:gd name="connsiteX7" fmla="*/ 11242 w 110535"/>
                    <a:gd name="connsiteY7" fmla="*/ 4195 h 74590"/>
                    <a:gd name="connsiteX8" fmla="*/ 39891 w 110535"/>
                    <a:gd name="connsiteY8" fmla="*/ 68062 h 74590"/>
                    <a:gd name="connsiteX9" fmla="*/ 66002 w 110535"/>
                    <a:gd name="connsiteY9" fmla="*/ 1302 h 74590"/>
                    <a:gd name="connsiteX10" fmla="*/ 67235 w 110535"/>
                    <a:gd name="connsiteY10" fmla="*/ 189 h 74590"/>
                    <a:gd name="connsiteX11" fmla="*/ 68831 w 110535"/>
                    <a:gd name="connsiteY11" fmla="*/ 189 h 74590"/>
                    <a:gd name="connsiteX12" fmla="*/ 110536 w 110535"/>
                    <a:gd name="connsiteY12" fmla="*/ 34460 h 74590"/>
                    <a:gd name="connsiteX13" fmla="*/ 108287 w 110535"/>
                    <a:gd name="connsiteY13" fmla="*/ 37353 h 74590"/>
                    <a:gd name="connsiteX14" fmla="*/ 68468 w 110535"/>
                    <a:gd name="connsiteY14" fmla="*/ 4640 h 74590"/>
                    <a:gd name="connsiteX15" fmla="*/ 41705 w 110535"/>
                    <a:gd name="connsiteY15" fmla="*/ 72884 h 74590"/>
                    <a:gd name="connsiteX16" fmla="*/ 40037 w 110535"/>
                    <a:gd name="connsiteY16" fmla="*/ 74071 h 7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535" h="74590">
                      <a:moveTo>
                        <a:pt x="40254" y="74590"/>
                      </a:moveTo>
                      <a:cubicBezTo>
                        <a:pt x="39557" y="74564"/>
                        <a:pt x="38937" y="74131"/>
                        <a:pt x="38658" y="73477"/>
                      </a:cubicBezTo>
                      <a:lnTo>
                        <a:pt x="10807" y="11464"/>
                      </a:lnTo>
                      <a:lnTo>
                        <a:pt x="3554" y="62944"/>
                      </a:lnTo>
                      <a:lnTo>
                        <a:pt x="0" y="62499"/>
                      </a:lnTo>
                      <a:lnTo>
                        <a:pt x="7833" y="4714"/>
                      </a:lnTo>
                      <a:cubicBezTo>
                        <a:pt x="7922" y="3880"/>
                        <a:pt x="8546" y="3211"/>
                        <a:pt x="9356" y="3082"/>
                      </a:cubicBezTo>
                      <a:cubicBezTo>
                        <a:pt x="10152" y="3007"/>
                        <a:pt x="10907" y="3453"/>
                        <a:pt x="11242" y="4195"/>
                      </a:cubicBezTo>
                      <a:lnTo>
                        <a:pt x="39891" y="68062"/>
                      </a:lnTo>
                      <a:lnTo>
                        <a:pt x="66002" y="1302"/>
                      </a:lnTo>
                      <a:cubicBezTo>
                        <a:pt x="66194" y="735"/>
                        <a:pt x="66662" y="313"/>
                        <a:pt x="67235" y="189"/>
                      </a:cubicBezTo>
                      <a:cubicBezTo>
                        <a:pt x="67739" y="-63"/>
                        <a:pt x="68328" y="-63"/>
                        <a:pt x="68831" y="189"/>
                      </a:cubicBezTo>
                      <a:lnTo>
                        <a:pt x="110536" y="34460"/>
                      </a:lnTo>
                      <a:lnTo>
                        <a:pt x="108287" y="37353"/>
                      </a:lnTo>
                      <a:lnTo>
                        <a:pt x="68468" y="4640"/>
                      </a:lnTo>
                      <a:lnTo>
                        <a:pt x="41705" y="72884"/>
                      </a:lnTo>
                      <a:cubicBezTo>
                        <a:pt x="41438" y="73591"/>
                        <a:pt x="40778" y="74061"/>
                        <a:pt x="40037" y="74071"/>
                      </a:cubicBez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6" name="Freeform 1410">
                  <a:extLst>
                    <a:ext uri="{FF2B5EF4-FFF2-40B4-BE49-F238E27FC236}">
                      <a16:creationId xmlns:a16="http://schemas.microsoft.com/office/drawing/2014/main" id="{7658D862-EEE8-45AC-8687-3FC1F40ED3FA}"/>
                    </a:ext>
                  </a:extLst>
                </p:cNvPr>
                <p:cNvSpPr/>
                <p:nvPr/>
              </p:nvSpPr>
              <p:spPr>
                <a:xfrm>
                  <a:off x="7916108" y="3786340"/>
                  <a:ext cx="169430" cy="103998"/>
                </a:xfrm>
                <a:custGeom>
                  <a:avLst/>
                  <a:gdLst>
                    <a:gd name="connsiteX0" fmla="*/ 6890 w 169430"/>
                    <a:gd name="connsiteY0" fmla="*/ 103998 h 103998"/>
                    <a:gd name="connsiteX1" fmla="*/ 0 w 169430"/>
                    <a:gd name="connsiteY1" fmla="*/ 37238 h 103998"/>
                    <a:gd name="connsiteX2" fmla="*/ 82757 w 169430"/>
                    <a:gd name="connsiteY2" fmla="*/ 0 h 103998"/>
                    <a:gd name="connsiteX3" fmla="*/ 103065 w 169430"/>
                    <a:gd name="connsiteY3" fmla="*/ 65648 h 103998"/>
                    <a:gd name="connsiteX4" fmla="*/ 162975 w 169430"/>
                    <a:gd name="connsiteY4" fmla="*/ 93613 h 103998"/>
                    <a:gd name="connsiteX5" fmla="*/ 140346 w 169430"/>
                    <a:gd name="connsiteY5" fmla="*/ 31748 h 103998"/>
                    <a:gd name="connsiteX6" fmla="*/ 143754 w 169430"/>
                    <a:gd name="connsiteY6" fmla="*/ 30413 h 103998"/>
                    <a:gd name="connsiteX7" fmla="*/ 169430 w 169430"/>
                    <a:gd name="connsiteY7" fmla="*/ 100734 h 103998"/>
                    <a:gd name="connsiteX8" fmla="*/ 100091 w 169430"/>
                    <a:gd name="connsiteY8" fmla="*/ 68318 h 103998"/>
                    <a:gd name="connsiteX9" fmla="*/ 80508 w 169430"/>
                    <a:gd name="connsiteY9" fmla="*/ 5044 h 103998"/>
                    <a:gd name="connsiteX10" fmla="*/ 3844 w 169430"/>
                    <a:gd name="connsiteY10" fmla="*/ 39537 h 103998"/>
                    <a:gd name="connsiteX11" fmla="*/ 10517 w 169430"/>
                    <a:gd name="connsiteY11" fmla="*/ 103553 h 103998"/>
                    <a:gd name="connsiteX12" fmla="*/ 6890 w 169430"/>
                    <a:gd name="connsiteY12" fmla="*/ 103998 h 10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430" h="103998">
                      <a:moveTo>
                        <a:pt x="6890" y="103998"/>
                      </a:moveTo>
                      <a:lnTo>
                        <a:pt x="0" y="37238"/>
                      </a:lnTo>
                      <a:lnTo>
                        <a:pt x="82757" y="0"/>
                      </a:lnTo>
                      <a:lnTo>
                        <a:pt x="103065" y="65648"/>
                      </a:lnTo>
                      <a:lnTo>
                        <a:pt x="162975" y="93613"/>
                      </a:lnTo>
                      <a:lnTo>
                        <a:pt x="140346" y="31748"/>
                      </a:lnTo>
                      <a:lnTo>
                        <a:pt x="143754" y="30413"/>
                      </a:lnTo>
                      <a:lnTo>
                        <a:pt x="169430" y="100734"/>
                      </a:lnTo>
                      <a:lnTo>
                        <a:pt x="100091" y="68318"/>
                      </a:lnTo>
                      <a:lnTo>
                        <a:pt x="80508" y="5044"/>
                      </a:lnTo>
                      <a:lnTo>
                        <a:pt x="3844" y="39537"/>
                      </a:lnTo>
                      <a:lnTo>
                        <a:pt x="10517" y="103553"/>
                      </a:lnTo>
                      <a:lnTo>
                        <a:pt x="6890" y="103998"/>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7" name="Freeform 1411">
                  <a:extLst>
                    <a:ext uri="{FF2B5EF4-FFF2-40B4-BE49-F238E27FC236}">
                      <a16:creationId xmlns:a16="http://schemas.microsoft.com/office/drawing/2014/main" id="{A3DBE172-224B-41AC-9A5D-E90E443E20FC}"/>
                    </a:ext>
                  </a:extLst>
                </p:cNvPr>
                <p:cNvSpPr/>
                <p:nvPr/>
              </p:nvSpPr>
              <p:spPr>
                <a:xfrm rot="-161400">
                  <a:off x="7816915" y="3788579"/>
                  <a:ext cx="58169" cy="3708"/>
                </a:xfrm>
                <a:custGeom>
                  <a:avLst/>
                  <a:gdLst>
                    <a:gd name="connsiteX0" fmla="*/ 0 w 58169"/>
                    <a:gd name="connsiteY0" fmla="*/ 0 h 3708"/>
                    <a:gd name="connsiteX1" fmla="*/ 58169 w 58169"/>
                    <a:gd name="connsiteY1" fmla="*/ 0 h 3708"/>
                    <a:gd name="connsiteX2" fmla="*/ 58169 w 58169"/>
                    <a:gd name="connsiteY2" fmla="*/ 3709 h 3708"/>
                    <a:gd name="connsiteX3" fmla="*/ 0 w 58169"/>
                    <a:gd name="connsiteY3" fmla="*/ 3709 h 3708"/>
                  </a:gdLst>
                  <a:ahLst/>
                  <a:cxnLst>
                    <a:cxn ang="0">
                      <a:pos x="connsiteX0" y="connsiteY0"/>
                    </a:cxn>
                    <a:cxn ang="0">
                      <a:pos x="connsiteX1" y="connsiteY1"/>
                    </a:cxn>
                    <a:cxn ang="0">
                      <a:pos x="connsiteX2" y="connsiteY2"/>
                    </a:cxn>
                    <a:cxn ang="0">
                      <a:pos x="connsiteX3" y="connsiteY3"/>
                    </a:cxn>
                  </a:cxnLst>
                  <a:rect l="l" t="t" r="r" b="b"/>
                  <a:pathLst>
                    <a:path w="58169" h="3708">
                      <a:moveTo>
                        <a:pt x="0" y="0"/>
                      </a:moveTo>
                      <a:lnTo>
                        <a:pt x="58169" y="0"/>
                      </a:lnTo>
                      <a:lnTo>
                        <a:pt x="58169" y="3709"/>
                      </a:lnTo>
                      <a:lnTo>
                        <a:pt x="0" y="370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8" name="Freeform 1412">
                  <a:extLst>
                    <a:ext uri="{FF2B5EF4-FFF2-40B4-BE49-F238E27FC236}">
                      <a16:creationId xmlns:a16="http://schemas.microsoft.com/office/drawing/2014/main" id="{0A9F8F9F-8830-481F-8B61-EF516258935C}"/>
                    </a:ext>
                  </a:extLst>
                </p:cNvPr>
                <p:cNvSpPr/>
                <p:nvPr/>
              </p:nvSpPr>
              <p:spPr>
                <a:xfrm>
                  <a:off x="7796070" y="3775510"/>
                  <a:ext cx="22049" cy="18247"/>
                </a:xfrm>
                <a:custGeom>
                  <a:avLst/>
                  <a:gdLst>
                    <a:gd name="connsiteX0" fmla="*/ 19873 w 22049"/>
                    <a:gd name="connsiteY0" fmla="*/ 18248 h 18247"/>
                    <a:gd name="connsiteX1" fmla="*/ 0 w 22049"/>
                    <a:gd name="connsiteY1" fmla="*/ 2967 h 18247"/>
                    <a:gd name="connsiteX2" fmla="*/ 2103 w 22049"/>
                    <a:gd name="connsiteY2" fmla="*/ 0 h 18247"/>
                    <a:gd name="connsiteX3" fmla="*/ 22049 w 22049"/>
                    <a:gd name="connsiteY3" fmla="*/ 15281 h 18247"/>
                    <a:gd name="connsiteX4" fmla="*/ 19873 w 22049"/>
                    <a:gd name="connsiteY4" fmla="*/ 18248 h 18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49" h="18247">
                      <a:moveTo>
                        <a:pt x="19873" y="18248"/>
                      </a:moveTo>
                      <a:lnTo>
                        <a:pt x="0" y="2967"/>
                      </a:lnTo>
                      <a:lnTo>
                        <a:pt x="2103" y="0"/>
                      </a:lnTo>
                      <a:lnTo>
                        <a:pt x="22049" y="15281"/>
                      </a:lnTo>
                      <a:lnTo>
                        <a:pt x="19873" y="18248"/>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89" name="Freeform 1413">
                  <a:extLst>
                    <a:ext uri="{FF2B5EF4-FFF2-40B4-BE49-F238E27FC236}">
                      <a16:creationId xmlns:a16="http://schemas.microsoft.com/office/drawing/2014/main" id="{CB6F5709-F13B-42B8-8D4F-F913C06D0BB8}"/>
                    </a:ext>
                  </a:extLst>
                </p:cNvPr>
                <p:cNvSpPr/>
                <p:nvPr/>
              </p:nvSpPr>
              <p:spPr>
                <a:xfrm>
                  <a:off x="7817104" y="3703186"/>
                  <a:ext cx="60562" cy="90349"/>
                </a:xfrm>
                <a:custGeom>
                  <a:avLst/>
                  <a:gdLst>
                    <a:gd name="connsiteX0" fmla="*/ 60563 w 60562"/>
                    <a:gd name="connsiteY0" fmla="*/ 90349 h 90349"/>
                    <a:gd name="connsiteX1" fmla="*/ 0 w 60562"/>
                    <a:gd name="connsiteY1" fmla="*/ 36199 h 90349"/>
                    <a:gd name="connsiteX2" fmla="*/ 2393 w 60562"/>
                    <a:gd name="connsiteY2" fmla="*/ 33380 h 90349"/>
                    <a:gd name="connsiteX3" fmla="*/ 53527 w 60562"/>
                    <a:gd name="connsiteY3" fmla="*/ 79148 h 90349"/>
                    <a:gd name="connsiteX4" fmla="*/ 30898 w 60562"/>
                    <a:gd name="connsiteY4" fmla="*/ 1039 h 90349"/>
                    <a:gd name="connsiteX5" fmla="*/ 34379 w 60562"/>
                    <a:gd name="connsiteY5" fmla="*/ 0 h 90349"/>
                    <a:gd name="connsiteX6" fmla="*/ 60563 w 60562"/>
                    <a:gd name="connsiteY6" fmla="*/ 90349 h 9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562" h="90349">
                      <a:moveTo>
                        <a:pt x="60563" y="90349"/>
                      </a:moveTo>
                      <a:lnTo>
                        <a:pt x="0" y="36199"/>
                      </a:lnTo>
                      <a:lnTo>
                        <a:pt x="2393" y="33380"/>
                      </a:lnTo>
                      <a:lnTo>
                        <a:pt x="53527" y="79148"/>
                      </a:lnTo>
                      <a:lnTo>
                        <a:pt x="30898" y="1039"/>
                      </a:lnTo>
                      <a:lnTo>
                        <a:pt x="34379" y="0"/>
                      </a:lnTo>
                      <a:lnTo>
                        <a:pt x="60563" y="9034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0" name="Freeform 1414">
                  <a:extLst>
                    <a:ext uri="{FF2B5EF4-FFF2-40B4-BE49-F238E27FC236}">
                      <a16:creationId xmlns:a16="http://schemas.microsoft.com/office/drawing/2014/main" id="{7984E83E-23EA-43BD-A7AB-3A4A22FA33CF}"/>
                    </a:ext>
                  </a:extLst>
                </p:cNvPr>
                <p:cNvSpPr/>
                <p:nvPr/>
              </p:nvSpPr>
              <p:spPr>
                <a:xfrm rot="-4391479">
                  <a:off x="7977820" y="3687446"/>
                  <a:ext cx="3636" cy="58693"/>
                </a:xfrm>
                <a:custGeom>
                  <a:avLst/>
                  <a:gdLst>
                    <a:gd name="connsiteX0" fmla="*/ 0 w 3636"/>
                    <a:gd name="connsiteY0" fmla="*/ 0 h 58693"/>
                    <a:gd name="connsiteX1" fmla="*/ 3637 w 3636"/>
                    <a:gd name="connsiteY1" fmla="*/ 0 h 58693"/>
                    <a:gd name="connsiteX2" fmla="*/ 3637 w 3636"/>
                    <a:gd name="connsiteY2" fmla="*/ 58693 h 58693"/>
                    <a:gd name="connsiteX3" fmla="*/ 0 w 3636"/>
                    <a:gd name="connsiteY3" fmla="*/ 58693 h 58693"/>
                  </a:gdLst>
                  <a:ahLst/>
                  <a:cxnLst>
                    <a:cxn ang="0">
                      <a:pos x="connsiteX0" y="connsiteY0"/>
                    </a:cxn>
                    <a:cxn ang="0">
                      <a:pos x="connsiteX1" y="connsiteY1"/>
                    </a:cxn>
                    <a:cxn ang="0">
                      <a:pos x="connsiteX2" y="connsiteY2"/>
                    </a:cxn>
                    <a:cxn ang="0">
                      <a:pos x="connsiteX3" y="connsiteY3"/>
                    </a:cxn>
                  </a:cxnLst>
                  <a:rect l="l" t="t" r="r" b="b"/>
                  <a:pathLst>
                    <a:path w="3636" h="58693">
                      <a:moveTo>
                        <a:pt x="0" y="0"/>
                      </a:moveTo>
                      <a:lnTo>
                        <a:pt x="3637" y="0"/>
                      </a:lnTo>
                      <a:lnTo>
                        <a:pt x="3637" y="58693"/>
                      </a:lnTo>
                      <a:lnTo>
                        <a:pt x="0" y="58693"/>
                      </a:lnTo>
                      <a:close/>
                    </a:path>
                  </a:pathLst>
                </a:custGeom>
                <a:grpFill/>
                <a:ln w="721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1" name="Freeform 1415">
                  <a:extLst>
                    <a:ext uri="{FF2B5EF4-FFF2-40B4-BE49-F238E27FC236}">
                      <a16:creationId xmlns:a16="http://schemas.microsoft.com/office/drawing/2014/main" id="{C9DB51F8-64EC-493A-B1A5-7EE18905A808}"/>
                    </a:ext>
                  </a:extLst>
                </p:cNvPr>
                <p:cNvSpPr/>
                <p:nvPr/>
              </p:nvSpPr>
              <p:spPr>
                <a:xfrm rot="-1163401">
                  <a:off x="7963597" y="3860854"/>
                  <a:ext cx="55558" cy="3708"/>
                </a:xfrm>
                <a:custGeom>
                  <a:avLst/>
                  <a:gdLst>
                    <a:gd name="connsiteX0" fmla="*/ 0 w 55558"/>
                    <a:gd name="connsiteY0" fmla="*/ 0 h 3708"/>
                    <a:gd name="connsiteX1" fmla="*/ 55558 w 55558"/>
                    <a:gd name="connsiteY1" fmla="*/ 0 h 3708"/>
                    <a:gd name="connsiteX2" fmla="*/ 55558 w 55558"/>
                    <a:gd name="connsiteY2" fmla="*/ 3709 h 3708"/>
                    <a:gd name="connsiteX3" fmla="*/ 0 w 55558"/>
                    <a:gd name="connsiteY3" fmla="*/ 3709 h 3708"/>
                  </a:gdLst>
                  <a:ahLst/>
                  <a:cxnLst>
                    <a:cxn ang="0">
                      <a:pos x="connsiteX0" y="connsiteY0"/>
                    </a:cxn>
                    <a:cxn ang="0">
                      <a:pos x="connsiteX1" y="connsiteY1"/>
                    </a:cxn>
                    <a:cxn ang="0">
                      <a:pos x="connsiteX2" y="connsiteY2"/>
                    </a:cxn>
                    <a:cxn ang="0">
                      <a:pos x="connsiteX3" y="connsiteY3"/>
                    </a:cxn>
                  </a:cxnLst>
                  <a:rect l="l" t="t" r="r" b="b"/>
                  <a:pathLst>
                    <a:path w="55558" h="3708">
                      <a:moveTo>
                        <a:pt x="0" y="0"/>
                      </a:moveTo>
                      <a:lnTo>
                        <a:pt x="55558" y="0"/>
                      </a:lnTo>
                      <a:lnTo>
                        <a:pt x="55558" y="3709"/>
                      </a:lnTo>
                      <a:lnTo>
                        <a:pt x="0" y="370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2" name="Freeform 1416">
                  <a:extLst>
                    <a:ext uri="{FF2B5EF4-FFF2-40B4-BE49-F238E27FC236}">
                      <a16:creationId xmlns:a16="http://schemas.microsoft.com/office/drawing/2014/main" id="{63DF8874-7652-4945-8273-46B00FB1559A}"/>
                    </a:ext>
                  </a:extLst>
                </p:cNvPr>
                <p:cNvSpPr/>
                <p:nvPr/>
              </p:nvSpPr>
              <p:spPr>
                <a:xfrm>
                  <a:off x="7917558" y="3822910"/>
                  <a:ext cx="118731" cy="91016"/>
                </a:xfrm>
                <a:custGeom>
                  <a:avLst/>
                  <a:gdLst>
                    <a:gd name="connsiteX0" fmla="*/ 115178 w 118731"/>
                    <a:gd name="connsiteY0" fmla="*/ 91017 h 91016"/>
                    <a:gd name="connsiteX1" fmla="*/ 98641 w 118731"/>
                    <a:gd name="connsiteY1" fmla="*/ 31897 h 91016"/>
                    <a:gd name="connsiteX2" fmla="*/ 0 w 118731"/>
                    <a:gd name="connsiteY2" fmla="*/ 3561 h 91016"/>
                    <a:gd name="connsiteX3" fmla="*/ 943 w 118731"/>
                    <a:gd name="connsiteY3" fmla="*/ 0 h 91016"/>
                    <a:gd name="connsiteX4" fmla="*/ 101615 w 118731"/>
                    <a:gd name="connsiteY4" fmla="*/ 28930 h 91016"/>
                    <a:gd name="connsiteX5" fmla="*/ 118732 w 118731"/>
                    <a:gd name="connsiteY5" fmla="*/ 89978 h 91016"/>
                    <a:gd name="connsiteX6" fmla="*/ 115178 w 118731"/>
                    <a:gd name="connsiteY6" fmla="*/ 91017 h 9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731" h="91016">
                      <a:moveTo>
                        <a:pt x="115178" y="91017"/>
                      </a:moveTo>
                      <a:lnTo>
                        <a:pt x="98641" y="31897"/>
                      </a:lnTo>
                      <a:lnTo>
                        <a:pt x="0" y="3561"/>
                      </a:lnTo>
                      <a:lnTo>
                        <a:pt x="943" y="0"/>
                      </a:lnTo>
                      <a:lnTo>
                        <a:pt x="101615" y="28930"/>
                      </a:lnTo>
                      <a:lnTo>
                        <a:pt x="118732" y="89978"/>
                      </a:lnTo>
                      <a:lnTo>
                        <a:pt x="115178" y="91017"/>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3" name="Freeform 1417">
                  <a:extLst>
                    <a:ext uri="{FF2B5EF4-FFF2-40B4-BE49-F238E27FC236}">
                      <a16:creationId xmlns:a16="http://schemas.microsoft.com/office/drawing/2014/main" id="{EDF58AA7-86F4-43C5-A738-07A0793D4B1C}"/>
                    </a:ext>
                  </a:extLst>
                </p:cNvPr>
                <p:cNvSpPr/>
                <p:nvPr/>
              </p:nvSpPr>
              <p:spPr>
                <a:xfrm>
                  <a:off x="7914149" y="3744281"/>
                  <a:ext cx="87833" cy="81447"/>
                </a:xfrm>
                <a:custGeom>
                  <a:avLst/>
                  <a:gdLst>
                    <a:gd name="connsiteX0" fmla="*/ 6020 w 87833"/>
                    <a:gd name="connsiteY0" fmla="*/ 81448 h 81447"/>
                    <a:gd name="connsiteX1" fmla="*/ 4569 w 87833"/>
                    <a:gd name="connsiteY1" fmla="*/ 78036 h 81447"/>
                    <a:gd name="connsiteX2" fmla="*/ 79348 w 87833"/>
                    <a:gd name="connsiteY2" fmla="*/ 44433 h 81447"/>
                    <a:gd name="connsiteX3" fmla="*/ 0 w 87833"/>
                    <a:gd name="connsiteY3" fmla="*/ 3264 h 81447"/>
                    <a:gd name="connsiteX4" fmla="*/ 1668 w 87833"/>
                    <a:gd name="connsiteY4" fmla="*/ 0 h 81447"/>
                    <a:gd name="connsiteX5" fmla="*/ 87834 w 87833"/>
                    <a:gd name="connsiteY5" fmla="*/ 44730 h 81447"/>
                    <a:gd name="connsiteX6" fmla="*/ 6020 w 87833"/>
                    <a:gd name="connsiteY6" fmla="*/ 81448 h 81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833" h="81447">
                      <a:moveTo>
                        <a:pt x="6020" y="81448"/>
                      </a:moveTo>
                      <a:lnTo>
                        <a:pt x="4569" y="78036"/>
                      </a:lnTo>
                      <a:lnTo>
                        <a:pt x="79348" y="44433"/>
                      </a:lnTo>
                      <a:lnTo>
                        <a:pt x="0" y="3264"/>
                      </a:lnTo>
                      <a:lnTo>
                        <a:pt x="1668" y="0"/>
                      </a:lnTo>
                      <a:lnTo>
                        <a:pt x="87834" y="44730"/>
                      </a:lnTo>
                      <a:lnTo>
                        <a:pt x="6020" y="81448"/>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4" name="Freeform 1418">
                  <a:extLst>
                    <a:ext uri="{FF2B5EF4-FFF2-40B4-BE49-F238E27FC236}">
                      <a16:creationId xmlns:a16="http://schemas.microsoft.com/office/drawing/2014/main" id="{40CD57B2-159D-40AB-B82E-3D4158E3B5D1}"/>
                    </a:ext>
                  </a:extLst>
                </p:cNvPr>
                <p:cNvSpPr/>
                <p:nvPr/>
              </p:nvSpPr>
              <p:spPr>
                <a:xfrm rot="-4936200">
                  <a:off x="7970723" y="3756280"/>
                  <a:ext cx="62303" cy="3708"/>
                </a:xfrm>
                <a:custGeom>
                  <a:avLst/>
                  <a:gdLst>
                    <a:gd name="connsiteX0" fmla="*/ 0 w 62303"/>
                    <a:gd name="connsiteY0" fmla="*/ 0 h 3708"/>
                    <a:gd name="connsiteX1" fmla="*/ 62303 w 62303"/>
                    <a:gd name="connsiteY1" fmla="*/ 0 h 3708"/>
                    <a:gd name="connsiteX2" fmla="*/ 62303 w 62303"/>
                    <a:gd name="connsiteY2" fmla="*/ 3709 h 3708"/>
                    <a:gd name="connsiteX3" fmla="*/ 0 w 62303"/>
                    <a:gd name="connsiteY3" fmla="*/ 3709 h 3708"/>
                  </a:gdLst>
                  <a:ahLst/>
                  <a:cxnLst>
                    <a:cxn ang="0">
                      <a:pos x="connsiteX0" y="connsiteY0"/>
                    </a:cxn>
                    <a:cxn ang="0">
                      <a:pos x="connsiteX1" y="connsiteY1"/>
                    </a:cxn>
                    <a:cxn ang="0">
                      <a:pos x="connsiteX2" y="connsiteY2"/>
                    </a:cxn>
                    <a:cxn ang="0">
                      <a:pos x="connsiteX3" y="connsiteY3"/>
                    </a:cxn>
                  </a:cxnLst>
                  <a:rect l="l" t="t" r="r" b="b"/>
                  <a:pathLst>
                    <a:path w="62303" h="3708">
                      <a:moveTo>
                        <a:pt x="0" y="0"/>
                      </a:moveTo>
                      <a:lnTo>
                        <a:pt x="62303" y="0"/>
                      </a:lnTo>
                      <a:lnTo>
                        <a:pt x="62303" y="3709"/>
                      </a:lnTo>
                      <a:lnTo>
                        <a:pt x="0" y="370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5" name="Freeform 1419">
                  <a:extLst>
                    <a:ext uri="{FF2B5EF4-FFF2-40B4-BE49-F238E27FC236}">
                      <a16:creationId xmlns:a16="http://schemas.microsoft.com/office/drawing/2014/main" id="{2BB62545-6C7E-4E41-96A1-B4D467FDC594}"/>
                    </a:ext>
                  </a:extLst>
                </p:cNvPr>
                <p:cNvSpPr/>
                <p:nvPr/>
              </p:nvSpPr>
              <p:spPr>
                <a:xfrm rot="-505800">
                  <a:off x="8052960" y="3770722"/>
                  <a:ext cx="3626" cy="47029"/>
                </a:xfrm>
                <a:custGeom>
                  <a:avLst/>
                  <a:gdLst>
                    <a:gd name="connsiteX0" fmla="*/ 0 w 3626"/>
                    <a:gd name="connsiteY0" fmla="*/ 0 h 47029"/>
                    <a:gd name="connsiteX1" fmla="*/ 3627 w 3626"/>
                    <a:gd name="connsiteY1" fmla="*/ 0 h 47029"/>
                    <a:gd name="connsiteX2" fmla="*/ 3627 w 3626"/>
                    <a:gd name="connsiteY2" fmla="*/ 47029 h 47029"/>
                    <a:gd name="connsiteX3" fmla="*/ 0 w 3626"/>
                    <a:gd name="connsiteY3" fmla="*/ 47029 h 47029"/>
                  </a:gdLst>
                  <a:ahLst/>
                  <a:cxnLst>
                    <a:cxn ang="0">
                      <a:pos x="connsiteX0" y="connsiteY0"/>
                    </a:cxn>
                    <a:cxn ang="0">
                      <a:pos x="connsiteX1" y="connsiteY1"/>
                    </a:cxn>
                    <a:cxn ang="0">
                      <a:pos x="connsiteX2" y="connsiteY2"/>
                    </a:cxn>
                    <a:cxn ang="0">
                      <a:pos x="connsiteX3" y="connsiteY3"/>
                    </a:cxn>
                  </a:cxnLst>
                  <a:rect l="l" t="t" r="r" b="b"/>
                  <a:pathLst>
                    <a:path w="3626" h="47029">
                      <a:moveTo>
                        <a:pt x="0" y="0"/>
                      </a:moveTo>
                      <a:lnTo>
                        <a:pt x="3627" y="0"/>
                      </a:lnTo>
                      <a:lnTo>
                        <a:pt x="3627" y="47029"/>
                      </a:lnTo>
                      <a:lnTo>
                        <a:pt x="0" y="47029"/>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596" name="Freeform 1420">
                  <a:extLst>
                    <a:ext uri="{FF2B5EF4-FFF2-40B4-BE49-F238E27FC236}">
                      <a16:creationId xmlns:a16="http://schemas.microsoft.com/office/drawing/2014/main" id="{F57E37DF-3DB7-4A2B-94CD-388343E885CF}"/>
                    </a:ext>
                  </a:extLst>
                </p:cNvPr>
                <p:cNvSpPr/>
                <p:nvPr/>
              </p:nvSpPr>
              <p:spPr>
                <a:xfrm>
                  <a:off x="7996979" y="3787156"/>
                  <a:ext cx="61940" cy="31970"/>
                </a:xfrm>
                <a:custGeom>
                  <a:avLst/>
                  <a:gdLst>
                    <a:gd name="connsiteX0" fmla="*/ 60417 w 61940"/>
                    <a:gd name="connsiteY0" fmla="*/ 31971 h 31970"/>
                    <a:gd name="connsiteX1" fmla="*/ 0 w 61940"/>
                    <a:gd name="connsiteY1" fmla="*/ 3412 h 31970"/>
                    <a:gd name="connsiteX2" fmla="*/ 1523 w 61940"/>
                    <a:gd name="connsiteY2" fmla="*/ 0 h 31970"/>
                    <a:gd name="connsiteX3" fmla="*/ 61941 w 61940"/>
                    <a:gd name="connsiteY3" fmla="*/ 28559 h 31970"/>
                    <a:gd name="connsiteX4" fmla="*/ 60417 w 61940"/>
                    <a:gd name="connsiteY4" fmla="*/ 31971 h 31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40" h="31970">
                      <a:moveTo>
                        <a:pt x="60417" y="31971"/>
                      </a:moveTo>
                      <a:lnTo>
                        <a:pt x="0" y="3412"/>
                      </a:lnTo>
                      <a:lnTo>
                        <a:pt x="1523" y="0"/>
                      </a:lnTo>
                      <a:lnTo>
                        <a:pt x="61941" y="28559"/>
                      </a:lnTo>
                      <a:lnTo>
                        <a:pt x="60417" y="31971"/>
                      </a:lnTo>
                      <a:close/>
                    </a:path>
                  </a:pathLst>
                </a:custGeom>
                <a:grpFill/>
                <a:ln w="719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grpSp>
        <p:grpSp>
          <p:nvGrpSpPr>
            <p:cNvPr id="362" name="Group 361">
              <a:extLst>
                <a:ext uri="{FF2B5EF4-FFF2-40B4-BE49-F238E27FC236}">
                  <a16:creationId xmlns:a16="http://schemas.microsoft.com/office/drawing/2014/main" id="{06BA2C38-49FA-4965-8813-57B5EF9D76C0}"/>
                </a:ext>
              </a:extLst>
            </p:cNvPr>
            <p:cNvGrpSpPr/>
            <p:nvPr/>
          </p:nvGrpSpPr>
          <p:grpSpPr>
            <a:xfrm>
              <a:off x="4503220" y="2642532"/>
              <a:ext cx="1936825" cy="1403162"/>
              <a:chOff x="3947818" y="3010292"/>
              <a:chExt cx="2322756" cy="1682756"/>
            </a:xfrm>
          </p:grpSpPr>
          <p:grpSp>
            <p:nvGrpSpPr>
              <p:cNvPr id="426" name="Group 425">
                <a:extLst>
                  <a:ext uri="{FF2B5EF4-FFF2-40B4-BE49-F238E27FC236}">
                    <a16:creationId xmlns:a16="http://schemas.microsoft.com/office/drawing/2014/main" id="{F859E3BF-6E87-480F-A15A-38716DE726F9}"/>
                  </a:ext>
                </a:extLst>
              </p:cNvPr>
              <p:cNvGrpSpPr>
                <a:grpSpLocks noChangeAspect="1"/>
              </p:cNvGrpSpPr>
              <p:nvPr/>
            </p:nvGrpSpPr>
            <p:grpSpPr>
              <a:xfrm>
                <a:off x="5649342" y="3887135"/>
                <a:ext cx="621232" cy="612000"/>
                <a:chOff x="5464953" y="3819232"/>
                <a:chExt cx="809123" cy="797099"/>
              </a:xfrm>
            </p:grpSpPr>
            <p:pic>
              <p:nvPicPr>
                <p:cNvPr id="447" name="Graphic 446">
                  <a:extLst>
                    <a:ext uri="{FF2B5EF4-FFF2-40B4-BE49-F238E27FC236}">
                      <a16:creationId xmlns:a16="http://schemas.microsoft.com/office/drawing/2014/main" id="{98F63622-5CFE-470B-8BEC-B11D7B8A4AE3}"/>
                    </a:ext>
                  </a:extLst>
                </p:cNvPr>
                <p:cNvPicPr>
                  <a:picLocks/>
                </p:cNvPicPr>
                <p:nvPr/>
              </p:nvPicPr>
              <p:blipFill>
                <a:blip r:embed="rId17">
                  <a:extLst>
                    <a:ext uri="{96DAC541-7B7A-43D3-8B79-37D633B846F1}">
                      <asvg:svgBlip xmlns:asvg="http://schemas.microsoft.com/office/drawing/2016/SVG/main" r:embed="rId18"/>
                    </a:ext>
                  </a:extLst>
                </a:blip>
                <a:stretch>
                  <a:fillRect/>
                </a:stretch>
              </p:blipFill>
              <p:spPr>
                <a:xfrm flipH="1">
                  <a:off x="5613899" y="3998530"/>
                  <a:ext cx="505785" cy="536732"/>
                </a:xfrm>
                <a:prstGeom prst="rect">
                  <a:avLst/>
                </a:prstGeom>
              </p:spPr>
            </p:pic>
            <p:sp>
              <p:nvSpPr>
                <p:cNvPr id="449" name="Oval 448">
                  <a:extLst>
                    <a:ext uri="{FF2B5EF4-FFF2-40B4-BE49-F238E27FC236}">
                      <a16:creationId xmlns:a16="http://schemas.microsoft.com/office/drawing/2014/main" id="{2CC20C37-11CD-43C4-AC22-00204D5FDC24}"/>
                    </a:ext>
                  </a:extLst>
                </p:cNvPr>
                <p:cNvSpPr/>
                <p:nvPr/>
              </p:nvSpPr>
              <p:spPr>
                <a:xfrm>
                  <a:off x="5464953" y="3819232"/>
                  <a:ext cx="809123" cy="797099"/>
                </a:xfrm>
                <a:prstGeom prst="ellipse">
                  <a:avLst/>
                </a:prstGeom>
                <a:noFill/>
                <a:ln w="22225" cap="flat">
                  <a:solidFill>
                    <a:schemeClr val="bg1"/>
                  </a:solidFill>
                  <a:prstDash val="dashDot"/>
                  <a:miter/>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grpSp>
            <p:nvGrpSpPr>
              <p:cNvPr id="427" name="Group 426">
                <a:extLst>
                  <a:ext uri="{FF2B5EF4-FFF2-40B4-BE49-F238E27FC236}">
                    <a16:creationId xmlns:a16="http://schemas.microsoft.com/office/drawing/2014/main" id="{90FD762A-5D67-42F8-8CDA-F9B5C12157F7}"/>
                  </a:ext>
                </a:extLst>
              </p:cNvPr>
              <p:cNvGrpSpPr/>
              <p:nvPr/>
            </p:nvGrpSpPr>
            <p:grpSpPr>
              <a:xfrm>
                <a:off x="3947818" y="3996373"/>
                <a:ext cx="556364" cy="536732"/>
                <a:chOff x="4766002" y="3864832"/>
                <a:chExt cx="556364" cy="536732"/>
              </a:xfrm>
            </p:grpSpPr>
            <p:sp>
              <p:nvSpPr>
                <p:cNvPr id="443" name="Freeform 341">
                  <a:extLst>
                    <a:ext uri="{FF2B5EF4-FFF2-40B4-BE49-F238E27FC236}">
                      <a16:creationId xmlns:a16="http://schemas.microsoft.com/office/drawing/2014/main" id="{62737512-816E-408E-A38D-480DC8384A42}"/>
                    </a:ext>
                  </a:extLst>
                </p:cNvPr>
                <p:cNvSpPr>
                  <a:spLocks noEditPoints="1"/>
                </p:cNvSpPr>
                <p:nvPr/>
              </p:nvSpPr>
              <p:spPr bwMode="auto">
                <a:xfrm>
                  <a:off x="4766002" y="3864832"/>
                  <a:ext cx="556364" cy="536732"/>
                </a:xfrm>
                <a:custGeom>
                  <a:avLst/>
                  <a:gdLst>
                    <a:gd name="T0" fmla="*/ 128 w 256"/>
                    <a:gd name="T1" fmla="*/ 256 h 256"/>
                    <a:gd name="T2" fmla="*/ 125 w 256"/>
                    <a:gd name="T3" fmla="*/ 256 h 256"/>
                    <a:gd name="T4" fmla="*/ 0 w 256"/>
                    <a:gd name="T5" fmla="*/ 64 h 256"/>
                    <a:gd name="T6" fmla="*/ 64 w 256"/>
                    <a:gd name="T7" fmla="*/ 0 h 256"/>
                    <a:gd name="T8" fmla="*/ 128 w 256"/>
                    <a:gd name="T9" fmla="*/ 44 h 256"/>
                    <a:gd name="T10" fmla="*/ 192 w 256"/>
                    <a:gd name="T11" fmla="*/ 0 h 256"/>
                    <a:gd name="T12" fmla="*/ 256 w 256"/>
                    <a:gd name="T13" fmla="*/ 64 h 256"/>
                    <a:gd name="T14" fmla="*/ 130 w 256"/>
                    <a:gd name="T15" fmla="*/ 256 h 256"/>
                    <a:gd name="T16" fmla="*/ 128 w 256"/>
                    <a:gd name="T17" fmla="*/ 256 h 256"/>
                    <a:gd name="T18" fmla="*/ 64 w 256"/>
                    <a:gd name="T19" fmla="*/ 8 h 256"/>
                    <a:gd name="T20" fmla="*/ 8 w 256"/>
                    <a:gd name="T21" fmla="*/ 64 h 256"/>
                    <a:gd name="T22" fmla="*/ 128 w 256"/>
                    <a:gd name="T23" fmla="*/ 248 h 256"/>
                    <a:gd name="T24" fmla="*/ 248 w 256"/>
                    <a:gd name="T25" fmla="*/ 64 h 256"/>
                    <a:gd name="T26" fmla="*/ 192 w 256"/>
                    <a:gd name="T27" fmla="*/ 8 h 256"/>
                    <a:gd name="T28" fmla="*/ 132 w 256"/>
                    <a:gd name="T29" fmla="*/ 64 h 256"/>
                    <a:gd name="T30" fmla="*/ 128 w 256"/>
                    <a:gd name="T31" fmla="*/ 68 h 256"/>
                    <a:gd name="T32" fmla="*/ 124 w 256"/>
                    <a:gd name="T33" fmla="*/ 64 h 256"/>
                    <a:gd name="T34" fmla="*/ 64 w 256"/>
                    <a:gd name="T35" fmla="*/ 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256">
                      <a:moveTo>
                        <a:pt x="128" y="256"/>
                      </a:moveTo>
                      <a:cubicBezTo>
                        <a:pt x="127" y="256"/>
                        <a:pt x="126" y="256"/>
                        <a:pt x="125" y="256"/>
                      </a:cubicBezTo>
                      <a:cubicBezTo>
                        <a:pt x="120" y="252"/>
                        <a:pt x="0" y="165"/>
                        <a:pt x="0" y="64"/>
                      </a:cubicBezTo>
                      <a:cubicBezTo>
                        <a:pt x="0" y="29"/>
                        <a:pt x="28" y="0"/>
                        <a:pt x="64" y="0"/>
                      </a:cubicBezTo>
                      <a:cubicBezTo>
                        <a:pt x="92" y="0"/>
                        <a:pt x="118" y="19"/>
                        <a:pt x="128" y="44"/>
                      </a:cubicBezTo>
                      <a:cubicBezTo>
                        <a:pt x="137" y="19"/>
                        <a:pt x="163" y="0"/>
                        <a:pt x="192" y="0"/>
                      </a:cubicBezTo>
                      <a:cubicBezTo>
                        <a:pt x="227" y="0"/>
                        <a:pt x="256" y="29"/>
                        <a:pt x="256" y="64"/>
                      </a:cubicBezTo>
                      <a:cubicBezTo>
                        <a:pt x="256" y="165"/>
                        <a:pt x="135" y="252"/>
                        <a:pt x="130" y="256"/>
                      </a:cubicBezTo>
                      <a:cubicBezTo>
                        <a:pt x="129" y="256"/>
                        <a:pt x="128" y="256"/>
                        <a:pt x="128" y="256"/>
                      </a:cubicBezTo>
                      <a:close/>
                      <a:moveTo>
                        <a:pt x="64" y="8"/>
                      </a:moveTo>
                      <a:cubicBezTo>
                        <a:pt x="33" y="8"/>
                        <a:pt x="8" y="34"/>
                        <a:pt x="8" y="64"/>
                      </a:cubicBezTo>
                      <a:cubicBezTo>
                        <a:pt x="8" y="154"/>
                        <a:pt x="111" y="235"/>
                        <a:pt x="128" y="248"/>
                      </a:cubicBezTo>
                      <a:cubicBezTo>
                        <a:pt x="144" y="235"/>
                        <a:pt x="248" y="154"/>
                        <a:pt x="248" y="64"/>
                      </a:cubicBezTo>
                      <a:cubicBezTo>
                        <a:pt x="248" y="34"/>
                        <a:pt x="222" y="8"/>
                        <a:pt x="192" y="8"/>
                      </a:cubicBezTo>
                      <a:cubicBezTo>
                        <a:pt x="160" y="8"/>
                        <a:pt x="132" y="35"/>
                        <a:pt x="132" y="64"/>
                      </a:cubicBezTo>
                      <a:cubicBezTo>
                        <a:pt x="132" y="67"/>
                        <a:pt x="130" y="68"/>
                        <a:pt x="128" y="68"/>
                      </a:cubicBezTo>
                      <a:cubicBezTo>
                        <a:pt x="125" y="68"/>
                        <a:pt x="124" y="67"/>
                        <a:pt x="124" y="64"/>
                      </a:cubicBezTo>
                      <a:cubicBezTo>
                        <a:pt x="124" y="35"/>
                        <a:pt x="95" y="8"/>
                        <a:pt x="64" y="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CCCCCC"/>
                    </a:solidFill>
                    <a:effectLst/>
                    <a:uLnTx/>
                    <a:uFillTx/>
                    <a:latin typeface="Nokia Pure Text Light"/>
                    <a:ea typeface="+mn-ea"/>
                    <a:cs typeface="+mn-cs"/>
                  </a:endParaRPr>
                </a:p>
              </p:txBody>
            </p:sp>
            <p:pic>
              <p:nvPicPr>
                <p:cNvPr id="446" name="Graphic 445">
                  <a:extLst>
                    <a:ext uri="{FF2B5EF4-FFF2-40B4-BE49-F238E27FC236}">
                      <a16:creationId xmlns:a16="http://schemas.microsoft.com/office/drawing/2014/main" id="{52B427A8-58BB-4595-938E-029CE409CA3A}"/>
                    </a:ext>
                  </a:extLst>
                </p:cNvPr>
                <p:cNvPicPr>
                  <a:picLocks/>
                </p:cNvPicPr>
                <p:nvPr/>
              </p:nvPicPr>
              <p:blipFill>
                <a:blip r:embed="rId19">
                  <a:extLst>
                    <a:ext uri="{96DAC541-7B7A-43D3-8B79-37D633B846F1}">
                      <asvg:svgBlip xmlns:asvg="http://schemas.microsoft.com/office/drawing/2016/SVG/main" r:embed="rId20"/>
                    </a:ext>
                  </a:extLst>
                </a:blip>
                <a:stretch>
                  <a:fillRect/>
                </a:stretch>
              </p:blipFill>
              <p:spPr>
                <a:xfrm>
                  <a:off x="4855434" y="3991847"/>
                  <a:ext cx="386814" cy="290619"/>
                </a:xfrm>
                <a:prstGeom prst="rect">
                  <a:avLst/>
                </a:prstGeom>
              </p:spPr>
            </p:pic>
          </p:grpSp>
          <p:sp>
            <p:nvSpPr>
              <p:cNvPr id="428" name="Freeform: Shape 427">
                <a:extLst>
                  <a:ext uri="{FF2B5EF4-FFF2-40B4-BE49-F238E27FC236}">
                    <a16:creationId xmlns:a16="http://schemas.microsoft.com/office/drawing/2014/main" id="{8318C1EE-B0A0-4BD3-A9CE-89DB820C48AE}"/>
                  </a:ext>
                </a:extLst>
              </p:cNvPr>
              <p:cNvSpPr/>
              <p:nvPr/>
            </p:nvSpPr>
            <p:spPr>
              <a:xfrm>
                <a:off x="4509159" y="3757048"/>
                <a:ext cx="936000" cy="936000"/>
              </a:xfrm>
              <a:custGeom>
                <a:avLst/>
                <a:gdLst>
                  <a:gd name="connsiteX0" fmla="*/ 0 w 936000"/>
                  <a:gd name="connsiteY0" fmla="*/ 0 h 936000"/>
                  <a:gd name="connsiteX1" fmla="*/ 936000 w 936000"/>
                  <a:gd name="connsiteY1" fmla="*/ 0 h 936000"/>
                  <a:gd name="connsiteX2" fmla="*/ 936000 w 936000"/>
                  <a:gd name="connsiteY2" fmla="*/ 936000 h 936000"/>
                  <a:gd name="connsiteX3" fmla="*/ 0 w 936000"/>
                  <a:gd name="connsiteY3" fmla="*/ 936000 h 936000"/>
                </a:gdLst>
                <a:ahLst/>
                <a:cxnLst>
                  <a:cxn ang="0">
                    <a:pos x="connsiteX0" y="connsiteY0"/>
                  </a:cxn>
                  <a:cxn ang="0">
                    <a:pos x="connsiteX1" y="connsiteY1"/>
                  </a:cxn>
                  <a:cxn ang="0">
                    <a:pos x="connsiteX2" y="connsiteY2"/>
                  </a:cxn>
                  <a:cxn ang="0">
                    <a:pos x="connsiteX3" y="connsiteY3"/>
                  </a:cxn>
                </a:cxnLst>
                <a:rect l="l" t="t" r="r" b="b"/>
                <a:pathLst>
                  <a:path w="936000" h="936000">
                    <a:moveTo>
                      <a:pt x="0" y="0"/>
                    </a:moveTo>
                    <a:lnTo>
                      <a:pt x="936000" y="0"/>
                    </a:lnTo>
                    <a:lnTo>
                      <a:pt x="936000" y="936000"/>
                    </a:lnTo>
                    <a:lnTo>
                      <a:pt x="0" y="936000"/>
                    </a:lnTo>
                    <a:close/>
                  </a:path>
                </a:pathLst>
              </a:custGeom>
              <a:noFill/>
              <a:ln w="222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30" name="Freeform: Shape 429">
                <a:extLst>
                  <a:ext uri="{FF2B5EF4-FFF2-40B4-BE49-F238E27FC236}">
                    <a16:creationId xmlns:a16="http://schemas.microsoft.com/office/drawing/2014/main" id="{871F6AE1-64FC-49F5-A7EE-494B2E18569C}"/>
                  </a:ext>
                </a:extLst>
              </p:cNvPr>
              <p:cNvSpPr/>
              <p:nvPr/>
            </p:nvSpPr>
            <p:spPr>
              <a:xfrm>
                <a:off x="4806556" y="3954807"/>
                <a:ext cx="546000" cy="499200"/>
              </a:xfrm>
              <a:custGeom>
                <a:avLst/>
                <a:gdLst>
                  <a:gd name="connsiteX0" fmla="*/ 372060 w 546000"/>
                  <a:gd name="connsiteY0" fmla="*/ 413400 h 499200"/>
                  <a:gd name="connsiteX1" fmla="*/ 264420 w 546000"/>
                  <a:gd name="connsiteY1" fmla="*/ 413400 h 499200"/>
                  <a:gd name="connsiteX2" fmla="*/ 49140 w 546000"/>
                  <a:gd name="connsiteY2" fmla="*/ 413400 h 499200"/>
                  <a:gd name="connsiteX3" fmla="*/ 0 w 546000"/>
                  <a:gd name="connsiteY3" fmla="*/ 413400 h 499200"/>
                  <a:gd name="connsiteX4" fmla="*/ 0 w 546000"/>
                  <a:gd name="connsiteY4" fmla="*/ 358800 h 499200"/>
                  <a:gd name="connsiteX5" fmla="*/ 25740 w 546000"/>
                  <a:gd name="connsiteY5" fmla="*/ 251940 h 499200"/>
                  <a:gd name="connsiteX6" fmla="*/ 99060 w 546000"/>
                  <a:gd name="connsiteY6" fmla="*/ 170040 h 499200"/>
                  <a:gd name="connsiteX7" fmla="*/ 192660 w 546000"/>
                  <a:gd name="connsiteY7" fmla="*/ 134940 h 499200"/>
                  <a:gd name="connsiteX8" fmla="*/ 443820 w 546000"/>
                  <a:gd name="connsiteY8" fmla="*/ 252720 h 499200"/>
                  <a:gd name="connsiteX9" fmla="*/ 516360 w 546000"/>
                  <a:gd name="connsiteY9" fmla="*/ 289380 h 499200"/>
                  <a:gd name="connsiteX10" fmla="*/ 546000 w 546000"/>
                  <a:gd name="connsiteY10" fmla="*/ 365040 h 499200"/>
                  <a:gd name="connsiteX11" fmla="*/ 546000 w 546000"/>
                  <a:gd name="connsiteY11" fmla="*/ 413400 h 499200"/>
                  <a:gd name="connsiteX12" fmla="*/ 496080 w 546000"/>
                  <a:gd name="connsiteY12" fmla="*/ 413400 h 499200"/>
                  <a:gd name="connsiteX13" fmla="*/ 347100 w 546000"/>
                  <a:gd name="connsiteY13" fmla="*/ 273000 h 499200"/>
                  <a:gd name="connsiteX14" fmla="*/ 36660 w 546000"/>
                  <a:gd name="connsiteY14" fmla="*/ 273000 h 499200"/>
                  <a:gd name="connsiteX15" fmla="*/ 273000 w 546000"/>
                  <a:gd name="connsiteY15" fmla="*/ 0 h 499200"/>
                  <a:gd name="connsiteX16" fmla="*/ 273000 w 546000"/>
                  <a:gd name="connsiteY16" fmla="*/ 124020 h 499200"/>
                  <a:gd name="connsiteX17" fmla="*/ 434460 w 546000"/>
                  <a:gd name="connsiteY17" fmla="*/ 499200 h 499200"/>
                  <a:gd name="connsiteX18" fmla="*/ 400140 w 546000"/>
                  <a:gd name="connsiteY18" fmla="*/ 489060 h 499200"/>
                  <a:gd name="connsiteX19" fmla="*/ 376740 w 546000"/>
                  <a:gd name="connsiteY19" fmla="*/ 460980 h 499200"/>
                  <a:gd name="connsiteX20" fmla="*/ 372840 w 546000"/>
                  <a:gd name="connsiteY20" fmla="*/ 425100 h 499200"/>
                  <a:gd name="connsiteX21" fmla="*/ 390000 w 546000"/>
                  <a:gd name="connsiteY21" fmla="*/ 393120 h 499200"/>
                  <a:gd name="connsiteX22" fmla="*/ 421980 w 546000"/>
                  <a:gd name="connsiteY22" fmla="*/ 375960 h 499200"/>
                  <a:gd name="connsiteX23" fmla="*/ 457860 w 546000"/>
                  <a:gd name="connsiteY23" fmla="*/ 379080 h 499200"/>
                  <a:gd name="connsiteX24" fmla="*/ 485940 w 546000"/>
                  <a:gd name="connsiteY24" fmla="*/ 401700 h 499200"/>
                  <a:gd name="connsiteX25" fmla="*/ 496080 w 546000"/>
                  <a:gd name="connsiteY25" fmla="*/ 436020 h 499200"/>
                  <a:gd name="connsiteX26" fmla="*/ 478140 w 546000"/>
                  <a:gd name="connsiteY26" fmla="*/ 479700 h 499200"/>
                  <a:gd name="connsiteX27" fmla="*/ 434460 w 546000"/>
                  <a:gd name="connsiteY27" fmla="*/ 499200 h 499200"/>
                  <a:gd name="connsiteX28" fmla="*/ 106860 w 546000"/>
                  <a:gd name="connsiteY28" fmla="*/ 499200 h 499200"/>
                  <a:gd name="connsiteX29" fmla="*/ 72540 w 546000"/>
                  <a:gd name="connsiteY29" fmla="*/ 489060 h 499200"/>
                  <a:gd name="connsiteX30" fmla="*/ 49140 w 546000"/>
                  <a:gd name="connsiteY30" fmla="*/ 460980 h 499200"/>
                  <a:gd name="connsiteX31" fmla="*/ 45240 w 546000"/>
                  <a:gd name="connsiteY31" fmla="*/ 425100 h 499200"/>
                  <a:gd name="connsiteX32" fmla="*/ 62400 w 546000"/>
                  <a:gd name="connsiteY32" fmla="*/ 393120 h 499200"/>
                  <a:gd name="connsiteX33" fmla="*/ 94380 w 546000"/>
                  <a:gd name="connsiteY33" fmla="*/ 375960 h 499200"/>
                  <a:gd name="connsiteX34" fmla="*/ 130260 w 546000"/>
                  <a:gd name="connsiteY34" fmla="*/ 379080 h 499200"/>
                  <a:gd name="connsiteX35" fmla="*/ 158340 w 546000"/>
                  <a:gd name="connsiteY35" fmla="*/ 401700 h 499200"/>
                  <a:gd name="connsiteX36" fmla="*/ 168480 w 546000"/>
                  <a:gd name="connsiteY36" fmla="*/ 436020 h 499200"/>
                  <a:gd name="connsiteX37" fmla="*/ 163800 w 546000"/>
                  <a:gd name="connsiteY37" fmla="*/ 460200 h 499200"/>
                  <a:gd name="connsiteX38" fmla="*/ 150540 w 546000"/>
                  <a:gd name="connsiteY38" fmla="*/ 480480 h 499200"/>
                  <a:gd name="connsiteX39" fmla="*/ 130260 w 546000"/>
                  <a:gd name="connsiteY39" fmla="*/ 493740 h 499200"/>
                  <a:gd name="connsiteX40" fmla="*/ 106860 w 546000"/>
                  <a:gd name="connsiteY40" fmla="*/ 499200 h 499200"/>
                  <a:gd name="connsiteX41" fmla="*/ 106860 w 546000"/>
                  <a:gd name="connsiteY41" fmla="*/ 499200 h 4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46000" h="499200">
                    <a:moveTo>
                      <a:pt x="372060" y="413400"/>
                    </a:moveTo>
                    <a:lnTo>
                      <a:pt x="264420" y="413400"/>
                    </a:lnTo>
                    <a:moveTo>
                      <a:pt x="49140" y="413400"/>
                    </a:moveTo>
                    <a:lnTo>
                      <a:pt x="0" y="413400"/>
                    </a:lnTo>
                    <a:lnTo>
                      <a:pt x="0" y="358800"/>
                    </a:lnTo>
                    <a:cubicBezTo>
                      <a:pt x="0" y="321360"/>
                      <a:pt x="8580" y="284700"/>
                      <a:pt x="25740" y="251940"/>
                    </a:cubicBezTo>
                    <a:cubicBezTo>
                      <a:pt x="42900" y="219180"/>
                      <a:pt x="67860" y="191100"/>
                      <a:pt x="99060" y="170040"/>
                    </a:cubicBezTo>
                    <a:cubicBezTo>
                      <a:pt x="127140" y="150540"/>
                      <a:pt x="159120" y="138840"/>
                      <a:pt x="192660" y="134940"/>
                    </a:cubicBezTo>
                    <a:cubicBezTo>
                      <a:pt x="268320" y="126360"/>
                      <a:pt x="397800" y="131820"/>
                      <a:pt x="443820" y="252720"/>
                    </a:cubicBezTo>
                    <a:cubicBezTo>
                      <a:pt x="471900" y="255840"/>
                      <a:pt x="497640" y="268320"/>
                      <a:pt x="516360" y="289380"/>
                    </a:cubicBezTo>
                    <a:cubicBezTo>
                      <a:pt x="535080" y="310440"/>
                      <a:pt x="546000" y="336960"/>
                      <a:pt x="546000" y="365040"/>
                    </a:cubicBezTo>
                    <a:lnTo>
                      <a:pt x="546000" y="413400"/>
                    </a:lnTo>
                    <a:lnTo>
                      <a:pt x="496080" y="413400"/>
                    </a:lnTo>
                    <a:moveTo>
                      <a:pt x="347100" y="273000"/>
                    </a:moveTo>
                    <a:lnTo>
                      <a:pt x="36660" y="273000"/>
                    </a:lnTo>
                    <a:moveTo>
                      <a:pt x="273000" y="0"/>
                    </a:moveTo>
                    <a:lnTo>
                      <a:pt x="273000" y="124020"/>
                    </a:lnTo>
                    <a:moveTo>
                      <a:pt x="434460" y="499200"/>
                    </a:moveTo>
                    <a:cubicBezTo>
                      <a:pt x="421980" y="499200"/>
                      <a:pt x="410280" y="495300"/>
                      <a:pt x="400140" y="489060"/>
                    </a:cubicBezTo>
                    <a:cubicBezTo>
                      <a:pt x="390000" y="482040"/>
                      <a:pt x="382200" y="472680"/>
                      <a:pt x="376740" y="460980"/>
                    </a:cubicBezTo>
                    <a:cubicBezTo>
                      <a:pt x="372060" y="449280"/>
                      <a:pt x="370500" y="436800"/>
                      <a:pt x="372840" y="425100"/>
                    </a:cubicBezTo>
                    <a:cubicBezTo>
                      <a:pt x="375180" y="412620"/>
                      <a:pt x="381420" y="401700"/>
                      <a:pt x="390000" y="393120"/>
                    </a:cubicBezTo>
                    <a:cubicBezTo>
                      <a:pt x="398580" y="384540"/>
                      <a:pt x="409500" y="378300"/>
                      <a:pt x="421980" y="375960"/>
                    </a:cubicBezTo>
                    <a:cubicBezTo>
                      <a:pt x="433680" y="373620"/>
                      <a:pt x="446940" y="374400"/>
                      <a:pt x="457860" y="379080"/>
                    </a:cubicBezTo>
                    <a:cubicBezTo>
                      <a:pt x="469560" y="383760"/>
                      <a:pt x="478920" y="391560"/>
                      <a:pt x="485940" y="401700"/>
                    </a:cubicBezTo>
                    <a:cubicBezTo>
                      <a:pt x="492960" y="411840"/>
                      <a:pt x="496080" y="424320"/>
                      <a:pt x="496080" y="436020"/>
                    </a:cubicBezTo>
                    <a:cubicBezTo>
                      <a:pt x="496080" y="452400"/>
                      <a:pt x="489840" y="468000"/>
                      <a:pt x="478140" y="479700"/>
                    </a:cubicBezTo>
                    <a:cubicBezTo>
                      <a:pt x="466440" y="492180"/>
                      <a:pt x="450840" y="499200"/>
                      <a:pt x="434460" y="499200"/>
                    </a:cubicBezTo>
                    <a:close/>
                    <a:moveTo>
                      <a:pt x="106860" y="499200"/>
                    </a:moveTo>
                    <a:cubicBezTo>
                      <a:pt x="94380" y="499200"/>
                      <a:pt x="82680" y="495300"/>
                      <a:pt x="72540" y="489060"/>
                    </a:cubicBezTo>
                    <a:cubicBezTo>
                      <a:pt x="62400" y="482040"/>
                      <a:pt x="54600" y="472680"/>
                      <a:pt x="49140" y="460980"/>
                    </a:cubicBezTo>
                    <a:cubicBezTo>
                      <a:pt x="44460" y="449280"/>
                      <a:pt x="42900" y="436800"/>
                      <a:pt x="45240" y="425100"/>
                    </a:cubicBezTo>
                    <a:cubicBezTo>
                      <a:pt x="47580" y="412620"/>
                      <a:pt x="53820" y="401700"/>
                      <a:pt x="62400" y="393120"/>
                    </a:cubicBezTo>
                    <a:cubicBezTo>
                      <a:pt x="70980" y="384540"/>
                      <a:pt x="81900" y="378300"/>
                      <a:pt x="94380" y="375960"/>
                    </a:cubicBezTo>
                    <a:cubicBezTo>
                      <a:pt x="106080" y="373620"/>
                      <a:pt x="119340" y="374400"/>
                      <a:pt x="130260" y="379080"/>
                    </a:cubicBezTo>
                    <a:cubicBezTo>
                      <a:pt x="141960" y="383760"/>
                      <a:pt x="151320" y="391560"/>
                      <a:pt x="158340" y="401700"/>
                    </a:cubicBezTo>
                    <a:cubicBezTo>
                      <a:pt x="165360" y="411840"/>
                      <a:pt x="168480" y="424320"/>
                      <a:pt x="168480" y="436020"/>
                    </a:cubicBezTo>
                    <a:cubicBezTo>
                      <a:pt x="168480" y="443820"/>
                      <a:pt x="166920" y="452400"/>
                      <a:pt x="163800" y="460200"/>
                    </a:cubicBezTo>
                    <a:cubicBezTo>
                      <a:pt x="160680" y="468000"/>
                      <a:pt x="156000" y="475020"/>
                      <a:pt x="150540" y="480480"/>
                    </a:cubicBezTo>
                    <a:cubicBezTo>
                      <a:pt x="145080" y="485940"/>
                      <a:pt x="138060" y="490620"/>
                      <a:pt x="130260" y="493740"/>
                    </a:cubicBezTo>
                    <a:cubicBezTo>
                      <a:pt x="122460" y="497640"/>
                      <a:pt x="114660" y="499200"/>
                      <a:pt x="106860" y="499200"/>
                    </a:cubicBezTo>
                    <a:lnTo>
                      <a:pt x="106860" y="499200"/>
                    </a:lnTo>
                    <a:close/>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pic>
            <p:nvPicPr>
              <p:cNvPr id="431" name="Graphic 430">
                <a:extLst>
                  <a:ext uri="{FF2B5EF4-FFF2-40B4-BE49-F238E27FC236}">
                    <a16:creationId xmlns:a16="http://schemas.microsoft.com/office/drawing/2014/main" id="{1AFC9AD4-AC74-496F-A09B-1549E7A9370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401473" y="3037432"/>
                <a:ext cx="630002" cy="630002"/>
              </a:xfrm>
              <a:prstGeom prst="rect">
                <a:avLst/>
              </a:prstGeom>
            </p:spPr>
          </p:pic>
          <p:sp>
            <p:nvSpPr>
              <p:cNvPr id="432" name="Freeform: Shape 431">
                <a:extLst>
                  <a:ext uri="{FF2B5EF4-FFF2-40B4-BE49-F238E27FC236}">
                    <a16:creationId xmlns:a16="http://schemas.microsoft.com/office/drawing/2014/main" id="{F443EA66-9847-47C1-93A9-2C69F01D80B9}"/>
                  </a:ext>
                </a:extLst>
              </p:cNvPr>
              <p:cNvSpPr/>
              <p:nvPr/>
            </p:nvSpPr>
            <p:spPr>
              <a:xfrm>
                <a:off x="5261269" y="3010292"/>
                <a:ext cx="662392" cy="675239"/>
              </a:xfrm>
              <a:custGeom>
                <a:avLst/>
                <a:gdLst>
                  <a:gd name="connsiteX0" fmla="*/ 0 w 608964"/>
                  <a:gd name="connsiteY0" fmla="*/ 0 h 608964"/>
                  <a:gd name="connsiteX1" fmla="*/ 608964 w 608964"/>
                  <a:gd name="connsiteY1" fmla="*/ 0 h 608964"/>
                  <a:gd name="connsiteX2" fmla="*/ 608964 w 608964"/>
                  <a:gd name="connsiteY2" fmla="*/ 608964 h 608964"/>
                  <a:gd name="connsiteX3" fmla="*/ 0 w 608964"/>
                  <a:gd name="connsiteY3" fmla="*/ 608964 h 608964"/>
                </a:gdLst>
                <a:ahLst/>
                <a:cxnLst>
                  <a:cxn ang="0">
                    <a:pos x="connsiteX0" y="connsiteY0"/>
                  </a:cxn>
                  <a:cxn ang="0">
                    <a:pos x="connsiteX1" y="connsiteY1"/>
                  </a:cxn>
                  <a:cxn ang="0">
                    <a:pos x="connsiteX2" y="connsiteY2"/>
                  </a:cxn>
                  <a:cxn ang="0">
                    <a:pos x="connsiteX3" y="connsiteY3"/>
                  </a:cxn>
                </a:cxnLst>
                <a:rect l="l" t="t" r="r" b="b"/>
                <a:pathLst>
                  <a:path w="608964" h="608964">
                    <a:moveTo>
                      <a:pt x="0" y="0"/>
                    </a:moveTo>
                    <a:lnTo>
                      <a:pt x="608964" y="0"/>
                    </a:lnTo>
                    <a:lnTo>
                      <a:pt x="608964" y="608964"/>
                    </a:lnTo>
                    <a:lnTo>
                      <a:pt x="0" y="608964"/>
                    </a:lnTo>
                    <a:close/>
                  </a:path>
                </a:pathLst>
              </a:custGeom>
              <a:noFill/>
              <a:ln w="5001"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nvGrpSpPr>
              <p:cNvPr id="434" name="Graphic 243">
                <a:extLst>
                  <a:ext uri="{FF2B5EF4-FFF2-40B4-BE49-F238E27FC236}">
                    <a16:creationId xmlns:a16="http://schemas.microsoft.com/office/drawing/2014/main" id="{85148B81-7096-4436-BFC2-E8BBDBC9AE93}"/>
                  </a:ext>
                </a:extLst>
              </p:cNvPr>
              <p:cNvGrpSpPr/>
              <p:nvPr/>
            </p:nvGrpSpPr>
            <p:grpSpPr>
              <a:xfrm>
                <a:off x="5409755" y="3122812"/>
                <a:ext cx="365419" cy="450741"/>
                <a:chOff x="5542493" y="3156296"/>
                <a:chExt cx="335945" cy="406501"/>
              </a:xfrm>
            </p:grpSpPr>
            <p:sp>
              <p:nvSpPr>
                <p:cNvPr id="435" name="Freeform: Shape 434">
                  <a:extLst>
                    <a:ext uri="{FF2B5EF4-FFF2-40B4-BE49-F238E27FC236}">
                      <a16:creationId xmlns:a16="http://schemas.microsoft.com/office/drawing/2014/main" id="{F07CD39A-DB30-4160-8DCA-4050B146DAF4}"/>
                    </a:ext>
                  </a:extLst>
                </p:cNvPr>
                <p:cNvSpPr/>
                <p:nvPr/>
              </p:nvSpPr>
              <p:spPr>
                <a:xfrm>
                  <a:off x="5612524" y="3301450"/>
                  <a:ext cx="30448" cy="30448"/>
                </a:xfrm>
                <a:custGeom>
                  <a:avLst/>
                  <a:gdLst>
                    <a:gd name="connsiteX0" fmla="*/ 30448 w 30448"/>
                    <a:gd name="connsiteY0" fmla="*/ 15224 h 30448"/>
                    <a:gd name="connsiteX1" fmla="*/ 15224 w 30448"/>
                    <a:gd name="connsiteY1" fmla="*/ 30448 h 30448"/>
                    <a:gd name="connsiteX2" fmla="*/ 0 w 30448"/>
                    <a:gd name="connsiteY2" fmla="*/ 15224 h 30448"/>
                    <a:gd name="connsiteX3" fmla="*/ 15224 w 30448"/>
                    <a:gd name="connsiteY3" fmla="*/ 0 h 30448"/>
                    <a:gd name="connsiteX4" fmla="*/ 30448 w 30448"/>
                    <a:gd name="connsiteY4" fmla="*/ 15224 h 30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48" h="30448">
                      <a:moveTo>
                        <a:pt x="30448" y="15224"/>
                      </a:moveTo>
                      <a:cubicBezTo>
                        <a:pt x="30448" y="23632"/>
                        <a:pt x="23632" y="30448"/>
                        <a:pt x="15224" y="30448"/>
                      </a:cubicBezTo>
                      <a:cubicBezTo>
                        <a:pt x="6816" y="30448"/>
                        <a:pt x="0" y="23632"/>
                        <a:pt x="0" y="15224"/>
                      </a:cubicBezTo>
                      <a:cubicBezTo>
                        <a:pt x="0" y="6816"/>
                        <a:pt x="6816" y="0"/>
                        <a:pt x="15224" y="0"/>
                      </a:cubicBezTo>
                      <a:cubicBezTo>
                        <a:pt x="23632" y="0"/>
                        <a:pt x="30448" y="6816"/>
                        <a:pt x="30448" y="15224"/>
                      </a:cubicBezTo>
                      <a:close/>
                    </a:path>
                  </a:pathLst>
                </a:custGeom>
                <a:solidFill>
                  <a:srgbClr val="001135"/>
                </a:solid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nvGrpSpPr>
                <p:cNvPr id="436" name="Graphic 243">
                  <a:extLst>
                    <a:ext uri="{FF2B5EF4-FFF2-40B4-BE49-F238E27FC236}">
                      <a16:creationId xmlns:a16="http://schemas.microsoft.com/office/drawing/2014/main" id="{7A31F254-A300-4321-B00B-0313D2DCBEC7}"/>
                    </a:ext>
                  </a:extLst>
                </p:cNvPr>
                <p:cNvGrpSpPr/>
                <p:nvPr/>
              </p:nvGrpSpPr>
              <p:grpSpPr>
                <a:xfrm>
                  <a:off x="5542493" y="3156296"/>
                  <a:ext cx="335945" cy="406501"/>
                  <a:chOff x="5542493" y="3156296"/>
                  <a:chExt cx="335945" cy="406501"/>
                </a:xfrm>
                <a:noFill/>
              </p:grpSpPr>
              <p:sp>
                <p:nvSpPr>
                  <p:cNvPr id="437" name="Freeform: Shape 436">
                    <a:extLst>
                      <a:ext uri="{FF2B5EF4-FFF2-40B4-BE49-F238E27FC236}">
                        <a16:creationId xmlns:a16="http://schemas.microsoft.com/office/drawing/2014/main" id="{E0649048-03BC-4097-B587-0EBF5B0C097D}"/>
                      </a:ext>
                    </a:extLst>
                  </p:cNvPr>
                  <p:cNvSpPr/>
                  <p:nvPr/>
                </p:nvSpPr>
                <p:spPr>
                  <a:xfrm>
                    <a:off x="5694226" y="3156298"/>
                    <a:ext cx="184211" cy="406498"/>
                  </a:xfrm>
                  <a:custGeom>
                    <a:avLst/>
                    <a:gdLst>
                      <a:gd name="connsiteX0" fmla="*/ 92360 w 184211"/>
                      <a:gd name="connsiteY0" fmla="*/ 523 h 406498"/>
                      <a:gd name="connsiteX1" fmla="*/ 164928 w 184211"/>
                      <a:gd name="connsiteY1" fmla="*/ 20821 h 406498"/>
                      <a:gd name="connsiteX2" fmla="*/ 173555 w 184211"/>
                      <a:gd name="connsiteY2" fmla="*/ 34523 h 406498"/>
                      <a:gd name="connsiteX3" fmla="*/ 160868 w 184211"/>
                      <a:gd name="connsiteY3" fmla="*/ 117748 h 406498"/>
                      <a:gd name="connsiteX4" fmla="*/ 179644 w 184211"/>
                      <a:gd name="connsiteY4" fmla="*/ 185242 h 406498"/>
                      <a:gd name="connsiteX5" fmla="*/ 179644 w 184211"/>
                      <a:gd name="connsiteY5" fmla="*/ 185242 h 406498"/>
                      <a:gd name="connsiteX6" fmla="*/ 184212 w 184211"/>
                      <a:gd name="connsiteY6" fmla="*/ 197421 h 406498"/>
                      <a:gd name="connsiteX7" fmla="*/ 184212 w 184211"/>
                      <a:gd name="connsiteY7" fmla="*/ 394319 h 406498"/>
                      <a:gd name="connsiteX8" fmla="*/ 172032 w 184211"/>
                      <a:gd name="connsiteY8" fmla="*/ 406499 h 406498"/>
                      <a:gd name="connsiteX9" fmla="*/ 12179 w 184211"/>
                      <a:gd name="connsiteY9" fmla="*/ 406499 h 406498"/>
                      <a:gd name="connsiteX10" fmla="*/ 0 w 184211"/>
                      <a:gd name="connsiteY10" fmla="*/ 394319 h 406498"/>
                      <a:gd name="connsiteX11" fmla="*/ 0 w 184211"/>
                      <a:gd name="connsiteY11" fmla="*/ 211630 h 406498"/>
                      <a:gd name="connsiteX12" fmla="*/ 3552 w 184211"/>
                      <a:gd name="connsiteY12" fmla="*/ 199451 h 406498"/>
                      <a:gd name="connsiteX13" fmla="*/ 24866 w 184211"/>
                      <a:gd name="connsiteY13" fmla="*/ 162913 h 406498"/>
                      <a:gd name="connsiteX14" fmla="*/ 61404 w 184211"/>
                      <a:gd name="connsiteY14" fmla="*/ 74106 h 406498"/>
                      <a:gd name="connsiteX15" fmla="*/ 77643 w 184211"/>
                      <a:gd name="connsiteY15" fmla="*/ 9657 h 406498"/>
                      <a:gd name="connsiteX16" fmla="*/ 92360 w 184211"/>
                      <a:gd name="connsiteY16" fmla="*/ 523 h 40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211" h="406498">
                        <a:moveTo>
                          <a:pt x="92360" y="523"/>
                        </a:moveTo>
                        <a:lnTo>
                          <a:pt x="164928" y="20821"/>
                        </a:lnTo>
                        <a:cubicBezTo>
                          <a:pt x="171017" y="22344"/>
                          <a:pt x="174570" y="28433"/>
                          <a:pt x="173555" y="34523"/>
                        </a:cubicBezTo>
                        <a:lnTo>
                          <a:pt x="160868" y="117748"/>
                        </a:lnTo>
                        <a:cubicBezTo>
                          <a:pt x="157316" y="141599"/>
                          <a:pt x="163913" y="166465"/>
                          <a:pt x="179644" y="185242"/>
                        </a:cubicBezTo>
                        <a:lnTo>
                          <a:pt x="179644" y="185242"/>
                        </a:lnTo>
                        <a:cubicBezTo>
                          <a:pt x="182689" y="188794"/>
                          <a:pt x="184212" y="192854"/>
                          <a:pt x="184212" y="197421"/>
                        </a:cubicBezTo>
                        <a:lnTo>
                          <a:pt x="184212" y="394319"/>
                        </a:lnTo>
                        <a:cubicBezTo>
                          <a:pt x="184212" y="400916"/>
                          <a:pt x="178629" y="406499"/>
                          <a:pt x="172032" y="406499"/>
                        </a:cubicBezTo>
                        <a:lnTo>
                          <a:pt x="12179" y="406499"/>
                        </a:lnTo>
                        <a:cubicBezTo>
                          <a:pt x="5582" y="406499"/>
                          <a:pt x="0" y="400916"/>
                          <a:pt x="0" y="394319"/>
                        </a:cubicBezTo>
                        <a:lnTo>
                          <a:pt x="0" y="211630"/>
                        </a:lnTo>
                        <a:cubicBezTo>
                          <a:pt x="0" y="207063"/>
                          <a:pt x="1015" y="203003"/>
                          <a:pt x="3552" y="199451"/>
                        </a:cubicBezTo>
                        <a:lnTo>
                          <a:pt x="24866" y="162913"/>
                        </a:lnTo>
                        <a:cubicBezTo>
                          <a:pt x="41105" y="135002"/>
                          <a:pt x="53284" y="105061"/>
                          <a:pt x="61404" y="74106"/>
                        </a:cubicBezTo>
                        <a:lnTo>
                          <a:pt x="77643" y="9657"/>
                        </a:lnTo>
                        <a:cubicBezTo>
                          <a:pt x="79165" y="2552"/>
                          <a:pt x="85762" y="-1507"/>
                          <a:pt x="92360" y="523"/>
                        </a:cubicBezTo>
                        <a:close/>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38" name="Freeform: Shape 437">
                    <a:extLst>
                      <a:ext uri="{FF2B5EF4-FFF2-40B4-BE49-F238E27FC236}">
                        <a16:creationId xmlns:a16="http://schemas.microsoft.com/office/drawing/2014/main" id="{28616576-B1BF-47F4-8038-392A52A357E5}"/>
                      </a:ext>
                    </a:extLst>
                  </p:cNvPr>
                  <p:cNvSpPr/>
                  <p:nvPr/>
                </p:nvSpPr>
                <p:spPr>
                  <a:xfrm>
                    <a:off x="5542493" y="3156296"/>
                    <a:ext cx="171524" cy="406501"/>
                  </a:xfrm>
                  <a:custGeom>
                    <a:avLst/>
                    <a:gdLst>
                      <a:gd name="connsiteX0" fmla="*/ 167973 w 171524"/>
                      <a:gd name="connsiteY0" fmla="*/ 176617 h 406501"/>
                      <a:gd name="connsiteX1" fmla="*/ 159346 w 171524"/>
                      <a:gd name="connsiteY1" fmla="*/ 162408 h 406501"/>
                      <a:gd name="connsiteX2" fmla="*/ 122808 w 171524"/>
                      <a:gd name="connsiteY2" fmla="*/ 73601 h 406501"/>
                      <a:gd name="connsiteX3" fmla="*/ 107076 w 171524"/>
                      <a:gd name="connsiteY3" fmla="*/ 9152 h 406501"/>
                      <a:gd name="connsiteX4" fmla="*/ 91852 w 171524"/>
                      <a:gd name="connsiteY4" fmla="*/ 525 h 406501"/>
                      <a:gd name="connsiteX5" fmla="*/ 19284 w 171524"/>
                      <a:gd name="connsiteY5" fmla="*/ 20824 h 406501"/>
                      <a:gd name="connsiteX6" fmla="*/ 10657 w 171524"/>
                      <a:gd name="connsiteY6" fmla="*/ 34526 h 406501"/>
                      <a:gd name="connsiteX7" fmla="*/ 23344 w 171524"/>
                      <a:gd name="connsiteY7" fmla="*/ 117751 h 406501"/>
                      <a:gd name="connsiteX8" fmla="*/ 4567 w 171524"/>
                      <a:gd name="connsiteY8" fmla="*/ 185244 h 406501"/>
                      <a:gd name="connsiteX9" fmla="*/ 4567 w 171524"/>
                      <a:gd name="connsiteY9" fmla="*/ 185244 h 406501"/>
                      <a:gd name="connsiteX10" fmla="*/ 0 w 171524"/>
                      <a:gd name="connsiteY10" fmla="*/ 197424 h 406501"/>
                      <a:gd name="connsiteX11" fmla="*/ 0 w 171524"/>
                      <a:gd name="connsiteY11" fmla="*/ 394322 h 406501"/>
                      <a:gd name="connsiteX12" fmla="*/ 12179 w 171524"/>
                      <a:gd name="connsiteY12" fmla="*/ 406501 h 406501"/>
                      <a:gd name="connsiteX13" fmla="*/ 171525 w 171524"/>
                      <a:gd name="connsiteY13" fmla="*/ 406501 h 40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1524" h="406501">
                        <a:moveTo>
                          <a:pt x="167973" y="176617"/>
                        </a:moveTo>
                        <a:lnTo>
                          <a:pt x="159346" y="162408"/>
                        </a:lnTo>
                        <a:cubicBezTo>
                          <a:pt x="143107" y="134497"/>
                          <a:pt x="130927" y="104557"/>
                          <a:pt x="122808" y="73601"/>
                        </a:cubicBezTo>
                        <a:lnTo>
                          <a:pt x="107076" y="9152"/>
                        </a:lnTo>
                        <a:cubicBezTo>
                          <a:pt x="105554" y="2555"/>
                          <a:pt x="98449" y="-1505"/>
                          <a:pt x="91852" y="525"/>
                        </a:cubicBezTo>
                        <a:lnTo>
                          <a:pt x="19284" y="20824"/>
                        </a:lnTo>
                        <a:cubicBezTo>
                          <a:pt x="13194" y="22346"/>
                          <a:pt x="9642" y="28436"/>
                          <a:pt x="10657" y="34526"/>
                        </a:cubicBezTo>
                        <a:lnTo>
                          <a:pt x="23344" y="117751"/>
                        </a:lnTo>
                        <a:cubicBezTo>
                          <a:pt x="26896" y="141602"/>
                          <a:pt x="20299" y="166468"/>
                          <a:pt x="4567" y="185244"/>
                        </a:cubicBezTo>
                        <a:lnTo>
                          <a:pt x="4567" y="185244"/>
                        </a:lnTo>
                        <a:cubicBezTo>
                          <a:pt x="1522" y="188797"/>
                          <a:pt x="0" y="192856"/>
                          <a:pt x="0" y="197424"/>
                        </a:cubicBezTo>
                        <a:lnTo>
                          <a:pt x="0" y="394322"/>
                        </a:lnTo>
                        <a:cubicBezTo>
                          <a:pt x="0" y="400919"/>
                          <a:pt x="5582" y="406501"/>
                          <a:pt x="12179" y="406501"/>
                        </a:cubicBezTo>
                        <a:lnTo>
                          <a:pt x="171525" y="406501"/>
                        </a:lnTo>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39" name="Freeform: Shape 438">
                    <a:extLst>
                      <a:ext uri="{FF2B5EF4-FFF2-40B4-BE49-F238E27FC236}">
                        <a16:creationId xmlns:a16="http://schemas.microsoft.com/office/drawing/2014/main" id="{F9114C8B-18D7-4745-908E-E9D5E9372564}"/>
                      </a:ext>
                    </a:extLst>
                  </p:cNvPr>
                  <p:cNvSpPr/>
                  <p:nvPr/>
                </p:nvSpPr>
                <p:spPr>
                  <a:xfrm>
                    <a:off x="5543000" y="3475512"/>
                    <a:ext cx="151226" cy="5074"/>
                  </a:xfrm>
                  <a:custGeom>
                    <a:avLst/>
                    <a:gdLst>
                      <a:gd name="connsiteX0" fmla="*/ 0 w 151226"/>
                      <a:gd name="connsiteY0" fmla="*/ 0 h 5074"/>
                      <a:gd name="connsiteX1" fmla="*/ 151226 w 151226"/>
                      <a:gd name="connsiteY1" fmla="*/ 0 h 5074"/>
                    </a:gdLst>
                    <a:ahLst/>
                    <a:cxnLst>
                      <a:cxn ang="0">
                        <a:pos x="connsiteX0" y="connsiteY0"/>
                      </a:cxn>
                      <a:cxn ang="0">
                        <a:pos x="connsiteX1" y="connsiteY1"/>
                      </a:cxn>
                    </a:cxnLst>
                    <a:rect l="l" t="t" r="r" b="b"/>
                    <a:pathLst>
                      <a:path w="151226" h="5074">
                        <a:moveTo>
                          <a:pt x="0" y="0"/>
                        </a:moveTo>
                        <a:lnTo>
                          <a:pt x="151226" y="0"/>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40" name="Freeform: Shape 439">
                    <a:extLst>
                      <a:ext uri="{FF2B5EF4-FFF2-40B4-BE49-F238E27FC236}">
                        <a16:creationId xmlns:a16="http://schemas.microsoft.com/office/drawing/2014/main" id="{D0625B37-D9AE-4458-A24E-BF974FE79C55}"/>
                      </a:ext>
                    </a:extLst>
                  </p:cNvPr>
                  <p:cNvSpPr/>
                  <p:nvPr/>
                </p:nvSpPr>
                <p:spPr>
                  <a:xfrm>
                    <a:off x="5759690" y="3450139"/>
                    <a:ext cx="51761" cy="51761"/>
                  </a:xfrm>
                  <a:custGeom>
                    <a:avLst/>
                    <a:gdLst>
                      <a:gd name="connsiteX0" fmla="*/ 0 w 51761"/>
                      <a:gd name="connsiteY0" fmla="*/ 0 h 51761"/>
                      <a:gd name="connsiteX1" fmla="*/ 51762 w 51761"/>
                      <a:gd name="connsiteY1" fmla="*/ 0 h 51761"/>
                      <a:gd name="connsiteX2" fmla="*/ 51762 w 51761"/>
                      <a:gd name="connsiteY2" fmla="*/ 51762 h 51761"/>
                      <a:gd name="connsiteX3" fmla="*/ 0 w 51761"/>
                      <a:gd name="connsiteY3" fmla="*/ 51762 h 51761"/>
                    </a:gdLst>
                    <a:ahLst/>
                    <a:cxnLst>
                      <a:cxn ang="0">
                        <a:pos x="connsiteX0" y="connsiteY0"/>
                      </a:cxn>
                      <a:cxn ang="0">
                        <a:pos x="connsiteX1" y="connsiteY1"/>
                      </a:cxn>
                      <a:cxn ang="0">
                        <a:pos x="connsiteX2" y="connsiteY2"/>
                      </a:cxn>
                      <a:cxn ang="0">
                        <a:pos x="connsiteX3" y="connsiteY3"/>
                      </a:cxn>
                    </a:cxnLst>
                    <a:rect l="l" t="t" r="r" b="b"/>
                    <a:pathLst>
                      <a:path w="51761" h="51761">
                        <a:moveTo>
                          <a:pt x="0" y="0"/>
                        </a:moveTo>
                        <a:lnTo>
                          <a:pt x="51762" y="0"/>
                        </a:lnTo>
                        <a:lnTo>
                          <a:pt x="51762" y="51762"/>
                        </a:lnTo>
                        <a:lnTo>
                          <a:pt x="0" y="51762"/>
                        </a:lnTo>
                        <a:close/>
                      </a:path>
                    </a:pathLst>
                  </a:custGeom>
                  <a:noFill/>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sp>
                <p:nvSpPr>
                  <p:cNvPr id="441" name="Freeform: Shape 440">
                    <a:extLst>
                      <a:ext uri="{FF2B5EF4-FFF2-40B4-BE49-F238E27FC236}">
                        <a16:creationId xmlns:a16="http://schemas.microsoft.com/office/drawing/2014/main" id="{9B773B27-301D-45CD-9B54-15A8BA36C83E}"/>
                      </a:ext>
                    </a:extLst>
                  </p:cNvPr>
                  <p:cNvSpPr/>
                  <p:nvPr/>
                </p:nvSpPr>
                <p:spPr>
                  <a:xfrm>
                    <a:off x="5694734" y="3475512"/>
                    <a:ext cx="64448" cy="5074"/>
                  </a:xfrm>
                  <a:custGeom>
                    <a:avLst/>
                    <a:gdLst>
                      <a:gd name="connsiteX0" fmla="*/ 0 w 64448"/>
                      <a:gd name="connsiteY0" fmla="*/ 0 h 5074"/>
                      <a:gd name="connsiteX1" fmla="*/ 64449 w 64448"/>
                      <a:gd name="connsiteY1" fmla="*/ 0 h 5074"/>
                    </a:gdLst>
                    <a:ahLst/>
                    <a:cxnLst>
                      <a:cxn ang="0">
                        <a:pos x="connsiteX0" y="connsiteY0"/>
                      </a:cxn>
                      <a:cxn ang="0">
                        <a:pos x="connsiteX1" y="connsiteY1"/>
                      </a:cxn>
                    </a:cxnLst>
                    <a:rect l="l" t="t" r="r" b="b"/>
                    <a:pathLst>
                      <a:path w="64448" h="5074">
                        <a:moveTo>
                          <a:pt x="0" y="0"/>
                        </a:moveTo>
                        <a:lnTo>
                          <a:pt x="64449" y="0"/>
                        </a:lnTo>
                      </a:path>
                    </a:pathLst>
                  </a:custGeom>
                  <a:ln w="190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CCCCCC"/>
                      </a:solidFill>
                      <a:effectLst/>
                      <a:uLnTx/>
                      <a:uFillTx/>
                      <a:latin typeface="Nokia Pure Text Light"/>
                      <a:ea typeface="+mn-ea"/>
                      <a:cs typeface="+mn-cs"/>
                    </a:endParaRPr>
                  </a:p>
                </p:txBody>
              </p:sp>
            </p:grpSp>
          </p:grpSp>
        </p:grpSp>
        <p:grpSp>
          <p:nvGrpSpPr>
            <p:cNvPr id="363" name="Group 362">
              <a:extLst>
                <a:ext uri="{FF2B5EF4-FFF2-40B4-BE49-F238E27FC236}">
                  <a16:creationId xmlns:a16="http://schemas.microsoft.com/office/drawing/2014/main" id="{18B6A705-BB5C-4342-B958-3B92F020A2CC}"/>
                </a:ext>
              </a:extLst>
            </p:cNvPr>
            <p:cNvGrpSpPr/>
            <p:nvPr/>
          </p:nvGrpSpPr>
          <p:grpSpPr>
            <a:xfrm>
              <a:off x="4212744" y="1120990"/>
              <a:ext cx="3339800" cy="786952"/>
              <a:chOff x="3659415" y="802513"/>
              <a:chExt cx="3499924" cy="943760"/>
            </a:xfrm>
          </p:grpSpPr>
          <p:cxnSp>
            <p:nvCxnSpPr>
              <p:cNvPr id="422" name="Straight Connector 421">
                <a:extLst>
                  <a:ext uri="{FF2B5EF4-FFF2-40B4-BE49-F238E27FC236}">
                    <a16:creationId xmlns:a16="http://schemas.microsoft.com/office/drawing/2014/main" id="{C5705842-967C-4716-B7D5-9BEC87C32C50}"/>
                  </a:ext>
                </a:extLst>
              </p:cNvPr>
              <p:cNvCxnSpPr>
                <a:cxnSpLocks/>
              </p:cNvCxnSpPr>
              <p:nvPr/>
            </p:nvCxnSpPr>
            <p:spPr>
              <a:xfrm>
                <a:off x="6289136" y="808605"/>
                <a:ext cx="0" cy="22796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7D8B02B7-6D48-4460-8CEF-BBACF550E4EE}"/>
                  </a:ext>
                </a:extLst>
              </p:cNvPr>
              <p:cNvCxnSpPr>
                <a:cxnSpLocks/>
              </p:cNvCxnSpPr>
              <p:nvPr/>
            </p:nvCxnSpPr>
            <p:spPr>
              <a:xfrm>
                <a:off x="3659415" y="802513"/>
                <a:ext cx="0" cy="22796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D1FF4FA2-4CC7-469B-BB32-3133F149E3C5}"/>
                  </a:ext>
                </a:extLst>
              </p:cNvPr>
              <p:cNvCxnSpPr>
                <a:cxnSpLocks/>
              </p:cNvCxnSpPr>
              <p:nvPr/>
            </p:nvCxnSpPr>
            <p:spPr>
              <a:xfrm>
                <a:off x="3665282" y="808317"/>
                <a:ext cx="34940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9CE40501-DBBE-40FB-9B9B-416BF308538E}"/>
                  </a:ext>
                </a:extLst>
              </p:cNvPr>
              <p:cNvCxnSpPr>
                <a:cxnSpLocks/>
              </p:cNvCxnSpPr>
              <p:nvPr/>
            </p:nvCxnSpPr>
            <p:spPr>
              <a:xfrm>
                <a:off x="7159339" y="802513"/>
                <a:ext cx="0" cy="94376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64" name="Straight Connector 363">
              <a:extLst>
                <a:ext uri="{FF2B5EF4-FFF2-40B4-BE49-F238E27FC236}">
                  <a16:creationId xmlns:a16="http://schemas.microsoft.com/office/drawing/2014/main" id="{EBE0D732-69F3-42BA-BAF6-D3871C6D9197}"/>
                </a:ext>
              </a:extLst>
            </p:cNvPr>
            <p:cNvCxnSpPr>
              <a:cxnSpLocks/>
            </p:cNvCxnSpPr>
            <p:nvPr/>
          </p:nvCxnSpPr>
          <p:spPr>
            <a:xfrm>
              <a:off x="7552544" y="2818033"/>
              <a:ext cx="0" cy="56444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65" name="Group 364">
              <a:extLst>
                <a:ext uri="{FF2B5EF4-FFF2-40B4-BE49-F238E27FC236}">
                  <a16:creationId xmlns:a16="http://schemas.microsoft.com/office/drawing/2014/main" id="{3258BDE9-B24B-43AB-BBF3-1890009D0381}"/>
                </a:ext>
              </a:extLst>
            </p:cNvPr>
            <p:cNvGrpSpPr>
              <a:grpSpLocks noChangeAspect="1"/>
            </p:cNvGrpSpPr>
            <p:nvPr/>
          </p:nvGrpSpPr>
          <p:grpSpPr>
            <a:xfrm>
              <a:off x="4913879" y="4293916"/>
              <a:ext cx="1939976" cy="120074"/>
              <a:chOff x="4981479" y="4606034"/>
              <a:chExt cx="3637795" cy="225160"/>
            </a:xfrm>
          </p:grpSpPr>
          <p:sp>
            <p:nvSpPr>
              <p:cNvPr id="418" name="TextBox 417">
                <a:extLst>
                  <a:ext uri="{FF2B5EF4-FFF2-40B4-BE49-F238E27FC236}">
                    <a16:creationId xmlns:a16="http://schemas.microsoft.com/office/drawing/2014/main" id="{A16A3B64-CF88-4F4C-9D25-549DF82D884A}"/>
                  </a:ext>
                </a:extLst>
              </p:cNvPr>
              <p:cNvSpPr txBox="1"/>
              <p:nvPr/>
            </p:nvSpPr>
            <p:spPr>
              <a:xfrm>
                <a:off x="5264443" y="4606034"/>
                <a:ext cx="1000702" cy="225160"/>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GB" sz="1050" b="0" i="0" u="none" strike="noStrike" kern="1200" cap="none" spc="0" normalizeH="0" baseline="0" noProof="0" dirty="0">
                    <a:ln>
                      <a:noFill/>
                    </a:ln>
                    <a:solidFill>
                      <a:srgbClr val="FFFFFF"/>
                    </a:solidFill>
                    <a:effectLst/>
                    <a:uLnTx/>
                    <a:uFillTx/>
                    <a:latin typeface="Nokia Pure Text Light"/>
                    <a:ea typeface="+mn-ea"/>
                    <a:cs typeface="+mn-cs"/>
                  </a:rPr>
                  <a:t>Sensing</a:t>
                </a:r>
              </a:p>
            </p:txBody>
          </p:sp>
          <p:sp>
            <p:nvSpPr>
              <p:cNvPr id="419" name="TextBox 418">
                <a:extLst>
                  <a:ext uri="{FF2B5EF4-FFF2-40B4-BE49-F238E27FC236}">
                    <a16:creationId xmlns:a16="http://schemas.microsoft.com/office/drawing/2014/main" id="{1A05EA00-708E-4307-9912-613C3ED3C3F8}"/>
                  </a:ext>
                </a:extLst>
              </p:cNvPr>
              <p:cNvSpPr txBox="1"/>
              <p:nvPr/>
            </p:nvSpPr>
            <p:spPr>
              <a:xfrm>
                <a:off x="4981479" y="4606034"/>
                <a:ext cx="226801" cy="225160"/>
              </a:xfrm>
              <a:prstGeom prst="rect">
                <a:avLst/>
              </a:prstGeom>
              <a:solidFill>
                <a:schemeClr val="bg1"/>
              </a:solidFill>
              <a:ln w="3175">
                <a:solidFill>
                  <a:schemeClr val="tx1"/>
                </a:solidFill>
              </a:ln>
            </p:spPr>
            <p:txBody>
              <a:bodyPr wrap="square" lIns="0" tIns="0" rIns="0" bIns="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20" name="TextBox 419">
                <a:extLst>
                  <a:ext uri="{FF2B5EF4-FFF2-40B4-BE49-F238E27FC236}">
                    <a16:creationId xmlns:a16="http://schemas.microsoft.com/office/drawing/2014/main" id="{5758583E-067E-476E-BEA7-E9311CB8466F}"/>
                  </a:ext>
                </a:extLst>
              </p:cNvPr>
              <p:cNvSpPr txBox="1"/>
              <p:nvPr/>
            </p:nvSpPr>
            <p:spPr>
              <a:xfrm>
                <a:off x="6766822" y="4606034"/>
                <a:ext cx="1852452" cy="225160"/>
              </a:xfrm>
              <a:prstGeom prst="rect">
                <a:avLst/>
              </a:prstGeom>
              <a:noFill/>
            </p:spPr>
            <p:txBody>
              <a:bodyPr wrap="square" lIns="0" tIns="0" rIns="0" bIns="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GB" sz="1050" b="0" i="0" u="none" strike="noStrike" kern="1200" cap="none" spc="0" normalizeH="0" baseline="0" noProof="0" dirty="0">
                    <a:ln>
                      <a:noFill/>
                    </a:ln>
                    <a:solidFill>
                      <a:srgbClr val="FFFFFF"/>
                    </a:solidFill>
                    <a:effectLst/>
                    <a:uLnTx/>
                    <a:uFillTx/>
                    <a:latin typeface="Nokia Pure Text Light"/>
                    <a:ea typeface="+mn-ea"/>
                    <a:cs typeface="+mn-cs"/>
                  </a:rPr>
                  <a:t>Communication</a:t>
                </a:r>
              </a:p>
            </p:txBody>
          </p:sp>
          <p:sp>
            <p:nvSpPr>
              <p:cNvPr id="421" name="TextBox 420">
                <a:extLst>
                  <a:ext uri="{FF2B5EF4-FFF2-40B4-BE49-F238E27FC236}">
                    <a16:creationId xmlns:a16="http://schemas.microsoft.com/office/drawing/2014/main" id="{6A847E0C-7FD1-4F27-B202-23323626613A}"/>
                  </a:ext>
                </a:extLst>
              </p:cNvPr>
              <p:cNvSpPr txBox="1"/>
              <p:nvPr/>
            </p:nvSpPr>
            <p:spPr>
              <a:xfrm>
                <a:off x="6489816" y="4606034"/>
                <a:ext cx="226800" cy="225160"/>
              </a:xfrm>
              <a:prstGeom prst="rect">
                <a:avLst/>
              </a:prstGeom>
              <a:solidFill>
                <a:schemeClr val="accent3"/>
              </a:solidFill>
              <a:ln w="3175">
                <a:solidFill>
                  <a:schemeClr val="bg1"/>
                </a:solidFill>
              </a:ln>
            </p:spPr>
            <p:txBody>
              <a:bodyPr wrap="square" lIns="0" tIns="0" rIns="0" bIns="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GB" sz="1200" b="0" i="0" u="none" strike="noStrike" kern="1200" cap="none" spc="0" normalizeH="0" baseline="0" noProof="0" dirty="0">
                  <a:ln>
                    <a:noFill/>
                  </a:ln>
                  <a:solidFill>
                    <a:srgbClr val="FFFFFF"/>
                  </a:solidFill>
                  <a:effectLst/>
                  <a:uLnTx/>
                  <a:uFillTx/>
                  <a:latin typeface="Nokia Pure Text Light"/>
                  <a:ea typeface="+mn-ea"/>
                  <a:cs typeface="+mn-cs"/>
                </a:endParaRPr>
              </a:p>
            </p:txBody>
          </p:sp>
        </p:grpSp>
        <p:pic>
          <p:nvPicPr>
            <p:cNvPr id="366" name="Picture 365" descr="Icon&#10;&#10;Description automatically generated">
              <a:extLst>
                <a:ext uri="{FF2B5EF4-FFF2-40B4-BE49-F238E27FC236}">
                  <a16:creationId xmlns:a16="http://schemas.microsoft.com/office/drawing/2014/main" id="{9DC6C953-F214-42DF-84C3-24E3C18CC82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978706" y="1342958"/>
              <a:ext cx="468075" cy="468075"/>
            </a:xfrm>
            <a:prstGeom prst="rect">
              <a:avLst/>
            </a:prstGeom>
          </p:spPr>
        </p:pic>
        <p:pic>
          <p:nvPicPr>
            <p:cNvPr id="367" name="Picture 366" descr="Icon&#10;&#10;Description automatically generated">
              <a:extLst>
                <a:ext uri="{FF2B5EF4-FFF2-40B4-BE49-F238E27FC236}">
                  <a16:creationId xmlns:a16="http://schemas.microsoft.com/office/drawing/2014/main" id="{3E21CBB3-35A8-450D-86BD-B578DFAF619C}"/>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7388453" y="3282249"/>
              <a:ext cx="380900" cy="380900"/>
            </a:xfrm>
            <a:prstGeom prst="rect">
              <a:avLst/>
            </a:prstGeom>
          </p:spPr>
        </p:pic>
        <p:pic>
          <p:nvPicPr>
            <p:cNvPr id="368" name="Picture 367" descr="Icon&#10;&#10;Description automatically generated">
              <a:extLst>
                <a:ext uri="{FF2B5EF4-FFF2-40B4-BE49-F238E27FC236}">
                  <a16:creationId xmlns:a16="http://schemas.microsoft.com/office/drawing/2014/main" id="{6AE1A6A0-AA8E-430A-BCAF-5511E24BF283}"/>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460662" y="1351162"/>
              <a:ext cx="468075" cy="468075"/>
            </a:xfrm>
            <a:prstGeom prst="rect">
              <a:avLst/>
            </a:prstGeom>
          </p:spPr>
        </p:pic>
        <p:grpSp>
          <p:nvGrpSpPr>
            <p:cNvPr id="369" name="Group 368">
              <a:extLst>
                <a:ext uri="{FF2B5EF4-FFF2-40B4-BE49-F238E27FC236}">
                  <a16:creationId xmlns:a16="http://schemas.microsoft.com/office/drawing/2014/main" id="{08A9CC20-CA76-4D10-8293-37B9F36C2959}"/>
                </a:ext>
              </a:extLst>
            </p:cNvPr>
            <p:cNvGrpSpPr/>
            <p:nvPr/>
          </p:nvGrpSpPr>
          <p:grpSpPr>
            <a:xfrm rot="2999711">
              <a:off x="6265229" y="1830856"/>
              <a:ext cx="332413" cy="587052"/>
              <a:chOff x="3891771" y="1411049"/>
              <a:chExt cx="579596" cy="1109287"/>
            </a:xfrm>
          </p:grpSpPr>
          <p:grpSp>
            <p:nvGrpSpPr>
              <p:cNvPr id="370" name="Group 369">
                <a:extLst>
                  <a:ext uri="{FF2B5EF4-FFF2-40B4-BE49-F238E27FC236}">
                    <a16:creationId xmlns:a16="http://schemas.microsoft.com/office/drawing/2014/main" id="{DE5C786E-F561-40FC-8E19-4B440FB2E600}"/>
                  </a:ext>
                </a:extLst>
              </p:cNvPr>
              <p:cNvGrpSpPr>
                <a:grpSpLocks noChangeAspect="1"/>
              </p:cNvGrpSpPr>
              <p:nvPr/>
            </p:nvGrpSpPr>
            <p:grpSpPr>
              <a:xfrm rot="4428370">
                <a:off x="3520046" y="1988521"/>
                <a:ext cx="903540" cy="160089"/>
                <a:chOff x="3239476" y="2239474"/>
                <a:chExt cx="3832058" cy="972000"/>
              </a:xfrm>
            </p:grpSpPr>
            <p:cxnSp>
              <p:nvCxnSpPr>
                <p:cNvPr id="403" name="Straight Connector 402">
                  <a:extLst>
                    <a:ext uri="{FF2B5EF4-FFF2-40B4-BE49-F238E27FC236}">
                      <a16:creationId xmlns:a16="http://schemas.microsoft.com/office/drawing/2014/main" id="{BC58B37F-6BE4-4611-A5C3-A6DDAF1E30B8}"/>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AB141543-55D9-49BF-BE2A-224F6E2A2ECB}"/>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75FC75C4-103F-44C9-ABB4-16C3550A2DB3}"/>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FFFDEE3D-CAE5-4CA8-A48E-2F3ACE442AE1}"/>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23F6BAA3-78CE-406C-A24E-6BBA4F1C7BA0}"/>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DD77273B-3853-46DB-9205-D977DA603D7D}"/>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F7E4BAD0-67D0-46E2-AE12-0954A2AF7E42}"/>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7F65E9DA-E037-43BC-8A4A-7C4E9F1A9F5A}"/>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B2546E81-F7FF-4ABB-960F-BE433E7B7177}"/>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DAFAC6EE-A134-4988-9939-6C83E0FBEB72}"/>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6978C4C6-405E-4C0F-8EF7-D7B2A822E9D7}"/>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ABC35431-4947-4A32-894F-1B9387AE21B4}"/>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00642F00-BC7C-42F0-8CF9-A25959759BD4}"/>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065DF0AE-AE34-41D3-9B6C-8061E1E76BAA}"/>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1E78EF18-0B92-442A-AA64-B9FC30BFA326}"/>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71" name="Group 370">
                <a:extLst>
                  <a:ext uri="{FF2B5EF4-FFF2-40B4-BE49-F238E27FC236}">
                    <a16:creationId xmlns:a16="http://schemas.microsoft.com/office/drawing/2014/main" id="{A57C56A2-B549-4D8A-850F-A6CA283813CE}"/>
                  </a:ext>
                </a:extLst>
              </p:cNvPr>
              <p:cNvGrpSpPr>
                <a:grpSpLocks noChangeAspect="1"/>
              </p:cNvGrpSpPr>
              <p:nvPr/>
            </p:nvGrpSpPr>
            <p:grpSpPr>
              <a:xfrm rot="3753414">
                <a:off x="3741233" y="1904818"/>
                <a:ext cx="903540" cy="160089"/>
                <a:chOff x="3239476" y="2239474"/>
                <a:chExt cx="3832058" cy="972000"/>
              </a:xfrm>
            </p:grpSpPr>
            <p:cxnSp>
              <p:nvCxnSpPr>
                <p:cNvPr id="388" name="Straight Connector 387">
                  <a:extLst>
                    <a:ext uri="{FF2B5EF4-FFF2-40B4-BE49-F238E27FC236}">
                      <a16:creationId xmlns:a16="http://schemas.microsoft.com/office/drawing/2014/main" id="{7102226B-3204-41BE-BFF4-B4A23A96E826}"/>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FBFA984E-A186-4EC9-8551-9FCA10980938}"/>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176B57E1-F6E7-4095-B322-4AD18B449480}"/>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27BE7B54-684A-4161-837B-30A83828A04F}"/>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5A59837B-F85A-4A89-A5FC-43CABF59DC84}"/>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7F8F62D-859B-45BE-A70C-AFA664E0B3EB}"/>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E66D2D72-4C29-4843-A2C9-29F9659366F7}"/>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30D7CC0B-BA75-4F09-BC1F-FDA020DFBA3F}"/>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DE6EC9EB-8541-47CF-828F-59F59C4122B5}"/>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D8FF98FB-6FC8-46BB-991F-56D0519511E5}"/>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A617342A-FE38-439D-9135-ED9B57CCA3B9}"/>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CC6E10C5-2983-4C8F-91C8-4C39B9652361}"/>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0470D746-3592-4F02-ABB9-3C7719E07644}"/>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22D1A1A7-3BFE-4646-ABCB-8FBF123C9111}"/>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6E519360-D1E0-49A4-8CE0-F847E2877874}"/>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72" name="Group 371">
                <a:extLst>
                  <a:ext uri="{FF2B5EF4-FFF2-40B4-BE49-F238E27FC236}">
                    <a16:creationId xmlns:a16="http://schemas.microsoft.com/office/drawing/2014/main" id="{520F30B7-96B3-442D-A0ED-4DC515B7E74E}"/>
                  </a:ext>
                </a:extLst>
              </p:cNvPr>
              <p:cNvGrpSpPr>
                <a:grpSpLocks noChangeAspect="1"/>
              </p:cNvGrpSpPr>
              <p:nvPr/>
            </p:nvGrpSpPr>
            <p:grpSpPr>
              <a:xfrm rot="3170398">
                <a:off x="3939553" y="1782774"/>
                <a:ext cx="903540" cy="160089"/>
                <a:chOff x="3239476" y="2239474"/>
                <a:chExt cx="3832058" cy="972000"/>
              </a:xfrm>
            </p:grpSpPr>
            <p:cxnSp>
              <p:nvCxnSpPr>
                <p:cNvPr id="373" name="Straight Connector 372">
                  <a:extLst>
                    <a:ext uri="{FF2B5EF4-FFF2-40B4-BE49-F238E27FC236}">
                      <a16:creationId xmlns:a16="http://schemas.microsoft.com/office/drawing/2014/main" id="{DD43493D-B735-489C-AF87-2EDC8948EE91}"/>
                    </a:ext>
                  </a:extLst>
                </p:cNvPr>
                <p:cNvCxnSpPr>
                  <a:cxnSpLocks/>
                </p:cNvCxnSpPr>
                <p:nvPr/>
              </p:nvCxnSpPr>
              <p:spPr>
                <a:xfrm>
                  <a:off x="3239476" y="2491474"/>
                  <a:ext cx="0" cy="468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0249E8A0-042E-4520-BFEF-C2F400A15D3A}"/>
                    </a:ext>
                  </a:extLst>
                </p:cNvPr>
                <p:cNvCxnSpPr>
                  <a:cxnSpLocks/>
                </p:cNvCxnSpPr>
                <p:nvPr/>
              </p:nvCxnSpPr>
              <p:spPr>
                <a:xfrm>
                  <a:off x="3513194" y="2473475"/>
                  <a:ext cx="0" cy="503999"/>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B070061C-BB82-41A6-92C5-FEC8D186B860}"/>
                    </a:ext>
                  </a:extLst>
                </p:cNvPr>
                <p:cNvCxnSpPr>
                  <a:cxnSpLocks/>
                </p:cNvCxnSpPr>
                <p:nvPr/>
              </p:nvCxnSpPr>
              <p:spPr>
                <a:xfrm>
                  <a:off x="4334348" y="2419475"/>
                  <a:ext cx="0" cy="611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221A3DA9-1F92-422B-8A48-3D9A8E5A30A4}"/>
                    </a:ext>
                  </a:extLst>
                </p:cNvPr>
                <p:cNvCxnSpPr>
                  <a:cxnSpLocks/>
                </p:cNvCxnSpPr>
                <p:nvPr/>
              </p:nvCxnSpPr>
              <p:spPr>
                <a:xfrm>
                  <a:off x="4881784" y="2383475"/>
                  <a:ext cx="0" cy="683998"/>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113F941B-19F1-44A5-9EBC-59EBF19181A4}"/>
                    </a:ext>
                  </a:extLst>
                </p:cNvPr>
                <p:cNvCxnSpPr>
                  <a:cxnSpLocks/>
                </p:cNvCxnSpPr>
                <p:nvPr/>
              </p:nvCxnSpPr>
              <p:spPr>
                <a:xfrm>
                  <a:off x="5429220" y="2347475"/>
                  <a:ext cx="0" cy="755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5C9BB777-C72A-4E9C-ACF1-9885DC23579A}"/>
                    </a:ext>
                  </a:extLst>
                </p:cNvPr>
                <p:cNvCxnSpPr>
                  <a:cxnSpLocks/>
                </p:cNvCxnSpPr>
                <p:nvPr/>
              </p:nvCxnSpPr>
              <p:spPr>
                <a:xfrm>
                  <a:off x="5976656" y="2311475"/>
                  <a:ext cx="0" cy="827999"/>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65060C25-299F-49D9-8A25-B888ACC087CB}"/>
                    </a:ext>
                  </a:extLst>
                </p:cNvPr>
                <p:cNvCxnSpPr>
                  <a:cxnSpLocks/>
                </p:cNvCxnSpPr>
                <p:nvPr/>
              </p:nvCxnSpPr>
              <p:spPr>
                <a:xfrm>
                  <a:off x="6524092" y="2275474"/>
                  <a:ext cx="0" cy="900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B51789B1-651C-4637-BA9E-773EDC61918D}"/>
                    </a:ext>
                  </a:extLst>
                </p:cNvPr>
                <p:cNvCxnSpPr>
                  <a:cxnSpLocks/>
                </p:cNvCxnSpPr>
                <p:nvPr/>
              </p:nvCxnSpPr>
              <p:spPr>
                <a:xfrm>
                  <a:off x="3786912" y="2455474"/>
                  <a:ext cx="0" cy="540001"/>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E10FDCC0-9AAB-4BF4-8009-CA31F6724E3F}"/>
                    </a:ext>
                  </a:extLst>
                </p:cNvPr>
                <p:cNvCxnSpPr>
                  <a:cxnSpLocks/>
                </p:cNvCxnSpPr>
                <p:nvPr/>
              </p:nvCxnSpPr>
              <p:spPr>
                <a:xfrm>
                  <a:off x="4060630" y="2437474"/>
                  <a:ext cx="0" cy="576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F4048C05-4278-4E99-B516-67A9F4519EC9}"/>
                    </a:ext>
                  </a:extLst>
                </p:cNvPr>
                <p:cNvCxnSpPr>
                  <a:cxnSpLocks/>
                </p:cNvCxnSpPr>
                <p:nvPr/>
              </p:nvCxnSpPr>
              <p:spPr>
                <a:xfrm>
                  <a:off x="4608066" y="2401474"/>
                  <a:ext cx="0" cy="648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a:extLst>
                    <a:ext uri="{FF2B5EF4-FFF2-40B4-BE49-F238E27FC236}">
                      <a16:creationId xmlns:a16="http://schemas.microsoft.com/office/drawing/2014/main" id="{D8552E33-6BA0-47B3-9144-D818F9344A1B}"/>
                    </a:ext>
                  </a:extLst>
                </p:cNvPr>
                <p:cNvCxnSpPr>
                  <a:cxnSpLocks/>
                </p:cNvCxnSpPr>
                <p:nvPr/>
              </p:nvCxnSpPr>
              <p:spPr>
                <a:xfrm>
                  <a:off x="5155502" y="2365474"/>
                  <a:ext cx="0" cy="720000"/>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4F7664B2-D5E1-4CD6-BE1B-1791944C4ADF}"/>
                    </a:ext>
                  </a:extLst>
                </p:cNvPr>
                <p:cNvCxnSpPr>
                  <a:cxnSpLocks/>
                </p:cNvCxnSpPr>
                <p:nvPr/>
              </p:nvCxnSpPr>
              <p:spPr>
                <a:xfrm>
                  <a:off x="5702938" y="2329474"/>
                  <a:ext cx="0" cy="792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067428D-6394-4F1F-8712-EF3310A1BD0B}"/>
                    </a:ext>
                  </a:extLst>
                </p:cNvPr>
                <p:cNvCxnSpPr>
                  <a:cxnSpLocks/>
                </p:cNvCxnSpPr>
                <p:nvPr/>
              </p:nvCxnSpPr>
              <p:spPr>
                <a:xfrm>
                  <a:off x="6250374" y="2293474"/>
                  <a:ext cx="0" cy="864001"/>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2861DE1B-668F-4883-92A5-A787673D0840}"/>
                    </a:ext>
                  </a:extLst>
                </p:cNvPr>
                <p:cNvCxnSpPr>
                  <a:cxnSpLocks/>
                </p:cNvCxnSpPr>
                <p:nvPr/>
              </p:nvCxnSpPr>
              <p:spPr>
                <a:xfrm>
                  <a:off x="6797810" y="2257475"/>
                  <a:ext cx="0" cy="935998"/>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05945585-22A0-40EF-A211-478B9ABFECCA}"/>
                    </a:ext>
                  </a:extLst>
                </p:cNvPr>
                <p:cNvCxnSpPr>
                  <a:cxnSpLocks/>
                </p:cNvCxnSpPr>
                <p:nvPr/>
              </p:nvCxnSpPr>
              <p:spPr>
                <a:xfrm>
                  <a:off x="7071534" y="2239474"/>
                  <a:ext cx="0" cy="972000"/>
                </a:xfrm>
                <a:prstGeom prst="line">
                  <a:avLst/>
                </a:prstGeom>
                <a:ln w="44450">
                  <a:solidFill>
                    <a:schemeClr val="accent3"/>
                  </a:solidFill>
                </a:ln>
              </p:spPr>
              <p:style>
                <a:lnRef idx="1">
                  <a:schemeClr val="accent1"/>
                </a:lnRef>
                <a:fillRef idx="0">
                  <a:schemeClr val="accent1"/>
                </a:fillRef>
                <a:effectRef idx="0">
                  <a:schemeClr val="accent1"/>
                </a:effectRef>
                <a:fontRef idx="minor">
                  <a:schemeClr val="tx1"/>
                </a:fontRef>
              </p:style>
            </p:cxnSp>
          </p:grpSp>
        </p:grpSp>
      </p:grpSp>
      <p:grpSp>
        <p:nvGrpSpPr>
          <p:cNvPr id="13" name="Group 12">
            <a:extLst>
              <a:ext uri="{FF2B5EF4-FFF2-40B4-BE49-F238E27FC236}">
                <a16:creationId xmlns:a16="http://schemas.microsoft.com/office/drawing/2014/main" id="{5BCD745B-2B1B-4EFC-6091-6F980AAA9944}"/>
              </a:ext>
            </a:extLst>
          </p:cNvPr>
          <p:cNvGrpSpPr/>
          <p:nvPr/>
        </p:nvGrpSpPr>
        <p:grpSpPr>
          <a:xfrm>
            <a:off x="215708" y="1208751"/>
            <a:ext cx="3059490" cy="1723039"/>
            <a:chOff x="-635430" y="444212"/>
            <a:chExt cx="3745026" cy="2109118"/>
          </a:xfrm>
        </p:grpSpPr>
        <p:pic>
          <p:nvPicPr>
            <p:cNvPr id="12" name="NNK0062-Nokia-Bell-Labs-6G-Deck-Animation-01-Elderly-at-home-1920x1080px-V04">
              <a:hlinkClick r:id="" action="ppaction://media"/>
              <a:extLst>
                <a:ext uri="{FF2B5EF4-FFF2-40B4-BE49-F238E27FC236}">
                  <a16:creationId xmlns:a16="http://schemas.microsoft.com/office/drawing/2014/main" id="{CA117DF9-4218-4207-D9C2-71510C6BB044}"/>
                </a:ext>
              </a:extLst>
            </p:cNvPr>
            <p:cNvPicPr>
              <a:picLocks noChangeAspect="1"/>
            </p:cNvPicPr>
            <p:nvPr>
              <a:videoFile r:link="rId4"/>
              <p:extLst>
                <p:ext uri="{DAA4B4D4-6D71-4841-9C94-3DE7FCFB9230}">
                  <p14:media xmlns:p14="http://schemas.microsoft.com/office/powerpoint/2010/main" r:embed="rId3"/>
                </p:ext>
              </p:extLst>
            </p:nvPr>
          </p:nvPicPr>
          <p:blipFill>
            <a:blip r:embed="rId25"/>
            <a:stretch>
              <a:fillRect/>
            </a:stretch>
          </p:blipFill>
          <p:spPr>
            <a:xfrm>
              <a:off x="-168802" y="634715"/>
              <a:ext cx="2810070" cy="1648801"/>
            </a:xfrm>
            <a:prstGeom prst="rect">
              <a:avLst/>
            </a:prstGeom>
          </p:spPr>
        </p:pic>
        <p:pic>
          <p:nvPicPr>
            <p:cNvPr id="11" name="Picture 10">
              <a:extLst>
                <a:ext uri="{FF2B5EF4-FFF2-40B4-BE49-F238E27FC236}">
                  <a16:creationId xmlns:a16="http://schemas.microsoft.com/office/drawing/2014/main" id="{891AD74B-E655-90CD-FD99-EA2018B77671}"/>
                </a:ext>
              </a:extLst>
            </p:cNvPr>
            <p:cNvPicPr>
              <a:picLocks noChangeAspect="1"/>
            </p:cNvPicPr>
            <p:nvPr/>
          </p:nvPicPr>
          <p:blipFill rotWithShape="1">
            <a:blip r:embed="rId16"/>
            <a:srcRect l="6034" r="5181"/>
            <a:stretch/>
          </p:blipFill>
          <p:spPr>
            <a:xfrm>
              <a:off x="-635430" y="444212"/>
              <a:ext cx="3745026" cy="2109118"/>
            </a:xfrm>
            <a:prstGeom prst="rect">
              <a:avLst/>
            </a:prstGeom>
          </p:spPr>
        </p:pic>
      </p:grpSp>
      <p:sp>
        <p:nvSpPr>
          <p:cNvPr id="5" name="Footer Placeholder 1">
            <a:extLst>
              <a:ext uri="{FF2B5EF4-FFF2-40B4-BE49-F238E27FC236}">
                <a16:creationId xmlns:a16="http://schemas.microsoft.com/office/drawing/2014/main" id="{E1D0D1B8-319E-DFB3-6D2C-97A457D8DB84}"/>
              </a:ext>
            </a:extLst>
          </p:cNvPr>
          <p:cNvSpPr>
            <a:spLocks noGrp="1"/>
          </p:cNvSpPr>
          <p:nvPr>
            <p:ph type="ftr" sz="quarter" idx="3"/>
          </p:nvPr>
        </p:nvSpPr>
        <p:spPr>
          <a:xfrm>
            <a:off x="1504610" y="4858555"/>
            <a:ext cx="2880000" cy="12240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17894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037"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video>
              <p:cMediaNode vol="80000">
                <p:cTn id="13" fill="hold" display="0">
                  <p:stCondLst>
                    <p:cond delay="indefinite"/>
                  </p:stCondLst>
                </p:cTn>
                <p:tgtEl>
                  <p:spTgt spid="12"/>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31" name="Group 930">
            <a:extLst>
              <a:ext uri="{FF2B5EF4-FFF2-40B4-BE49-F238E27FC236}">
                <a16:creationId xmlns:a16="http://schemas.microsoft.com/office/drawing/2014/main" id="{A36810E2-B54A-253B-FBB3-B1E15DAAD1A6}"/>
              </a:ext>
            </a:extLst>
          </p:cNvPr>
          <p:cNvGrpSpPr>
            <a:grpSpLocks noChangeAspect="1"/>
          </p:cNvGrpSpPr>
          <p:nvPr/>
        </p:nvGrpSpPr>
        <p:grpSpPr>
          <a:xfrm>
            <a:off x="2660841" y="1701017"/>
            <a:ext cx="719995" cy="1074670"/>
            <a:chOff x="2852213" y="3329747"/>
            <a:chExt cx="100445" cy="149925"/>
          </a:xfrm>
        </p:grpSpPr>
        <p:sp>
          <p:nvSpPr>
            <p:cNvPr id="923" name="Freeform: Shape 922">
              <a:extLst>
                <a:ext uri="{FF2B5EF4-FFF2-40B4-BE49-F238E27FC236}">
                  <a16:creationId xmlns:a16="http://schemas.microsoft.com/office/drawing/2014/main" id="{D26ABB07-2880-AAAA-2C71-971F15BB43D1}"/>
                </a:ext>
              </a:extLst>
            </p:cNvPr>
            <p:cNvSpPr/>
            <p:nvPr/>
          </p:nvSpPr>
          <p:spPr>
            <a:xfrm>
              <a:off x="2936647" y="3389790"/>
              <a:ext cx="16011" cy="6186"/>
            </a:xfrm>
            <a:custGeom>
              <a:avLst/>
              <a:gdLst>
                <a:gd name="connsiteX0" fmla="*/ 0 w 16011"/>
                <a:gd name="connsiteY0" fmla="*/ 0 h 6186"/>
                <a:gd name="connsiteX1" fmla="*/ 16011 w 16011"/>
                <a:gd name="connsiteY1" fmla="*/ 4731 h 6186"/>
                <a:gd name="connsiteX2" fmla="*/ 0 w 16011"/>
                <a:gd name="connsiteY2" fmla="*/ 6186 h 6186"/>
                <a:gd name="connsiteX3" fmla="*/ 0 w 16011"/>
                <a:gd name="connsiteY3" fmla="*/ 0 h 6186"/>
              </a:gdLst>
              <a:ahLst/>
              <a:cxnLst>
                <a:cxn ang="0">
                  <a:pos x="connsiteX0" y="connsiteY0"/>
                </a:cxn>
                <a:cxn ang="0">
                  <a:pos x="connsiteX1" y="connsiteY1"/>
                </a:cxn>
                <a:cxn ang="0">
                  <a:pos x="connsiteX2" y="connsiteY2"/>
                </a:cxn>
                <a:cxn ang="0">
                  <a:pos x="connsiteX3" y="connsiteY3"/>
                </a:cxn>
              </a:cxnLst>
              <a:rect l="l" t="t" r="r" b="b"/>
              <a:pathLst>
                <a:path w="16011" h="6186">
                  <a:moveTo>
                    <a:pt x="0" y="0"/>
                  </a:moveTo>
                  <a:lnTo>
                    <a:pt x="16011" y="4731"/>
                  </a:lnTo>
                  <a:lnTo>
                    <a:pt x="0" y="6186"/>
                  </a:lnTo>
                  <a:lnTo>
                    <a:pt x="0" y="0"/>
                  </a:lnTo>
                  <a:close/>
                </a:path>
              </a:pathLst>
            </a:custGeom>
            <a:solidFill>
              <a:srgbClr val="FFFFFF"/>
            </a:solidFill>
            <a:ln w="728" cap="flat">
              <a:noFill/>
              <a:prstDash val="solid"/>
              <a:miter/>
            </a:ln>
          </p:spPr>
          <p:txBody>
            <a:bodyPr rtlCol="0" anchor="ctr"/>
            <a:lstStyle/>
            <a:p>
              <a:endParaRPr lang="en-US"/>
            </a:p>
          </p:txBody>
        </p:sp>
        <p:sp>
          <p:nvSpPr>
            <p:cNvPr id="925" name="Freeform: Shape 924">
              <a:extLst>
                <a:ext uri="{FF2B5EF4-FFF2-40B4-BE49-F238E27FC236}">
                  <a16:creationId xmlns:a16="http://schemas.microsoft.com/office/drawing/2014/main" id="{9682835D-518E-2824-182E-589176E08637}"/>
                </a:ext>
              </a:extLst>
            </p:cNvPr>
            <p:cNvSpPr/>
            <p:nvPr/>
          </p:nvSpPr>
          <p:spPr>
            <a:xfrm>
              <a:off x="2874421" y="3329747"/>
              <a:ext cx="18922" cy="18922"/>
            </a:xfrm>
            <a:custGeom>
              <a:avLst/>
              <a:gdLst>
                <a:gd name="connsiteX0" fmla="*/ 18923 w 18922"/>
                <a:gd name="connsiteY0" fmla="*/ 9461 h 18922"/>
                <a:gd name="connsiteX1" fmla="*/ 9461 w 18922"/>
                <a:gd name="connsiteY1" fmla="*/ 18923 h 18922"/>
                <a:gd name="connsiteX2" fmla="*/ 0 w 18922"/>
                <a:gd name="connsiteY2" fmla="*/ 9461 h 18922"/>
                <a:gd name="connsiteX3" fmla="*/ 9461 w 18922"/>
                <a:gd name="connsiteY3" fmla="*/ 0 h 18922"/>
                <a:gd name="connsiteX4" fmla="*/ 18923 w 18922"/>
                <a:gd name="connsiteY4" fmla="*/ 9461 h 18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2" h="18922">
                  <a:moveTo>
                    <a:pt x="18923" y="9461"/>
                  </a:moveTo>
                  <a:cubicBezTo>
                    <a:pt x="18923" y="14687"/>
                    <a:pt x="14687" y="18923"/>
                    <a:pt x="9461" y="18923"/>
                  </a:cubicBezTo>
                  <a:cubicBezTo>
                    <a:pt x="4236" y="18923"/>
                    <a:pt x="0" y="14687"/>
                    <a:pt x="0" y="9461"/>
                  </a:cubicBezTo>
                  <a:cubicBezTo>
                    <a:pt x="0" y="4236"/>
                    <a:pt x="4236" y="0"/>
                    <a:pt x="9461" y="0"/>
                  </a:cubicBezTo>
                  <a:cubicBezTo>
                    <a:pt x="14687" y="0"/>
                    <a:pt x="18923" y="4236"/>
                    <a:pt x="18923" y="9461"/>
                  </a:cubicBezTo>
                  <a:close/>
                </a:path>
              </a:pathLst>
            </a:custGeom>
            <a:solidFill>
              <a:srgbClr val="001135"/>
            </a:solidFill>
            <a:ln w="728" cap="flat">
              <a:noFill/>
              <a:prstDash val="solid"/>
              <a:miter/>
            </a:ln>
          </p:spPr>
          <p:txBody>
            <a:bodyPr rtlCol="0" anchor="ctr"/>
            <a:lstStyle/>
            <a:p>
              <a:endParaRPr lang="en-US"/>
            </a:p>
          </p:txBody>
        </p:sp>
        <p:sp>
          <p:nvSpPr>
            <p:cNvPr id="926" name="Freeform: Shape 925">
              <a:extLst>
                <a:ext uri="{FF2B5EF4-FFF2-40B4-BE49-F238E27FC236}">
                  <a16:creationId xmlns:a16="http://schemas.microsoft.com/office/drawing/2014/main" id="{A9DCB080-2AA0-3D4D-E63C-726AD6262C64}"/>
                </a:ext>
              </a:extLst>
            </p:cNvPr>
            <p:cNvSpPr/>
            <p:nvPr/>
          </p:nvSpPr>
          <p:spPr>
            <a:xfrm>
              <a:off x="2852213" y="3350780"/>
              <a:ext cx="60917" cy="128892"/>
            </a:xfrm>
            <a:custGeom>
              <a:avLst/>
              <a:gdLst>
                <a:gd name="connsiteX0" fmla="*/ 37928 w 60917"/>
                <a:gd name="connsiteY0" fmla="*/ 128892 h 128892"/>
                <a:gd name="connsiteX1" fmla="*/ 31014 w 60917"/>
                <a:gd name="connsiteY1" fmla="*/ 68485 h 128892"/>
                <a:gd name="connsiteX2" fmla="*/ 30068 w 60917"/>
                <a:gd name="connsiteY2" fmla="*/ 68485 h 128892"/>
                <a:gd name="connsiteX3" fmla="*/ 20388 w 60917"/>
                <a:gd name="connsiteY3" fmla="*/ 128892 h 128892"/>
                <a:gd name="connsiteX4" fmla="*/ 13838 w 60917"/>
                <a:gd name="connsiteY4" fmla="*/ 128892 h 128892"/>
                <a:gd name="connsiteX5" fmla="*/ 13474 w 60917"/>
                <a:gd name="connsiteY5" fmla="*/ 48908 h 128892"/>
                <a:gd name="connsiteX6" fmla="*/ 13328 w 60917"/>
                <a:gd name="connsiteY6" fmla="*/ 41484 h 128892"/>
                <a:gd name="connsiteX7" fmla="*/ 6196 w 60917"/>
                <a:gd name="connsiteY7" fmla="*/ 40393 h 128892"/>
                <a:gd name="connsiteX8" fmla="*/ 1393 w 60917"/>
                <a:gd name="connsiteY8" fmla="*/ 28966 h 128892"/>
                <a:gd name="connsiteX9" fmla="*/ 19151 w 60917"/>
                <a:gd name="connsiteY9" fmla="*/ 4149 h 128892"/>
                <a:gd name="connsiteX10" fmla="*/ 26210 w 60917"/>
                <a:gd name="connsiteY10" fmla="*/ 0 h 128892"/>
                <a:gd name="connsiteX11" fmla="*/ 35308 w 60917"/>
                <a:gd name="connsiteY11" fmla="*/ 0 h 128892"/>
                <a:gd name="connsiteX12" fmla="*/ 42586 w 60917"/>
                <a:gd name="connsiteY12" fmla="*/ 4440 h 128892"/>
                <a:gd name="connsiteX13" fmla="*/ 59616 w 60917"/>
                <a:gd name="connsiteY13" fmla="*/ 29112 h 128892"/>
                <a:gd name="connsiteX14" fmla="*/ 54813 w 60917"/>
                <a:gd name="connsiteY14" fmla="*/ 40465 h 128892"/>
                <a:gd name="connsiteX15" fmla="*/ 48699 w 60917"/>
                <a:gd name="connsiteY15" fmla="*/ 41484 h 128892"/>
                <a:gd name="connsiteX16" fmla="*/ 47971 w 60917"/>
                <a:gd name="connsiteY16" fmla="*/ 52547 h 128892"/>
                <a:gd name="connsiteX17" fmla="*/ 44405 w 60917"/>
                <a:gd name="connsiteY17" fmla="*/ 128892 h 128892"/>
                <a:gd name="connsiteX18" fmla="*/ 37928 w 60917"/>
                <a:gd name="connsiteY18" fmla="*/ 128892 h 12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17" h="128892">
                  <a:moveTo>
                    <a:pt x="37928" y="128892"/>
                  </a:moveTo>
                  <a:lnTo>
                    <a:pt x="31014" y="68485"/>
                  </a:lnTo>
                  <a:lnTo>
                    <a:pt x="30068" y="68485"/>
                  </a:lnTo>
                  <a:lnTo>
                    <a:pt x="20388" y="128892"/>
                  </a:lnTo>
                  <a:lnTo>
                    <a:pt x="13838" y="128892"/>
                  </a:lnTo>
                  <a:lnTo>
                    <a:pt x="13474" y="48908"/>
                  </a:lnTo>
                  <a:lnTo>
                    <a:pt x="13328" y="41484"/>
                  </a:lnTo>
                  <a:lnTo>
                    <a:pt x="6196" y="40393"/>
                  </a:lnTo>
                  <a:cubicBezTo>
                    <a:pt x="810" y="39592"/>
                    <a:pt x="-1810" y="33406"/>
                    <a:pt x="1393" y="28966"/>
                  </a:cubicBezTo>
                  <a:lnTo>
                    <a:pt x="19151" y="4149"/>
                  </a:lnTo>
                  <a:cubicBezTo>
                    <a:pt x="20534" y="1674"/>
                    <a:pt x="23226" y="0"/>
                    <a:pt x="26210" y="0"/>
                  </a:cubicBezTo>
                  <a:lnTo>
                    <a:pt x="35308" y="0"/>
                  </a:lnTo>
                  <a:cubicBezTo>
                    <a:pt x="38437" y="0"/>
                    <a:pt x="41203" y="1819"/>
                    <a:pt x="42586" y="4440"/>
                  </a:cubicBezTo>
                  <a:lnTo>
                    <a:pt x="59616" y="29112"/>
                  </a:lnTo>
                  <a:cubicBezTo>
                    <a:pt x="62673" y="33479"/>
                    <a:pt x="60053" y="39592"/>
                    <a:pt x="54813" y="40465"/>
                  </a:cubicBezTo>
                  <a:lnTo>
                    <a:pt x="48699" y="41484"/>
                  </a:lnTo>
                  <a:lnTo>
                    <a:pt x="47971" y="52547"/>
                  </a:lnTo>
                  <a:lnTo>
                    <a:pt x="44405" y="128892"/>
                  </a:lnTo>
                  <a:lnTo>
                    <a:pt x="37928" y="128892"/>
                  </a:lnTo>
                  <a:close/>
                </a:path>
              </a:pathLst>
            </a:custGeom>
            <a:gradFill>
              <a:gsLst>
                <a:gs pos="0">
                  <a:srgbClr val="A50885"/>
                </a:gs>
                <a:gs pos="50000">
                  <a:srgbClr val="520C5D"/>
                </a:gs>
                <a:gs pos="100000">
                  <a:srgbClr val="001135"/>
                </a:gs>
              </a:gsLst>
              <a:lin ang="5400000" scaled="1"/>
            </a:gradFill>
            <a:ln w="728" cap="flat">
              <a:noFill/>
              <a:prstDash val="solid"/>
              <a:miter/>
            </a:ln>
          </p:spPr>
          <p:txBody>
            <a:bodyPr rtlCol="0" anchor="ctr"/>
            <a:lstStyle/>
            <a:p>
              <a:endParaRPr lang="en-US"/>
            </a:p>
          </p:txBody>
        </p:sp>
      </p:grpSp>
      <p:sp>
        <p:nvSpPr>
          <p:cNvPr id="3" name="Text Placeholder 2">
            <a:extLst>
              <a:ext uri="{FF2B5EF4-FFF2-40B4-BE49-F238E27FC236}">
                <a16:creationId xmlns:a16="http://schemas.microsoft.com/office/drawing/2014/main" id="{4B9F3BFA-7FD6-11BE-D639-61839680A3DE}"/>
              </a:ext>
            </a:extLst>
          </p:cNvPr>
          <p:cNvSpPr>
            <a:spLocks noGrp="1"/>
          </p:cNvSpPr>
          <p:nvPr>
            <p:ph type="body" sz="quarter" idx="12"/>
          </p:nvPr>
        </p:nvSpPr>
        <p:spPr/>
        <p:txBody>
          <a:bodyPr/>
          <a:lstStyle/>
          <a:p>
            <a:r>
              <a:rPr lang="en-US" dirty="0"/>
              <a:t>Extreme connectivity</a:t>
            </a:r>
          </a:p>
        </p:txBody>
      </p:sp>
      <p:sp>
        <p:nvSpPr>
          <p:cNvPr id="4" name="Text Placeholder 3">
            <a:extLst>
              <a:ext uri="{FF2B5EF4-FFF2-40B4-BE49-F238E27FC236}">
                <a16:creationId xmlns:a16="http://schemas.microsoft.com/office/drawing/2014/main" id="{4CB76B6D-C19E-759C-12BB-62E370B36EDA}"/>
              </a:ext>
            </a:extLst>
          </p:cNvPr>
          <p:cNvSpPr>
            <a:spLocks noGrp="1"/>
          </p:cNvSpPr>
          <p:nvPr>
            <p:ph type="body" sz="quarter" idx="13"/>
          </p:nvPr>
        </p:nvSpPr>
        <p:spPr/>
        <p:txBody>
          <a:bodyPr/>
          <a:lstStyle/>
          <a:p>
            <a:r>
              <a:rPr lang="en-US" dirty="0"/>
              <a:t>End-point is a critical sub-network with specific requirements</a:t>
            </a:r>
          </a:p>
        </p:txBody>
      </p:sp>
      <p:sp>
        <p:nvSpPr>
          <p:cNvPr id="2" name="Footer Placeholder 1">
            <a:extLst>
              <a:ext uri="{FF2B5EF4-FFF2-40B4-BE49-F238E27FC236}">
                <a16:creationId xmlns:a16="http://schemas.microsoft.com/office/drawing/2014/main" id="{A2E3C08F-90EF-4F5C-898F-5EB16E1D7ABF}"/>
              </a:ext>
            </a:extLst>
          </p:cNvPr>
          <p:cNvSpPr>
            <a:spLocks noGrp="1"/>
          </p:cNvSpPr>
          <p:nvPr>
            <p:ph type="ftr" sz="quarter" idx="3"/>
          </p:nvPr>
        </p:nvSpPr>
        <p:spPr/>
        <p:txBody>
          <a:bodyPr/>
          <a:lstStyle/>
          <a:p>
            <a:r>
              <a:rPr lang="en-US"/>
              <a:t>Public</a:t>
            </a:r>
            <a:endParaRPr lang="en-US" dirty="0"/>
          </a:p>
        </p:txBody>
      </p:sp>
      <p:grpSp>
        <p:nvGrpSpPr>
          <p:cNvPr id="687" name="Group 686">
            <a:extLst>
              <a:ext uri="{FF2B5EF4-FFF2-40B4-BE49-F238E27FC236}">
                <a16:creationId xmlns:a16="http://schemas.microsoft.com/office/drawing/2014/main" id="{9EF3E87E-EAB0-0D7B-6080-E29691A73EE0}"/>
              </a:ext>
            </a:extLst>
          </p:cNvPr>
          <p:cNvGrpSpPr/>
          <p:nvPr/>
        </p:nvGrpSpPr>
        <p:grpSpPr>
          <a:xfrm>
            <a:off x="4603707" y="1278075"/>
            <a:ext cx="4282027" cy="3265579"/>
            <a:chOff x="4242326" y="950259"/>
            <a:chExt cx="4929974" cy="3761958"/>
          </a:xfrm>
        </p:grpSpPr>
        <p:sp>
          <p:nvSpPr>
            <p:cNvPr id="688" name="Pentagon 687">
              <a:extLst>
                <a:ext uri="{FF2B5EF4-FFF2-40B4-BE49-F238E27FC236}">
                  <a16:creationId xmlns:a16="http://schemas.microsoft.com/office/drawing/2014/main" id="{3BF2A325-435A-4765-FC20-CF9D268896AD}"/>
                </a:ext>
              </a:extLst>
            </p:cNvPr>
            <p:cNvSpPr>
              <a:spLocks noChangeAspect="1"/>
            </p:cNvSpPr>
            <p:nvPr/>
          </p:nvSpPr>
          <p:spPr>
            <a:xfrm>
              <a:off x="5089932" y="1362975"/>
              <a:ext cx="3024000" cy="2880000"/>
            </a:xfrm>
            <a:prstGeom prst="pentagon">
              <a:avLst/>
            </a:prstGeom>
            <a:no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89" name="Pentagon 688">
              <a:extLst>
                <a:ext uri="{FF2B5EF4-FFF2-40B4-BE49-F238E27FC236}">
                  <a16:creationId xmlns:a16="http://schemas.microsoft.com/office/drawing/2014/main" id="{5C2770DA-666E-583C-B2EB-E1BE22F88C22}"/>
                </a:ext>
              </a:extLst>
            </p:cNvPr>
            <p:cNvSpPr>
              <a:spLocks noChangeAspect="1"/>
            </p:cNvSpPr>
            <p:nvPr/>
          </p:nvSpPr>
          <p:spPr>
            <a:xfrm>
              <a:off x="5467932" y="1722975"/>
              <a:ext cx="2268000" cy="2160000"/>
            </a:xfrm>
            <a:prstGeom prst="pentagon">
              <a:avLst/>
            </a:prstGeom>
            <a:no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90" name="Pentagon 689">
              <a:extLst>
                <a:ext uri="{FF2B5EF4-FFF2-40B4-BE49-F238E27FC236}">
                  <a16:creationId xmlns:a16="http://schemas.microsoft.com/office/drawing/2014/main" id="{BCF57B84-80D6-7CEB-9405-7B2FE36C6148}"/>
                </a:ext>
              </a:extLst>
            </p:cNvPr>
            <p:cNvSpPr>
              <a:spLocks noChangeAspect="1"/>
            </p:cNvSpPr>
            <p:nvPr/>
          </p:nvSpPr>
          <p:spPr>
            <a:xfrm>
              <a:off x="5845932" y="2082976"/>
              <a:ext cx="1512000" cy="1440000"/>
            </a:xfrm>
            <a:prstGeom prst="pentagon">
              <a:avLst/>
            </a:prstGeom>
            <a:noFill/>
            <a:ln w="952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91" name="Pentagon 690">
              <a:extLst>
                <a:ext uri="{FF2B5EF4-FFF2-40B4-BE49-F238E27FC236}">
                  <a16:creationId xmlns:a16="http://schemas.microsoft.com/office/drawing/2014/main" id="{69D2E204-D1B3-5834-44DC-7E056836542B}"/>
                </a:ext>
              </a:extLst>
            </p:cNvPr>
            <p:cNvSpPr>
              <a:spLocks noChangeAspect="1"/>
            </p:cNvSpPr>
            <p:nvPr/>
          </p:nvSpPr>
          <p:spPr>
            <a:xfrm>
              <a:off x="6223932" y="2442975"/>
              <a:ext cx="756000" cy="720000"/>
            </a:xfrm>
            <a:prstGeom prst="pentagon">
              <a:avLst/>
            </a:prstGeom>
            <a:noFill/>
            <a:ln w="317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92" name="Pentagon 691">
              <a:extLst>
                <a:ext uri="{FF2B5EF4-FFF2-40B4-BE49-F238E27FC236}">
                  <a16:creationId xmlns:a16="http://schemas.microsoft.com/office/drawing/2014/main" id="{F56C3DF7-7217-994A-B7DF-2BCC3ED8799C}"/>
                </a:ext>
              </a:extLst>
            </p:cNvPr>
            <p:cNvSpPr>
              <a:spLocks noChangeAspect="1"/>
            </p:cNvSpPr>
            <p:nvPr/>
          </p:nvSpPr>
          <p:spPr>
            <a:xfrm>
              <a:off x="5656932" y="1902975"/>
              <a:ext cx="1890000" cy="1800000"/>
            </a:xfrm>
            <a:prstGeom prst="pentagon">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93" name="Pentagon 692">
              <a:extLst>
                <a:ext uri="{FF2B5EF4-FFF2-40B4-BE49-F238E27FC236}">
                  <a16:creationId xmlns:a16="http://schemas.microsoft.com/office/drawing/2014/main" id="{32DEAF93-8D18-1E49-33F2-88E63C65DEDE}"/>
                </a:ext>
              </a:extLst>
            </p:cNvPr>
            <p:cNvSpPr>
              <a:spLocks noChangeAspect="1"/>
            </p:cNvSpPr>
            <p:nvPr/>
          </p:nvSpPr>
          <p:spPr>
            <a:xfrm>
              <a:off x="5278932" y="1542975"/>
              <a:ext cx="2646000" cy="2520000"/>
            </a:xfrm>
            <a:prstGeom prst="pentagon">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solidFill>
                    <a:srgbClr val="4D5766"/>
                  </a:solid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sp>
          <p:nvSpPr>
            <p:cNvPr id="694" name="Pentagon 693">
              <a:extLst>
                <a:ext uri="{FF2B5EF4-FFF2-40B4-BE49-F238E27FC236}">
                  <a16:creationId xmlns:a16="http://schemas.microsoft.com/office/drawing/2014/main" id="{50DF6CA4-D17C-6C37-7363-FD9E4FE4CDE3}"/>
                </a:ext>
              </a:extLst>
            </p:cNvPr>
            <p:cNvSpPr>
              <a:spLocks noChangeAspect="1"/>
            </p:cNvSpPr>
            <p:nvPr/>
          </p:nvSpPr>
          <p:spPr>
            <a:xfrm>
              <a:off x="6034932" y="2262975"/>
              <a:ext cx="1134000" cy="1080000"/>
            </a:xfrm>
            <a:prstGeom prst="pentagon">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695" name="Straight Connector 694">
              <a:extLst>
                <a:ext uri="{FF2B5EF4-FFF2-40B4-BE49-F238E27FC236}">
                  <a16:creationId xmlns:a16="http://schemas.microsoft.com/office/drawing/2014/main" id="{716A0A55-2C9C-8FC9-AEBC-42B6C81A88C7}"/>
                </a:ext>
              </a:extLst>
            </p:cNvPr>
            <p:cNvCxnSpPr>
              <a:cxnSpLocks/>
              <a:endCxn id="696" idx="0"/>
            </p:cNvCxnSpPr>
            <p:nvPr/>
          </p:nvCxnSpPr>
          <p:spPr>
            <a:xfrm>
              <a:off x="5198022" y="2505527"/>
              <a:ext cx="1403910" cy="117448"/>
            </a:xfrm>
            <a:prstGeom prst="line">
              <a:avLst/>
            </a:prstGeom>
            <a:ln w="15875">
              <a:prstDash val="solid"/>
            </a:ln>
          </p:spPr>
          <p:style>
            <a:lnRef idx="1">
              <a:schemeClr val="accent6"/>
            </a:lnRef>
            <a:fillRef idx="0">
              <a:schemeClr val="accent6"/>
            </a:fillRef>
            <a:effectRef idx="0">
              <a:schemeClr val="accent6"/>
            </a:effectRef>
            <a:fontRef idx="minor">
              <a:schemeClr val="tx1"/>
            </a:fontRef>
          </p:style>
        </p:cxnSp>
        <p:sp>
          <p:nvSpPr>
            <p:cNvPr id="696" name="Pentagon 695">
              <a:extLst>
                <a:ext uri="{FF2B5EF4-FFF2-40B4-BE49-F238E27FC236}">
                  <a16:creationId xmlns:a16="http://schemas.microsoft.com/office/drawing/2014/main" id="{EFB3D3AE-2231-D113-723D-B8660AAD20FE}"/>
                </a:ext>
              </a:extLst>
            </p:cNvPr>
            <p:cNvSpPr>
              <a:spLocks noChangeAspect="1"/>
            </p:cNvSpPr>
            <p:nvPr/>
          </p:nvSpPr>
          <p:spPr>
            <a:xfrm>
              <a:off x="6412932" y="2622975"/>
              <a:ext cx="378000" cy="360000"/>
            </a:xfrm>
            <a:prstGeom prst="pentagon">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chemeClr val="tx2"/>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697" name="Straight Connector 696">
              <a:extLst>
                <a:ext uri="{FF2B5EF4-FFF2-40B4-BE49-F238E27FC236}">
                  <a16:creationId xmlns:a16="http://schemas.microsoft.com/office/drawing/2014/main" id="{49639D84-5A59-D112-48FC-94E127FD96F8}"/>
                </a:ext>
              </a:extLst>
            </p:cNvPr>
            <p:cNvCxnSpPr>
              <a:cxnSpLocks/>
              <a:stCxn id="696" idx="0"/>
              <a:endCxn id="693" idx="5"/>
            </p:cNvCxnSpPr>
            <p:nvPr/>
          </p:nvCxnSpPr>
          <p:spPr>
            <a:xfrm flipV="1">
              <a:off x="6601932" y="2505527"/>
              <a:ext cx="1322997" cy="117448"/>
            </a:xfrm>
            <a:prstGeom prst="line">
              <a:avLst/>
            </a:prstGeom>
            <a:ln w="15875">
              <a:prstDash val="solid"/>
            </a:ln>
          </p:spPr>
          <p:style>
            <a:lnRef idx="1">
              <a:schemeClr val="accent6"/>
            </a:lnRef>
            <a:fillRef idx="0">
              <a:schemeClr val="accent6"/>
            </a:fillRef>
            <a:effectRef idx="0">
              <a:schemeClr val="accent6"/>
            </a:effectRef>
            <a:fontRef idx="minor">
              <a:schemeClr val="tx1"/>
            </a:fontRef>
          </p:style>
        </p:cxnSp>
        <p:cxnSp>
          <p:nvCxnSpPr>
            <p:cNvPr id="698" name="Straight Connector 697">
              <a:extLst>
                <a:ext uri="{FF2B5EF4-FFF2-40B4-BE49-F238E27FC236}">
                  <a16:creationId xmlns:a16="http://schemas.microsoft.com/office/drawing/2014/main" id="{1C5DADC9-A765-BA32-5CD7-87ACE12BDC8E}"/>
                </a:ext>
              </a:extLst>
            </p:cNvPr>
            <p:cNvCxnSpPr>
              <a:cxnSpLocks/>
              <a:endCxn id="693" idx="5"/>
            </p:cNvCxnSpPr>
            <p:nvPr/>
          </p:nvCxnSpPr>
          <p:spPr>
            <a:xfrm flipV="1">
              <a:off x="7168932" y="2505527"/>
              <a:ext cx="755997" cy="1197448"/>
            </a:xfrm>
            <a:prstGeom prst="line">
              <a:avLst/>
            </a:prstGeom>
            <a:ln w="15875">
              <a:prstDash val="solid"/>
            </a:ln>
          </p:spPr>
          <p:style>
            <a:lnRef idx="1">
              <a:schemeClr val="accent6"/>
            </a:lnRef>
            <a:fillRef idx="0">
              <a:schemeClr val="accent6"/>
            </a:fillRef>
            <a:effectRef idx="0">
              <a:schemeClr val="accent6"/>
            </a:effectRef>
            <a:fontRef idx="minor">
              <a:schemeClr val="tx1"/>
            </a:fontRef>
          </p:style>
        </p:cxnSp>
        <p:cxnSp>
          <p:nvCxnSpPr>
            <p:cNvPr id="699" name="Straight Connector 698">
              <a:extLst>
                <a:ext uri="{FF2B5EF4-FFF2-40B4-BE49-F238E27FC236}">
                  <a16:creationId xmlns:a16="http://schemas.microsoft.com/office/drawing/2014/main" id="{684DA577-54B8-ADBC-455C-B9B147248664}"/>
                </a:ext>
              </a:extLst>
            </p:cNvPr>
            <p:cNvCxnSpPr>
              <a:cxnSpLocks/>
              <a:stCxn id="692" idx="4"/>
              <a:endCxn id="693" idx="2"/>
            </p:cNvCxnSpPr>
            <p:nvPr/>
          </p:nvCxnSpPr>
          <p:spPr>
            <a:xfrm flipH="1">
              <a:off x="5784275" y="3702970"/>
              <a:ext cx="1401698" cy="359999"/>
            </a:xfrm>
            <a:prstGeom prst="line">
              <a:avLst/>
            </a:prstGeom>
            <a:ln w="15875">
              <a:prstDash val="solid"/>
            </a:ln>
          </p:spPr>
          <p:style>
            <a:lnRef idx="1">
              <a:schemeClr val="accent6"/>
            </a:lnRef>
            <a:fillRef idx="0">
              <a:schemeClr val="accent6"/>
            </a:fillRef>
            <a:effectRef idx="0">
              <a:schemeClr val="accent6"/>
            </a:effectRef>
            <a:fontRef idx="minor">
              <a:schemeClr val="tx1"/>
            </a:fontRef>
          </p:style>
        </p:cxnSp>
        <p:cxnSp>
          <p:nvCxnSpPr>
            <p:cNvPr id="700" name="Straight Connector 699">
              <a:extLst>
                <a:ext uri="{FF2B5EF4-FFF2-40B4-BE49-F238E27FC236}">
                  <a16:creationId xmlns:a16="http://schemas.microsoft.com/office/drawing/2014/main" id="{6AD1F93B-2B14-744D-8D36-9E888BCC0F24}"/>
                </a:ext>
              </a:extLst>
            </p:cNvPr>
            <p:cNvCxnSpPr>
              <a:cxnSpLocks/>
            </p:cNvCxnSpPr>
            <p:nvPr/>
          </p:nvCxnSpPr>
          <p:spPr>
            <a:xfrm flipH="1" flipV="1">
              <a:off x="5198022" y="2505527"/>
              <a:ext cx="586253" cy="1557443"/>
            </a:xfrm>
            <a:prstGeom prst="line">
              <a:avLst/>
            </a:prstGeom>
            <a:ln w="15875">
              <a:prstDash val="solid"/>
            </a:ln>
          </p:spPr>
          <p:style>
            <a:lnRef idx="1">
              <a:schemeClr val="accent6"/>
            </a:lnRef>
            <a:fillRef idx="0">
              <a:schemeClr val="accent6"/>
            </a:fillRef>
            <a:effectRef idx="0">
              <a:schemeClr val="accent6"/>
            </a:effectRef>
            <a:fontRef idx="minor">
              <a:schemeClr val="tx1"/>
            </a:fontRef>
          </p:style>
        </p:cxnSp>
        <p:cxnSp>
          <p:nvCxnSpPr>
            <p:cNvPr id="701" name="Straight Connector 700">
              <a:extLst>
                <a:ext uri="{FF2B5EF4-FFF2-40B4-BE49-F238E27FC236}">
                  <a16:creationId xmlns:a16="http://schemas.microsoft.com/office/drawing/2014/main" id="{AB6C1C2B-F328-6B3A-D2AC-80B703D3F1A0}"/>
                </a:ext>
              </a:extLst>
            </p:cNvPr>
            <p:cNvCxnSpPr>
              <a:cxnSpLocks/>
              <a:stCxn id="694" idx="0"/>
              <a:endCxn id="690" idx="1"/>
            </p:cNvCxnSpPr>
            <p:nvPr/>
          </p:nvCxnSpPr>
          <p:spPr>
            <a:xfrm flipH="1">
              <a:off x="5845934" y="2262975"/>
              <a:ext cx="755998" cy="370030"/>
            </a:xfrm>
            <a:prstGeom prst="line">
              <a:avLst/>
            </a:prstGeom>
            <a:ln w="15875"/>
          </p:spPr>
          <p:style>
            <a:lnRef idx="1">
              <a:schemeClr val="accent5"/>
            </a:lnRef>
            <a:fillRef idx="0">
              <a:schemeClr val="accent5"/>
            </a:fillRef>
            <a:effectRef idx="0">
              <a:schemeClr val="accent5"/>
            </a:effectRef>
            <a:fontRef idx="minor">
              <a:schemeClr val="tx1"/>
            </a:fontRef>
          </p:style>
        </p:cxnSp>
        <p:cxnSp>
          <p:nvCxnSpPr>
            <p:cNvPr id="702" name="Straight Connector 701">
              <a:extLst>
                <a:ext uri="{FF2B5EF4-FFF2-40B4-BE49-F238E27FC236}">
                  <a16:creationId xmlns:a16="http://schemas.microsoft.com/office/drawing/2014/main" id="{45230DD3-F573-7D25-EFDC-62B9FD03BA50}"/>
                </a:ext>
              </a:extLst>
            </p:cNvPr>
            <p:cNvCxnSpPr>
              <a:cxnSpLocks/>
            </p:cNvCxnSpPr>
            <p:nvPr/>
          </p:nvCxnSpPr>
          <p:spPr>
            <a:xfrm>
              <a:off x="6596920" y="2262975"/>
              <a:ext cx="755997" cy="370030"/>
            </a:xfrm>
            <a:prstGeom prst="line">
              <a:avLst/>
            </a:prstGeom>
            <a:ln w="15875">
              <a:prstDash val="solid"/>
            </a:ln>
          </p:spPr>
          <p:style>
            <a:lnRef idx="1">
              <a:schemeClr val="accent5"/>
            </a:lnRef>
            <a:fillRef idx="0">
              <a:schemeClr val="accent5"/>
            </a:fillRef>
            <a:effectRef idx="0">
              <a:schemeClr val="accent5"/>
            </a:effectRef>
            <a:fontRef idx="minor">
              <a:schemeClr val="tx1"/>
            </a:fontRef>
          </p:style>
        </p:cxnSp>
        <p:cxnSp>
          <p:nvCxnSpPr>
            <p:cNvPr id="703" name="Straight Connector 702">
              <a:extLst>
                <a:ext uri="{FF2B5EF4-FFF2-40B4-BE49-F238E27FC236}">
                  <a16:creationId xmlns:a16="http://schemas.microsoft.com/office/drawing/2014/main" id="{6790EA5B-9EC5-06AA-11DC-6F8294BDE057}"/>
                </a:ext>
              </a:extLst>
            </p:cNvPr>
            <p:cNvCxnSpPr>
              <a:cxnSpLocks/>
              <a:stCxn id="690" idx="5"/>
              <a:endCxn id="692" idx="4"/>
            </p:cNvCxnSpPr>
            <p:nvPr/>
          </p:nvCxnSpPr>
          <p:spPr>
            <a:xfrm flipH="1">
              <a:off x="7185973" y="2633005"/>
              <a:ext cx="171957" cy="1069965"/>
            </a:xfrm>
            <a:prstGeom prst="line">
              <a:avLst/>
            </a:prstGeom>
            <a:ln w="15875">
              <a:prstDash val="solid"/>
            </a:ln>
          </p:spPr>
          <p:style>
            <a:lnRef idx="1">
              <a:schemeClr val="accent5"/>
            </a:lnRef>
            <a:fillRef idx="0">
              <a:schemeClr val="accent5"/>
            </a:fillRef>
            <a:effectRef idx="0">
              <a:schemeClr val="accent5"/>
            </a:effectRef>
            <a:fontRef idx="minor">
              <a:schemeClr val="tx1"/>
            </a:fontRef>
          </p:style>
        </p:cxnSp>
        <p:cxnSp>
          <p:nvCxnSpPr>
            <p:cNvPr id="704" name="Straight Connector 703">
              <a:extLst>
                <a:ext uri="{FF2B5EF4-FFF2-40B4-BE49-F238E27FC236}">
                  <a16:creationId xmlns:a16="http://schemas.microsoft.com/office/drawing/2014/main" id="{8F3F60A9-4B6D-4A7C-8E1B-1B3F02671F17}"/>
                </a:ext>
              </a:extLst>
            </p:cNvPr>
            <p:cNvCxnSpPr>
              <a:cxnSpLocks/>
              <a:stCxn id="690" idx="1"/>
              <a:endCxn id="690" idx="2"/>
            </p:cNvCxnSpPr>
            <p:nvPr/>
          </p:nvCxnSpPr>
          <p:spPr>
            <a:xfrm>
              <a:off x="5845934" y="2633005"/>
              <a:ext cx="288765" cy="889966"/>
            </a:xfrm>
            <a:prstGeom prst="line">
              <a:avLst/>
            </a:prstGeom>
            <a:ln w="15875">
              <a:prstDash val="solid"/>
            </a:ln>
          </p:spPr>
          <p:style>
            <a:lnRef idx="1">
              <a:schemeClr val="accent5"/>
            </a:lnRef>
            <a:fillRef idx="0">
              <a:schemeClr val="accent5"/>
            </a:fillRef>
            <a:effectRef idx="0">
              <a:schemeClr val="accent5"/>
            </a:effectRef>
            <a:fontRef idx="minor">
              <a:schemeClr val="tx1"/>
            </a:fontRef>
          </p:style>
        </p:cxnSp>
        <p:cxnSp>
          <p:nvCxnSpPr>
            <p:cNvPr id="705" name="Straight Connector 704">
              <a:extLst>
                <a:ext uri="{FF2B5EF4-FFF2-40B4-BE49-F238E27FC236}">
                  <a16:creationId xmlns:a16="http://schemas.microsoft.com/office/drawing/2014/main" id="{4A5B677C-AE6E-4FB5-1F48-E144BC2978B1}"/>
                </a:ext>
              </a:extLst>
            </p:cNvPr>
            <p:cNvCxnSpPr>
              <a:cxnSpLocks/>
              <a:stCxn id="690" idx="2"/>
              <a:endCxn id="692" idx="4"/>
            </p:cNvCxnSpPr>
            <p:nvPr/>
          </p:nvCxnSpPr>
          <p:spPr>
            <a:xfrm>
              <a:off x="6134699" y="3522971"/>
              <a:ext cx="1051274" cy="179999"/>
            </a:xfrm>
            <a:prstGeom prst="line">
              <a:avLst/>
            </a:prstGeom>
            <a:ln w="15875">
              <a:prstDash val="solid"/>
            </a:ln>
          </p:spPr>
          <p:style>
            <a:lnRef idx="1">
              <a:schemeClr val="accent5"/>
            </a:lnRef>
            <a:fillRef idx="0">
              <a:schemeClr val="accent5"/>
            </a:fillRef>
            <a:effectRef idx="0">
              <a:schemeClr val="accent5"/>
            </a:effectRef>
            <a:fontRef idx="minor">
              <a:schemeClr val="tx1"/>
            </a:fontRef>
          </p:style>
        </p:cxnSp>
        <p:cxnSp>
          <p:nvCxnSpPr>
            <p:cNvPr id="706" name="Straight Connector 705">
              <a:extLst>
                <a:ext uri="{FF2B5EF4-FFF2-40B4-BE49-F238E27FC236}">
                  <a16:creationId xmlns:a16="http://schemas.microsoft.com/office/drawing/2014/main" id="{258A1606-BE84-92C7-445E-8A35C93F0F92}"/>
                </a:ext>
              </a:extLst>
            </p:cNvPr>
            <p:cNvCxnSpPr>
              <a:cxnSpLocks/>
              <a:endCxn id="693" idx="5"/>
            </p:cNvCxnSpPr>
            <p:nvPr/>
          </p:nvCxnSpPr>
          <p:spPr>
            <a:xfrm>
              <a:off x="6601932" y="2180212"/>
              <a:ext cx="1322997" cy="325315"/>
            </a:xfrm>
            <a:prstGeom prst="line">
              <a:avLst/>
            </a:prstGeom>
            <a:ln w="15875"/>
          </p:spPr>
          <p:style>
            <a:lnRef idx="1">
              <a:schemeClr val="accent3"/>
            </a:lnRef>
            <a:fillRef idx="0">
              <a:schemeClr val="accent3"/>
            </a:fillRef>
            <a:effectRef idx="0">
              <a:schemeClr val="accent3"/>
            </a:effectRef>
            <a:fontRef idx="minor">
              <a:schemeClr val="tx1"/>
            </a:fontRef>
          </p:style>
        </p:cxnSp>
        <p:cxnSp>
          <p:nvCxnSpPr>
            <p:cNvPr id="707" name="Straight Connector 706">
              <a:extLst>
                <a:ext uri="{FF2B5EF4-FFF2-40B4-BE49-F238E27FC236}">
                  <a16:creationId xmlns:a16="http://schemas.microsoft.com/office/drawing/2014/main" id="{40095CD7-5D82-6BAC-DA90-0AC92EE822C8}"/>
                </a:ext>
              </a:extLst>
            </p:cNvPr>
            <p:cNvCxnSpPr>
              <a:cxnSpLocks/>
              <a:endCxn id="690" idx="1"/>
            </p:cNvCxnSpPr>
            <p:nvPr/>
          </p:nvCxnSpPr>
          <p:spPr>
            <a:xfrm flipH="1">
              <a:off x="5845933" y="2180206"/>
              <a:ext cx="755999" cy="452800"/>
            </a:xfrm>
            <a:prstGeom prst="line">
              <a:avLst/>
            </a:prstGeom>
            <a:ln w="15875">
              <a:prstDash val="solid"/>
            </a:ln>
          </p:spPr>
          <p:style>
            <a:lnRef idx="1">
              <a:schemeClr val="accent3"/>
            </a:lnRef>
            <a:fillRef idx="0">
              <a:schemeClr val="accent3"/>
            </a:fillRef>
            <a:effectRef idx="0">
              <a:schemeClr val="accent3"/>
            </a:effectRef>
            <a:fontRef idx="minor">
              <a:schemeClr val="tx1"/>
            </a:fontRef>
          </p:style>
        </p:cxnSp>
        <p:cxnSp>
          <p:nvCxnSpPr>
            <p:cNvPr id="708" name="Straight Connector 707">
              <a:extLst>
                <a:ext uri="{FF2B5EF4-FFF2-40B4-BE49-F238E27FC236}">
                  <a16:creationId xmlns:a16="http://schemas.microsoft.com/office/drawing/2014/main" id="{78329223-AF7D-1BFE-158F-C274AD2B99CE}"/>
                </a:ext>
              </a:extLst>
            </p:cNvPr>
            <p:cNvCxnSpPr>
              <a:cxnSpLocks/>
              <a:stCxn id="693" idx="2"/>
              <a:endCxn id="690" idx="1"/>
            </p:cNvCxnSpPr>
            <p:nvPr/>
          </p:nvCxnSpPr>
          <p:spPr>
            <a:xfrm flipV="1">
              <a:off x="5784276" y="2633005"/>
              <a:ext cx="61658" cy="1429963"/>
            </a:xfrm>
            <a:prstGeom prst="line">
              <a:avLst/>
            </a:prstGeom>
            <a:ln w="15875"/>
          </p:spPr>
          <p:style>
            <a:lnRef idx="1">
              <a:schemeClr val="accent3"/>
            </a:lnRef>
            <a:fillRef idx="0">
              <a:schemeClr val="accent3"/>
            </a:fillRef>
            <a:effectRef idx="0">
              <a:schemeClr val="accent3"/>
            </a:effectRef>
            <a:fontRef idx="minor">
              <a:schemeClr val="tx1"/>
            </a:fontRef>
          </p:style>
        </p:cxnSp>
        <p:cxnSp>
          <p:nvCxnSpPr>
            <p:cNvPr id="709" name="Straight Connector 708">
              <a:extLst>
                <a:ext uri="{FF2B5EF4-FFF2-40B4-BE49-F238E27FC236}">
                  <a16:creationId xmlns:a16="http://schemas.microsoft.com/office/drawing/2014/main" id="{5A08A8B0-4096-0417-5E56-1BD157A51934}"/>
                </a:ext>
              </a:extLst>
            </p:cNvPr>
            <p:cNvCxnSpPr>
              <a:cxnSpLocks/>
              <a:stCxn id="693" idx="2"/>
              <a:endCxn id="689" idx="4"/>
            </p:cNvCxnSpPr>
            <p:nvPr/>
          </p:nvCxnSpPr>
          <p:spPr>
            <a:xfrm flipV="1">
              <a:off x="5784275" y="3882970"/>
              <a:ext cx="1518506" cy="179999"/>
            </a:xfrm>
            <a:prstGeom prst="line">
              <a:avLst/>
            </a:prstGeom>
            <a:ln w="15875"/>
          </p:spPr>
          <p:style>
            <a:lnRef idx="1">
              <a:schemeClr val="accent3"/>
            </a:lnRef>
            <a:fillRef idx="0">
              <a:schemeClr val="accent3"/>
            </a:fillRef>
            <a:effectRef idx="0">
              <a:schemeClr val="accent3"/>
            </a:effectRef>
            <a:fontRef idx="minor">
              <a:schemeClr val="tx1"/>
            </a:fontRef>
          </p:style>
        </p:cxnSp>
        <p:cxnSp>
          <p:nvCxnSpPr>
            <p:cNvPr id="710" name="Straight Connector 709">
              <a:extLst>
                <a:ext uri="{FF2B5EF4-FFF2-40B4-BE49-F238E27FC236}">
                  <a16:creationId xmlns:a16="http://schemas.microsoft.com/office/drawing/2014/main" id="{2BDDE676-3E40-A093-FB59-7A2A9EF05C8B}"/>
                </a:ext>
              </a:extLst>
            </p:cNvPr>
            <p:cNvCxnSpPr>
              <a:cxnSpLocks/>
              <a:stCxn id="689" idx="4"/>
              <a:endCxn id="693" idx="5"/>
            </p:cNvCxnSpPr>
            <p:nvPr/>
          </p:nvCxnSpPr>
          <p:spPr>
            <a:xfrm flipV="1">
              <a:off x="7302781" y="2505527"/>
              <a:ext cx="622148" cy="1377443"/>
            </a:xfrm>
            <a:prstGeom prst="line">
              <a:avLst/>
            </a:prstGeom>
            <a:ln w="15875"/>
          </p:spPr>
          <p:style>
            <a:lnRef idx="1">
              <a:schemeClr val="accent3"/>
            </a:lnRef>
            <a:fillRef idx="0">
              <a:schemeClr val="accent3"/>
            </a:fillRef>
            <a:effectRef idx="0">
              <a:schemeClr val="accent3"/>
            </a:effectRef>
            <a:fontRef idx="minor">
              <a:schemeClr val="tx1"/>
            </a:fontRef>
          </p:style>
        </p:cxnSp>
        <p:sp>
          <p:nvSpPr>
            <p:cNvPr id="711" name="TextBox 710">
              <a:extLst>
                <a:ext uri="{FF2B5EF4-FFF2-40B4-BE49-F238E27FC236}">
                  <a16:creationId xmlns:a16="http://schemas.microsoft.com/office/drawing/2014/main" id="{40ABFFAD-9D4A-2EF7-F30F-453BCF45C776}"/>
                </a:ext>
              </a:extLst>
            </p:cNvPr>
            <p:cNvSpPr txBox="1"/>
            <p:nvPr/>
          </p:nvSpPr>
          <p:spPr>
            <a:xfrm>
              <a:off x="6660229" y="1224584"/>
              <a:ext cx="444244" cy="35365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050" b="0" i="0" u="none" strike="noStrike" kern="0" cap="none" spc="0" normalizeH="0" baseline="0" noProof="0">
                  <a:ln>
                    <a:noFill/>
                  </a:ln>
                  <a:solidFill>
                    <a:schemeClr val="tx2"/>
                  </a:solidFill>
                  <a:effectLst/>
                  <a:uLnTx/>
                  <a:uFillTx/>
                  <a:latin typeface="Nokia Pure Text Light"/>
                  <a:ea typeface="+mn-ea"/>
                  <a:cs typeface="+mn-cs"/>
                </a:rPr>
                <a:t>100</a:t>
              </a:r>
            </a:p>
          </p:txBody>
        </p:sp>
        <p:sp>
          <p:nvSpPr>
            <p:cNvPr id="712" name="TextBox 711">
              <a:extLst>
                <a:ext uri="{FF2B5EF4-FFF2-40B4-BE49-F238E27FC236}">
                  <a16:creationId xmlns:a16="http://schemas.microsoft.com/office/drawing/2014/main" id="{70B93745-D1F6-5B01-3C2A-3A57CBA5B3CF}"/>
                </a:ext>
              </a:extLst>
            </p:cNvPr>
            <p:cNvSpPr txBox="1"/>
            <p:nvPr/>
          </p:nvSpPr>
          <p:spPr>
            <a:xfrm>
              <a:off x="6682607" y="1571004"/>
              <a:ext cx="351966" cy="35365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050" b="0" i="0" u="none" strike="noStrike" kern="0" cap="none" spc="0" normalizeH="0" baseline="0" noProof="0">
                  <a:ln>
                    <a:noFill/>
                  </a:ln>
                  <a:solidFill>
                    <a:schemeClr val="tx2"/>
                  </a:solidFill>
                  <a:effectLst/>
                  <a:uLnTx/>
                  <a:uFillTx/>
                  <a:latin typeface="Nokia Pure Text Light"/>
                  <a:ea typeface="+mn-ea"/>
                  <a:cs typeface="+mn-cs"/>
                </a:rPr>
                <a:t>10</a:t>
              </a:r>
            </a:p>
          </p:txBody>
        </p:sp>
        <p:sp>
          <p:nvSpPr>
            <p:cNvPr id="713" name="TextBox 712">
              <a:extLst>
                <a:ext uri="{FF2B5EF4-FFF2-40B4-BE49-F238E27FC236}">
                  <a16:creationId xmlns:a16="http://schemas.microsoft.com/office/drawing/2014/main" id="{B69A30E6-6713-BC74-5106-259278A8393A}"/>
                </a:ext>
              </a:extLst>
            </p:cNvPr>
            <p:cNvSpPr txBox="1"/>
            <p:nvPr/>
          </p:nvSpPr>
          <p:spPr>
            <a:xfrm>
              <a:off x="6715671" y="1927133"/>
              <a:ext cx="259687" cy="353652"/>
            </a:xfrm>
            <a:prstGeom prst="rect">
              <a:avLst/>
            </a:prstGeom>
            <a:noFill/>
          </p:spPr>
          <p:txBody>
            <a:bodyPr wrap="non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050" b="0" i="0" u="none" strike="noStrike" kern="0" cap="none" spc="0" normalizeH="0" baseline="0" noProof="0">
                  <a:ln>
                    <a:noFill/>
                  </a:ln>
                  <a:solidFill>
                    <a:schemeClr val="tx2"/>
                  </a:solidFill>
                  <a:effectLst/>
                  <a:uLnTx/>
                  <a:uFillTx/>
                  <a:latin typeface="Nokia Pure Text Light"/>
                  <a:ea typeface="+mn-ea"/>
                  <a:cs typeface="+mn-cs"/>
                </a:rPr>
                <a:t>1</a:t>
              </a:r>
            </a:p>
          </p:txBody>
        </p:sp>
        <p:sp>
          <p:nvSpPr>
            <p:cNvPr id="714" name="TextBox 713">
              <a:extLst>
                <a:ext uri="{FF2B5EF4-FFF2-40B4-BE49-F238E27FC236}">
                  <a16:creationId xmlns:a16="http://schemas.microsoft.com/office/drawing/2014/main" id="{0FABC448-DBB0-48C1-B3A6-A2B71B4877BD}"/>
                </a:ext>
              </a:extLst>
            </p:cNvPr>
            <p:cNvSpPr txBox="1"/>
            <p:nvPr/>
          </p:nvSpPr>
          <p:spPr>
            <a:xfrm>
              <a:off x="6709593" y="2310285"/>
              <a:ext cx="466197" cy="353652"/>
            </a:xfrm>
            <a:prstGeom prst="rect">
              <a:avLst/>
            </a:prstGeom>
            <a:noFill/>
          </p:spPr>
          <p:txBody>
            <a:bodyPr wrap="squar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US" sz="1050" b="0" i="0" u="none" strike="noStrike" kern="0" cap="none" spc="0" normalizeH="0" baseline="0" noProof="0">
                  <a:ln>
                    <a:noFill/>
                  </a:ln>
                  <a:solidFill>
                    <a:schemeClr val="tx2"/>
                  </a:solidFill>
                  <a:effectLst/>
                  <a:uLnTx/>
                  <a:uFillTx/>
                  <a:latin typeface="Nokia Pure Text Light"/>
                  <a:ea typeface="+mn-ea"/>
                  <a:cs typeface="+mn-cs"/>
                </a:rPr>
                <a:t>0.1</a:t>
              </a:r>
            </a:p>
          </p:txBody>
        </p:sp>
        <p:sp>
          <p:nvSpPr>
            <p:cNvPr id="715" name="Rectangle 714">
              <a:extLst>
                <a:ext uri="{FF2B5EF4-FFF2-40B4-BE49-F238E27FC236}">
                  <a16:creationId xmlns:a16="http://schemas.microsoft.com/office/drawing/2014/main" id="{EB06A48C-5EF7-847C-8445-972F29075A9D}"/>
                </a:ext>
              </a:extLst>
            </p:cNvPr>
            <p:cNvSpPr/>
            <p:nvPr/>
          </p:nvSpPr>
          <p:spPr>
            <a:xfrm>
              <a:off x="8130972" y="2268281"/>
              <a:ext cx="958373" cy="494294"/>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lvl="0" indent="0" defTabSz="914400" fontAlgn="auto">
                <a:lnSpc>
                  <a:spcPct val="100000"/>
                </a:lnSpc>
                <a:spcBef>
                  <a:spcPts val="0"/>
                </a:spcBef>
                <a:spcAft>
                  <a:spcPts val="0"/>
                </a:spcAft>
                <a:buClrTx/>
                <a:buSzTx/>
                <a:buFontTx/>
                <a:buNone/>
                <a:tabLst/>
                <a:defRPr/>
              </a:pPr>
              <a:r>
                <a:rPr lang="en-US" sz="1200" kern="0">
                  <a:solidFill>
                    <a:schemeClr val="tx2"/>
                  </a:solidFill>
                  <a:latin typeface="Nokia Pure Headline Light" panose="020B0304020202020204" pitchFamily="34" charset="0"/>
                  <a:ea typeface="Nokia Pure Text Light" panose="020B0403020202020204" pitchFamily="34" charset="0"/>
                </a:rPr>
                <a:t>1/Latency</a:t>
              </a:r>
            </a:p>
          </p:txBody>
        </p:sp>
        <p:sp>
          <p:nvSpPr>
            <p:cNvPr id="716" name="Rectangle 715">
              <a:extLst>
                <a:ext uri="{FF2B5EF4-FFF2-40B4-BE49-F238E27FC236}">
                  <a16:creationId xmlns:a16="http://schemas.microsoft.com/office/drawing/2014/main" id="{93B4A2C6-1B14-5F13-0BC5-EAFADF77A9F9}"/>
                </a:ext>
              </a:extLst>
            </p:cNvPr>
            <p:cNvSpPr/>
            <p:nvPr/>
          </p:nvSpPr>
          <p:spPr>
            <a:xfrm>
              <a:off x="6034933" y="950259"/>
              <a:ext cx="1542646" cy="494293"/>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latin typeface="Nokia Pure Headline Light" panose="020B0304020202020204" pitchFamily="34" charset="0"/>
                  <a:ea typeface="Nokia Pure Text Light" panose="020B0403020202020204" pitchFamily="34" charset="0"/>
                  <a:cs typeface="+mn-cs"/>
                </a:rPr>
                <a:t>Cell capacity</a:t>
              </a:r>
            </a:p>
          </p:txBody>
        </p:sp>
        <p:sp>
          <p:nvSpPr>
            <p:cNvPr id="717" name="Rectangle 716">
              <a:extLst>
                <a:ext uri="{FF2B5EF4-FFF2-40B4-BE49-F238E27FC236}">
                  <a16:creationId xmlns:a16="http://schemas.microsoft.com/office/drawing/2014/main" id="{943BEEA5-83D9-31A9-7557-1855ABBDEBC1}"/>
                </a:ext>
              </a:extLst>
            </p:cNvPr>
            <p:cNvSpPr/>
            <p:nvPr/>
          </p:nvSpPr>
          <p:spPr>
            <a:xfrm>
              <a:off x="5278932" y="4217924"/>
              <a:ext cx="1542646" cy="494293"/>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chemeClr val="tx2"/>
                  </a:solidFill>
                  <a:effectLst/>
                  <a:uLnTx/>
                  <a:uFillTx/>
                  <a:latin typeface="Nokia Pure Headline Light" panose="020B0304020202020204" pitchFamily="34" charset="0"/>
                  <a:ea typeface="Nokia Pure Text Light" panose="020B0403020202020204" pitchFamily="34" charset="0"/>
                  <a:cs typeface="+mn-cs"/>
                </a:rPr>
                <a:t>1/Jitter</a:t>
              </a:r>
            </a:p>
          </p:txBody>
        </p:sp>
        <p:sp>
          <p:nvSpPr>
            <p:cNvPr id="718" name="Rectangle 717">
              <a:extLst>
                <a:ext uri="{FF2B5EF4-FFF2-40B4-BE49-F238E27FC236}">
                  <a16:creationId xmlns:a16="http://schemas.microsoft.com/office/drawing/2014/main" id="{CD3365A7-3BF8-4B5A-F90A-1AB8197ADDFA}"/>
                </a:ext>
              </a:extLst>
            </p:cNvPr>
            <p:cNvSpPr/>
            <p:nvPr/>
          </p:nvSpPr>
          <p:spPr>
            <a:xfrm>
              <a:off x="7629654" y="3950571"/>
              <a:ext cx="1542646" cy="494294"/>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2"/>
                  </a:solidFill>
                  <a:effectLst/>
                  <a:uLnTx/>
                  <a:uFillTx/>
                  <a:latin typeface="Nokia Pure Headline Light" panose="020B0304020202020204" pitchFamily="34" charset="0"/>
                  <a:ea typeface="Nokia Pure Text Light" panose="020B0403020202020204" pitchFamily="34" charset="0"/>
                  <a:cs typeface="+mn-cs"/>
                </a:rPr>
                <a:t>Service</a:t>
              </a:r>
              <a:br>
                <a:rPr kumimoji="0" lang="en-US" sz="1200" b="0" i="0" u="none" strike="noStrike" kern="0" cap="none" spc="0" normalizeH="0" baseline="0" noProof="0" dirty="0">
                  <a:ln>
                    <a:noFill/>
                  </a:ln>
                  <a:solidFill>
                    <a:schemeClr val="tx2"/>
                  </a:solidFill>
                  <a:effectLst/>
                  <a:uLnTx/>
                  <a:uFillTx/>
                  <a:latin typeface="Nokia Pure Headline Light" panose="020B0304020202020204" pitchFamily="34" charset="0"/>
                  <a:ea typeface="Nokia Pure Text Light" panose="020B0403020202020204" pitchFamily="34" charset="0"/>
                  <a:cs typeface="+mn-cs"/>
                </a:rPr>
              </a:br>
              <a:r>
                <a:rPr kumimoji="0" lang="en-US" sz="1200" b="0" i="0" u="none" strike="noStrike" kern="0" cap="none" spc="0" normalizeH="0" baseline="0" noProof="0" dirty="0">
                  <a:ln>
                    <a:noFill/>
                  </a:ln>
                  <a:solidFill>
                    <a:schemeClr val="tx2"/>
                  </a:solidFill>
                  <a:effectLst/>
                  <a:uLnTx/>
                  <a:uFillTx/>
                  <a:latin typeface="Nokia Pure Headline Light" panose="020B0304020202020204" pitchFamily="34" charset="0"/>
                  <a:ea typeface="Nokia Pure Text Light" panose="020B0403020202020204" pitchFamily="34" charset="0"/>
                  <a:cs typeface="+mn-cs"/>
                </a:rPr>
                <a:t>availability</a:t>
              </a:r>
            </a:p>
          </p:txBody>
        </p:sp>
        <p:sp>
          <p:nvSpPr>
            <p:cNvPr id="719" name="Rectangle 718">
              <a:extLst>
                <a:ext uri="{FF2B5EF4-FFF2-40B4-BE49-F238E27FC236}">
                  <a16:creationId xmlns:a16="http://schemas.microsoft.com/office/drawing/2014/main" id="{C1AE4863-9561-1FE4-855B-DF39A183DD29}"/>
                </a:ext>
              </a:extLst>
            </p:cNvPr>
            <p:cNvSpPr/>
            <p:nvPr/>
          </p:nvSpPr>
          <p:spPr>
            <a:xfrm>
              <a:off x="4242326" y="2140932"/>
              <a:ext cx="1542646" cy="494293"/>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a:defRPr/>
              </a:pPr>
              <a:r>
                <a:rPr lang="en-US" sz="1200" kern="0">
                  <a:solidFill>
                    <a:schemeClr val="tx2"/>
                  </a:solidFill>
                  <a:latin typeface="Nokia Pure Headline Light" panose="020B0304020202020204" pitchFamily="34" charset="0"/>
                  <a:ea typeface="Nokia Pure Text Light" panose="020B0403020202020204" pitchFamily="34" charset="0"/>
                </a:rPr>
                <a:t>Localization</a:t>
              </a:r>
              <a:br>
                <a:rPr lang="en-US" sz="1200" kern="0">
                  <a:solidFill>
                    <a:schemeClr val="tx2"/>
                  </a:solidFill>
                  <a:latin typeface="Nokia Pure Headline Light" panose="020B0304020202020204" pitchFamily="34" charset="0"/>
                  <a:ea typeface="Nokia Pure Text Light" panose="020B0403020202020204" pitchFamily="34" charset="0"/>
                </a:rPr>
              </a:br>
              <a:r>
                <a:rPr lang="en-US" sz="1200" kern="0">
                  <a:solidFill>
                    <a:schemeClr val="tx2"/>
                  </a:solidFill>
                  <a:latin typeface="Nokia Pure Headline Light" panose="020B0304020202020204" pitchFamily="34" charset="0"/>
                  <a:ea typeface="Nokia Pure Text Light" panose="020B0403020202020204" pitchFamily="34" charset="0"/>
                </a:rPr>
                <a:t>accuracy</a:t>
              </a:r>
            </a:p>
          </p:txBody>
        </p:sp>
      </p:grpSp>
      <p:sp>
        <p:nvSpPr>
          <p:cNvPr id="721" name="Rectangle 720">
            <a:extLst>
              <a:ext uri="{FF2B5EF4-FFF2-40B4-BE49-F238E27FC236}">
                <a16:creationId xmlns:a16="http://schemas.microsoft.com/office/drawing/2014/main" id="{52535920-CF01-3787-FBFA-71BFF70F3BDE}"/>
              </a:ext>
            </a:extLst>
          </p:cNvPr>
          <p:cNvSpPr/>
          <p:nvPr/>
        </p:nvSpPr>
        <p:spPr>
          <a:xfrm>
            <a:off x="423142" y="1319519"/>
            <a:ext cx="1846141" cy="1515068"/>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722" name="TextBox 721">
            <a:extLst>
              <a:ext uri="{FF2B5EF4-FFF2-40B4-BE49-F238E27FC236}">
                <a16:creationId xmlns:a16="http://schemas.microsoft.com/office/drawing/2014/main" id="{3AC7B3D4-5C9E-5CD4-6678-DE8EE725901A}"/>
              </a:ext>
            </a:extLst>
          </p:cNvPr>
          <p:cNvSpPr txBox="1"/>
          <p:nvPr/>
        </p:nvSpPr>
        <p:spPr>
          <a:xfrm>
            <a:off x="2342639" y="1319600"/>
            <a:ext cx="1834311"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Nokia Pure Text Light"/>
                <a:ea typeface="+mn-ea"/>
                <a:cs typeface="+mn-cs"/>
              </a:rPr>
              <a:t>In-body </a:t>
            </a:r>
          </a:p>
        </p:txBody>
      </p:sp>
      <p:sp>
        <p:nvSpPr>
          <p:cNvPr id="723" name="TextBox 722">
            <a:extLst>
              <a:ext uri="{FF2B5EF4-FFF2-40B4-BE49-F238E27FC236}">
                <a16:creationId xmlns:a16="http://schemas.microsoft.com/office/drawing/2014/main" id="{D919193B-8902-1AEF-CC05-CA8EABE4CC9B}"/>
              </a:ext>
            </a:extLst>
          </p:cNvPr>
          <p:cNvSpPr txBox="1"/>
          <p:nvPr/>
        </p:nvSpPr>
        <p:spPr>
          <a:xfrm>
            <a:off x="423868" y="1327436"/>
            <a:ext cx="1839786"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Nokia Pure Text Light"/>
                <a:ea typeface="+mn-ea"/>
                <a:cs typeface="+mn-cs"/>
              </a:rPr>
              <a:t>In-vehicle</a:t>
            </a:r>
          </a:p>
        </p:txBody>
      </p:sp>
      <p:grpSp>
        <p:nvGrpSpPr>
          <p:cNvPr id="726" name="Group 725">
            <a:extLst>
              <a:ext uri="{FF2B5EF4-FFF2-40B4-BE49-F238E27FC236}">
                <a16:creationId xmlns:a16="http://schemas.microsoft.com/office/drawing/2014/main" id="{4CD6252F-908D-510A-9093-E3B461E6E988}"/>
              </a:ext>
            </a:extLst>
          </p:cNvPr>
          <p:cNvGrpSpPr/>
          <p:nvPr/>
        </p:nvGrpSpPr>
        <p:grpSpPr>
          <a:xfrm>
            <a:off x="2890182" y="1610472"/>
            <a:ext cx="874398" cy="597374"/>
            <a:chOff x="3282287" y="3410309"/>
            <a:chExt cx="997425" cy="681423"/>
          </a:xfrm>
        </p:grpSpPr>
        <p:pic>
          <p:nvPicPr>
            <p:cNvPr id="866" name="Graphic 865">
              <a:extLst>
                <a:ext uri="{FF2B5EF4-FFF2-40B4-BE49-F238E27FC236}">
                  <a16:creationId xmlns:a16="http://schemas.microsoft.com/office/drawing/2014/main" id="{3B49ACC7-F0AA-1C2A-B955-F6715C1B6C8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02955" y="3823022"/>
              <a:ext cx="89852" cy="82940"/>
            </a:xfrm>
            <a:prstGeom prst="rect">
              <a:avLst/>
            </a:prstGeom>
          </p:spPr>
        </p:pic>
        <p:grpSp>
          <p:nvGrpSpPr>
            <p:cNvPr id="867" name="Group 866">
              <a:extLst>
                <a:ext uri="{FF2B5EF4-FFF2-40B4-BE49-F238E27FC236}">
                  <a16:creationId xmlns:a16="http://schemas.microsoft.com/office/drawing/2014/main" id="{9922E229-DFC5-9FE8-485A-4B89B4F89B1D}"/>
                </a:ext>
              </a:extLst>
            </p:cNvPr>
            <p:cNvGrpSpPr/>
            <p:nvPr/>
          </p:nvGrpSpPr>
          <p:grpSpPr>
            <a:xfrm>
              <a:off x="3282287" y="3410309"/>
              <a:ext cx="997425" cy="513754"/>
              <a:chOff x="2763991" y="2888608"/>
              <a:chExt cx="997425" cy="513754"/>
            </a:xfrm>
          </p:grpSpPr>
          <p:sp>
            <p:nvSpPr>
              <p:cNvPr id="880" name="Freeform 450">
                <a:extLst>
                  <a:ext uri="{FF2B5EF4-FFF2-40B4-BE49-F238E27FC236}">
                    <a16:creationId xmlns:a16="http://schemas.microsoft.com/office/drawing/2014/main" id="{1AFFC9FD-CE89-F0F7-8D10-3F62ED4632EE}"/>
                  </a:ext>
                </a:extLst>
              </p:cNvPr>
              <p:cNvSpPr>
                <a:spLocks noChangeArrowheads="1"/>
              </p:cNvSpPr>
              <p:nvPr/>
            </p:nvSpPr>
            <p:spPr bwMode="auto">
              <a:xfrm>
                <a:off x="2763991" y="3278553"/>
                <a:ext cx="128439" cy="122653"/>
              </a:xfrm>
              <a:custGeom>
                <a:avLst/>
                <a:gdLst>
                  <a:gd name="T0" fmla="*/ 489 w 490"/>
                  <a:gd name="T1" fmla="*/ 223 h 468"/>
                  <a:gd name="T2" fmla="*/ 489 w 490"/>
                  <a:gd name="T3" fmla="*/ 223 h 468"/>
                  <a:gd name="T4" fmla="*/ 244 w 490"/>
                  <a:gd name="T5" fmla="*/ 467 h 468"/>
                  <a:gd name="T6" fmla="*/ 0 w 490"/>
                  <a:gd name="T7" fmla="*/ 223 h 468"/>
                  <a:gd name="T8" fmla="*/ 244 w 490"/>
                  <a:gd name="T9" fmla="*/ 0 h 468"/>
                  <a:gd name="T10" fmla="*/ 489 w 490"/>
                  <a:gd name="T11" fmla="*/ 223 h 468"/>
                </a:gdLst>
                <a:ahLst/>
                <a:cxnLst>
                  <a:cxn ang="0">
                    <a:pos x="T0" y="T1"/>
                  </a:cxn>
                  <a:cxn ang="0">
                    <a:pos x="T2" y="T3"/>
                  </a:cxn>
                  <a:cxn ang="0">
                    <a:pos x="T4" y="T5"/>
                  </a:cxn>
                  <a:cxn ang="0">
                    <a:pos x="T6" y="T7"/>
                  </a:cxn>
                  <a:cxn ang="0">
                    <a:pos x="T8" y="T9"/>
                  </a:cxn>
                  <a:cxn ang="0">
                    <a:pos x="T10" y="T11"/>
                  </a:cxn>
                </a:cxnLst>
                <a:rect l="0" t="0" r="r" b="b"/>
                <a:pathLst>
                  <a:path w="490" h="468">
                    <a:moveTo>
                      <a:pt x="489" y="223"/>
                    </a:moveTo>
                    <a:lnTo>
                      <a:pt x="489" y="223"/>
                    </a:lnTo>
                    <a:cubicBezTo>
                      <a:pt x="489" y="356"/>
                      <a:pt x="378" y="467"/>
                      <a:pt x="244" y="467"/>
                    </a:cubicBezTo>
                    <a:cubicBezTo>
                      <a:pt x="111" y="467"/>
                      <a:pt x="0" y="356"/>
                      <a:pt x="0" y="223"/>
                    </a:cubicBezTo>
                    <a:cubicBezTo>
                      <a:pt x="0" y="89"/>
                      <a:pt x="111" y="0"/>
                      <a:pt x="244" y="0"/>
                    </a:cubicBezTo>
                    <a:cubicBezTo>
                      <a:pt x="378" y="0"/>
                      <a:pt x="489" y="89"/>
                      <a:pt x="489" y="223"/>
                    </a:cubicBezTo>
                  </a:path>
                </a:pathLst>
              </a:custGeom>
              <a:noFill/>
              <a:ln w="7920" cap="flat">
                <a:solidFill>
                  <a:srgbClr val="98A2A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81" name="Freeform 451">
                <a:extLst>
                  <a:ext uri="{FF2B5EF4-FFF2-40B4-BE49-F238E27FC236}">
                    <a16:creationId xmlns:a16="http://schemas.microsoft.com/office/drawing/2014/main" id="{07659695-EAF4-7E15-0F8C-0806727FD109}"/>
                  </a:ext>
                </a:extLst>
              </p:cNvPr>
              <p:cNvSpPr>
                <a:spLocks noChangeArrowheads="1"/>
              </p:cNvSpPr>
              <p:nvPr/>
            </p:nvSpPr>
            <p:spPr bwMode="auto">
              <a:xfrm>
                <a:off x="3259232" y="2888608"/>
                <a:ext cx="502184" cy="496399"/>
              </a:xfrm>
              <a:custGeom>
                <a:avLst/>
                <a:gdLst>
                  <a:gd name="T0" fmla="*/ 1912 w 1913"/>
                  <a:gd name="T1" fmla="*/ 956 h 1891"/>
                  <a:gd name="T2" fmla="*/ 1912 w 1913"/>
                  <a:gd name="T3" fmla="*/ 956 h 1891"/>
                  <a:gd name="T4" fmla="*/ 956 w 1913"/>
                  <a:gd name="T5" fmla="*/ 1890 h 1891"/>
                  <a:gd name="T6" fmla="*/ 0 w 1913"/>
                  <a:gd name="T7" fmla="*/ 956 h 1891"/>
                  <a:gd name="T8" fmla="*/ 956 w 1913"/>
                  <a:gd name="T9" fmla="*/ 0 h 1891"/>
                  <a:gd name="T10" fmla="*/ 1912 w 1913"/>
                  <a:gd name="T11" fmla="*/ 956 h 1891"/>
                </a:gdLst>
                <a:ahLst/>
                <a:cxnLst>
                  <a:cxn ang="0">
                    <a:pos x="T0" y="T1"/>
                  </a:cxn>
                  <a:cxn ang="0">
                    <a:pos x="T2" y="T3"/>
                  </a:cxn>
                  <a:cxn ang="0">
                    <a:pos x="T4" y="T5"/>
                  </a:cxn>
                  <a:cxn ang="0">
                    <a:pos x="T6" y="T7"/>
                  </a:cxn>
                  <a:cxn ang="0">
                    <a:pos x="T8" y="T9"/>
                  </a:cxn>
                  <a:cxn ang="0">
                    <a:pos x="T10" y="T11"/>
                  </a:cxn>
                </a:cxnLst>
                <a:rect l="0" t="0" r="r" b="b"/>
                <a:pathLst>
                  <a:path w="1913" h="1891">
                    <a:moveTo>
                      <a:pt x="1912" y="956"/>
                    </a:moveTo>
                    <a:lnTo>
                      <a:pt x="1912" y="956"/>
                    </a:lnTo>
                    <a:cubicBezTo>
                      <a:pt x="1912" y="1468"/>
                      <a:pt x="1490" y="1890"/>
                      <a:pt x="956" y="1890"/>
                    </a:cubicBezTo>
                    <a:cubicBezTo>
                      <a:pt x="445" y="1890"/>
                      <a:pt x="0" y="1468"/>
                      <a:pt x="0" y="956"/>
                    </a:cubicBezTo>
                    <a:cubicBezTo>
                      <a:pt x="0" y="423"/>
                      <a:pt x="445" y="0"/>
                      <a:pt x="956" y="0"/>
                    </a:cubicBezTo>
                    <a:cubicBezTo>
                      <a:pt x="1490" y="0"/>
                      <a:pt x="1912" y="423"/>
                      <a:pt x="1912" y="956"/>
                    </a:cubicBezTo>
                  </a:path>
                </a:pathLst>
              </a:custGeom>
              <a:noFill/>
              <a:ln w="7920" cap="flat">
                <a:solidFill>
                  <a:srgbClr val="98A2AE"/>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82" name="Line 453">
                <a:extLst>
                  <a:ext uri="{FF2B5EF4-FFF2-40B4-BE49-F238E27FC236}">
                    <a16:creationId xmlns:a16="http://schemas.microsoft.com/office/drawing/2014/main" id="{0AE7A7A0-A624-D275-4D36-6F9D47607636}"/>
                  </a:ext>
                </a:extLst>
              </p:cNvPr>
              <p:cNvSpPr>
                <a:spLocks noChangeShapeType="1"/>
              </p:cNvSpPr>
              <p:nvPr/>
            </p:nvSpPr>
            <p:spPr bwMode="auto">
              <a:xfrm flipV="1">
                <a:off x="2827632" y="2956877"/>
                <a:ext cx="507969" cy="322832"/>
              </a:xfrm>
              <a:prstGeom prst="line">
                <a:avLst/>
              </a:prstGeom>
              <a:noFill/>
              <a:ln w="7920" cap="flat">
                <a:solidFill>
                  <a:srgbClr val="98A2A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83" name="Line 454">
                <a:extLst>
                  <a:ext uri="{FF2B5EF4-FFF2-40B4-BE49-F238E27FC236}">
                    <a16:creationId xmlns:a16="http://schemas.microsoft.com/office/drawing/2014/main" id="{5FCBD641-E3F3-3718-6B4C-227AFD0E1CBB}"/>
                  </a:ext>
                </a:extLst>
              </p:cNvPr>
              <p:cNvSpPr>
                <a:spLocks noChangeShapeType="1"/>
              </p:cNvSpPr>
              <p:nvPr/>
            </p:nvSpPr>
            <p:spPr bwMode="auto">
              <a:xfrm flipV="1">
                <a:off x="2827632" y="3382692"/>
                <a:ext cx="653764" cy="19670"/>
              </a:xfrm>
              <a:prstGeom prst="line">
                <a:avLst/>
              </a:prstGeom>
              <a:noFill/>
              <a:ln w="7920" cap="flat">
                <a:solidFill>
                  <a:srgbClr val="98A2A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grpSp>
        <p:grpSp>
          <p:nvGrpSpPr>
            <p:cNvPr id="868" name="Graphic 56">
              <a:extLst>
                <a:ext uri="{FF2B5EF4-FFF2-40B4-BE49-F238E27FC236}">
                  <a16:creationId xmlns:a16="http://schemas.microsoft.com/office/drawing/2014/main" id="{86621E67-A815-D69B-66D1-14FAE8343BA7}"/>
                </a:ext>
              </a:extLst>
            </p:cNvPr>
            <p:cNvGrpSpPr/>
            <p:nvPr/>
          </p:nvGrpSpPr>
          <p:grpSpPr>
            <a:xfrm>
              <a:off x="3882471" y="3514740"/>
              <a:ext cx="325816" cy="293531"/>
              <a:chOff x="7566156" y="696621"/>
              <a:chExt cx="325816" cy="293531"/>
            </a:xfrm>
            <a:noFill/>
          </p:grpSpPr>
          <p:sp>
            <p:nvSpPr>
              <p:cNvPr id="878" name="Freeform 378">
                <a:extLst>
                  <a:ext uri="{FF2B5EF4-FFF2-40B4-BE49-F238E27FC236}">
                    <a16:creationId xmlns:a16="http://schemas.microsoft.com/office/drawing/2014/main" id="{E249DB22-36DA-7915-D73E-77915ECFCF43}"/>
                  </a:ext>
                </a:extLst>
              </p:cNvPr>
              <p:cNvSpPr/>
              <p:nvPr/>
            </p:nvSpPr>
            <p:spPr>
              <a:xfrm>
                <a:off x="7566156" y="696621"/>
                <a:ext cx="325816" cy="293531"/>
              </a:xfrm>
              <a:custGeom>
                <a:avLst/>
                <a:gdLst>
                  <a:gd name="connsiteX0" fmla="*/ 232203 w 325816"/>
                  <a:gd name="connsiteY0" fmla="*/ 0 h 293531"/>
                  <a:gd name="connsiteX1" fmla="*/ 163333 w 325816"/>
                  <a:gd name="connsiteY1" fmla="*/ 30849 h 293531"/>
                  <a:gd name="connsiteX2" fmla="*/ 94368 w 325816"/>
                  <a:gd name="connsiteY2" fmla="*/ 0 h 293531"/>
                  <a:gd name="connsiteX3" fmla="*/ 18 w 325816"/>
                  <a:gd name="connsiteY3" fmla="*/ 96017 h 293531"/>
                  <a:gd name="connsiteX4" fmla="*/ 25 w 325816"/>
                  <a:gd name="connsiteY4" fmla="*/ 96335 h 293531"/>
                  <a:gd name="connsiteX5" fmla="*/ 6818 w 325816"/>
                  <a:gd name="connsiteY5" fmla="*/ 137529 h 293531"/>
                  <a:gd name="connsiteX6" fmla="*/ 14177 w 325816"/>
                  <a:gd name="connsiteY6" fmla="*/ 156002 h 293531"/>
                  <a:gd name="connsiteX7" fmla="*/ 162955 w 325816"/>
                  <a:gd name="connsiteY7" fmla="*/ 293532 h 293531"/>
                  <a:gd name="connsiteX8" fmla="*/ 311640 w 325816"/>
                  <a:gd name="connsiteY8" fmla="*/ 156002 h 293531"/>
                  <a:gd name="connsiteX9" fmla="*/ 319093 w 325816"/>
                  <a:gd name="connsiteY9" fmla="*/ 137529 h 293531"/>
                  <a:gd name="connsiteX10" fmla="*/ 325791 w 325816"/>
                  <a:gd name="connsiteY10" fmla="*/ 96335 h 293531"/>
                  <a:gd name="connsiteX11" fmla="*/ 232203 w 325816"/>
                  <a:gd name="connsiteY11" fmla="*/ 0 h 29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816" h="293531">
                    <a:moveTo>
                      <a:pt x="232203" y="0"/>
                    </a:moveTo>
                    <a:cubicBezTo>
                      <a:pt x="205779" y="88"/>
                      <a:pt x="180677" y="11332"/>
                      <a:pt x="163333" y="30849"/>
                    </a:cubicBezTo>
                    <a:cubicBezTo>
                      <a:pt x="145967" y="11308"/>
                      <a:pt x="120826" y="62"/>
                      <a:pt x="94368" y="0"/>
                    </a:cubicBezTo>
                    <a:cubicBezTo>
                      <a:pt x="41232" y="1007"/>
                      <a:pt x="-1010" y="43995"/>
                      <a:pt x="18" y="96017"/>
                    </a:cubicBezTo>
                    <a:cubicBezTo>
                      <a:pt x="20" y="96123"/>
                      <a:pt x="23" y="96229"/>
                      <a:pt x="25" y="96335"/>
                    </a:cubicBezTo>
                    <a:cubicBezTo>
                      <a:pt x="65" y="110331"/>
                      <a:pt x="2357" y="124233"/>
                      <a:pt x="6818" y="137529"/>
                    </a:cubicBezTo>
                    <a:cubicBezTo>
                      <a:pt x="8858" y="143837"/>
                      <a:pt x="11316" y="150008"/>
                      <a:pt x="14177" y="156002"/>
                    </a:cubicBezTo>
                    <a:cubicBezTo>
                      <a:pt x="53801" y="239129"/>
                      <a:pt x="162955" y="293532"/>
                      <a:pt x="162955" y="293532"/>
                    </a:cubicBezTo>
                    <a:cubicBezTo>
                      <a:pt x="162955" y="293532"/>
                      <a:pt x="272016" y="239407"/>
                      <a:pt x="311640" y="156002"/>
                    </a:cubicBezTo>
                    <a:cubicBezTo>
                      <a:pt x="314453" y="149976"/>
                      <a:pt x="316941" y="143810"/>
                      <a:pt x="319093" y="137529"/>
                    </a:cubicBezTo>
                    <a:cubicBezTo>
                      <a:pt x="323380" y="124195"/>
                      <a:pt x="325636" y="110315"/>
                      <a:pt x="325791" y="96335"/>
                    </a:cubicBezTo>
                    <a:cubicBezTo>
                      <a:pt x="327005" y="44475"/>
                      <a:pt x="285169" y="1410"/>
                      <a:pt x="232203" y="0"/>
                    </a:cubicBezTo>
                    <a:close/>
                  </a:path>
                </a:pathLst>
              </a:custGeom>
              <a:noFill/>
              <a:ln w="6477"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79" name="Freeform 379">
                <a:extLst>
                  <a:ext uri="{FF2B5EF4-FFF2-40B4-BE49-F238E27FC236}">
                    <a16:creationId xmlns:a16="http://schemas.microsoft.com/office/drawing/2014/main" id="{59BA5833-03D1-BAC1-D9E6-63CCE5277FBE}"/>
                  </a:ext>
                </a:extLst>
              </p:cNvPr>
              <p:cNvSpPr/>
              <p:nvPr/>
            </p:nvSpPr>
            <p:spPr>
              <a:xfrm>
                <a:off x="7578540" y="774761"/>
                <a:ext cx="301708" cy="129493"/>
              </a:xfrm>
              <a:custGeom>
                <a:avLst/>
                <a:gdLst>
                  <a:gd name="connsiteX0" fmla="*/ 0 w 301708"/>
                  <a:gd name="connsiteY0" fmla="*/ 73152 h 129493"/>
                  <a:gd name="connsiteX1" fmla="*/ 73493 w 301708"/>
                  <a:gd name="connsiteY1" fmla="*/ 73152 h 129493"/>
                  <a:gd name="connsiteX2" fmla="*/ 98494 w 301708"/>
                  <a:gd name="connsiteY2" fmla="*/ 0 h 129493"/>
                  <a:gd name="connsiteX3" fmla="*/ 164440 w 301708"/>
                  <a:gd name="connsiteY3" fmla="*/ 129494 h 129493"/>
                  <a:gd name="connsiteX4" fmla="*/ 192459 w 301708"/>
                  <a:gd name="connsiteY4" fmla="*/ 73152 h 129493"/>
                  <a:gd name="connsiteX5" fmla="*/ 301708 w 301708"/>
                  <a:gd name="connsiteY5" fmla="*/ 73152 h 129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1708" h="129493">
                    <a:moveTo>
                      <a:pt x="0" y="73152"/>
                    </a:moveTo>
                    <a:lnTo>
                      <a:pt x="73493" y="73152"/>
                    </a:lnTo>
                    <a:lnTo>
                      <a:pt x="98494" y="0"/>
                    </a:lnTo>
                    <a:lnTo>
                      <a:pt x="164440" y="129494"/>
                    </a:lnTo>
                    <a:lnTo>
                      <a:pt x="192459" y="73152"/>
                    </a:lnTo>
                    <a:lnTo>
                      <a:pt x="301708" y="73152"/>
                    </a:lnTo>
                  </a:path>
                </a:pathLst>
              </a:custGeom>
              <a:noFill/>
              <a:ln w="6477" cap="flat">
                <a:solidFill>
                  <a:schemeClr val="accent3"/>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grpSp>
        <p:grpSp>
          <p:nvGrpSpPr>
            <p:cNvPr id="869" name="Group 868">
              <a:extLst>
                <a:ext uri="{FF2B5EF4-FFF2-40B4-BE49-F238E27FC236}">
                  <a16:creationId xmlns:a16="http://schemas.microsoft.com/office/drawing/2014/main" id="{7AB9F88D-A4C8-6909-6F4F-277DA401DD28}"/>
                </a:ext>
              </a:extLst>
            </p:cNvPr>
            <p:cNvGrpSpPr/>
            <p:nvPr/>
          </p:nvGrpSpPr>
          <p:grpSpPr>
            <a:xfrm rot="12722988" flipV="1">
              <a:off x="3444240" y="3799697"/>
              <a:ext cx="70305" cy="82485"/>
              <a:chOff x="393955" y="588737"/>
              <a:chExt cx="120514" cy="141392"/>
            </a:xfrm>
          </p:grpSpPr>
          <p:sp>
            <p:nvSpPr>
              <p:cNvPr id="875" name="Freeform 308">
                <a:extLst>
                  <a:ext uri="{FF2B5EF4-FFF2-40B4-BE49-F238E27FC236}">
                    <a16:creationId xmlns:a16="http://schemas.microsoft.com/office/drawing/2014/main" id="{37BF1B39-2AA8-8631-1C48-B539F3E88A5E}"/>
                  </a:ext>
                </a:extLst>
              </p:cNvPr>
              <p:cNvSpPr>
                <a:spLocks noChangeArrowheads="1"/>
              </p:cNvSpPr>
              <p:nvPr/>
            </p:nvSpPr>
            <p:spPr bwMode="auto">
              <a:xfrm>
                <a:off x="439007" y="630803"/>
                <a:ext cx="68705" cy="94651"/>
              </a:xfrm>
              <a:custGeom>
                <a:avLst/>
                <a:gdLst>
                  <a:gd name="T0" fmla="*/ 22 w 268"/>
                  <a:gd name="T1" fmla="*/ 355 h 356"/>
                  <a:gd name="T2" fmla="*/ 22 w 268"/>
                  <a:gd name="T3" fmla="*/ 355 h 356"/>
                  <a:gd name="T4" fmla="*/ 267 w 268"/>
                  <a:gd name="T5" fmla="*/ 0 h 356"/>
                </a:gdLst>
                <a:ahLst/>
                <a:cxnLst>
                  <a:cxn ang="0">
                    <a:pos x="T0" y="T1"/>
                  </a:cxn>
                  <a:cxn ang="0">
                    <a:pos x="T2" y="T3"/>
                  </a:cxn>
                  <a:cxn ang="0">
                    <a:pos x="T4" y="T5"/>
                  </a:cxn>
                </a:cxnLst>
                <a:rect l="0" t="0" r="r" b="b"/>
                <a:pathLst>
                  <a:path w="268" h="356">
                    <a:moveTo>
                      <a:pt x="22" y="355"/>
                    </a:moveTo>
                    <a:lnTo>
                      <a:pt x="22" y="355"/>
                    </a:lnTo>
                    <a:cubicBezTo>
                      <a:pt x="0" y="177"/>
                      <a:pt x="111" y="22"/>
                      <a:pt x="267" y="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76" name="Freeform 309">
                <a:extLst>
                  <a:ext uri="{FF2B5EF4-FFF2-40B4-BE49-F238E27FC236}">
                    <a16:creationId xmlns:a16="http://schemas.microsoft.com/office/drawing/2014/main" id="{46CA26D0-67BD-10FA-04C6-A1252273A184}"/>
                  </a:ext>
                </a:extLst>
              </p:cNvPr>
              <p:cNvSpPr>
                <a:spLocks noChangeArrowheads="1"/>
              </p:cNvSpPr>
              <p:nvPr/>
            </p:nvSpPr>
            <p:spPr bwMode="auto">
              <a:xfrm>
                <a:off x="479553" y="665860"/>
                <a:ext cx="34916" cy="53752"/>
              </a:xfrm>
              <a:custGeom>
                <a:avLst/>
                <a:gdLst>
                  <a:gd name="T0" fmla="*/ 134 w 135"/>
                  <a:gd name="T1" fmla="*/ 0 h 201"/>
                  <a:gd name="T2" fmla="*/ 134 w 135"/>
                  <a:gd name="T3" fmla="*/ 0 h 201"/>
                  <a:gd name="T4" fmla="*/ 23 w 135"/>
                  <a:gd name="T5" fmla="*/ 200 h 201"/>
                </a:gdLst>
                <a:ahLst/>
                <a:cxnLst>
                  <a:cxn ang="0">
                    <a:pos x="T0" y="T1"/>
                  </a:cxn>
                  <a:cxn ang="0">
                    <a:pos x="T2" y="T3"/>
                  </a:cxn>
                  <a:cxn ang="0">
                    <a:pos x="T4" y="T5"/>
                  </a:cxn>
                </a:cxnLst>
                <a:rect l="0" t="0" r="r" b="b"/>
                <a:pathLst>
                  <a:path w="135" h="201">
                    <a:moveTo>
                      <a:pt x="134" y="0"/>
                    </a:moveTo>
                    <a:lnTo>
                      <a:pt x="134" y="0"/>
                    </a:lnTo>
                    <a:cubicBezTo>
                      <a:pt x="45" y="22"/>
                      <a:pt x="0" y="111"/>
                      <a:pt x="23" y="20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77" name="Freeform 310">
                <a:extLst>
                  <a:ext uri="{FF2B5EF4-FFF2-40B4-BE49-F238E27FC236}">
                    <a16:creationId xmlns:a16="http://schemas.microsoft.com/office/drawing/2014/main" id="{41A6687D-00AA-8A3F-33B6-96ACC8343E93}"/>
                  </a:ext>
                </a:extLst>
              </p:cNvPr>
              <p:cNvSpPr>
                <a:spLocks noChangeArrowheads="1"/>
              </p:cNvSpPr>
              <p:nvPr/>
            </p:nvSpPr>
            <p:spPr bwMode="auto">
              <a:xfrm>
                <a:off x="393955" y="588737"/>
                <a:ext cx="108124" cy="141392"/>
              </a:xfrm>
              <a:custGeom>
                <a:avLst/>
                <a:gdLst>
                  <a:gd name="T0" fmla="*/ 44 w 424"/>
                  <a:gd name="T1" fmla="*/ 533 h 534"/>
                  <a:gd name="T2" fmla="*/ 44 w 424"/>
                  <a:gd name="T3" fmla="*/ 533 h 534"/>
                  <a:gd name="T4" fmla="*/ 423 w 424"/>
                  <a:gd name="T5" fmla="*/ 0 h 534"/>
                </a:gdLst>
                <a:ahLst/>
                <a:cxnLst>
                  <a:cxn ang="0">
                    <a:pos x="T0" y="T1"/>
                  </a:cxn>
                  <a:cxn ang="0">
                    <a:pos x="T2" y="T3"/>
                  </a:cxn>
                  <a:cxn ang="0">
                    <a:pos x="T4" y="T5"/>
                  </a:cxn>
                </a:cxnLst>
                <a:rect l="0" t="0" r="r" b="b"/>
                <a:pathLst>
                  <a:path w="424" h="534">
                    <a:moveTo>
                      <a:pt x="44" y="533"/>
                    </a:moveTo>
                    <a:lnTo>
                      <a:pt x="44" y="533"/>
                    </a:lnTo>
                    <a:cubicBezTo>
                      <a:pt x="0" y="289"/>
                      <a:pt x="178" y="45"/>
                      <a:pt x="423" y="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grpSp>
        <p:cxnSp>
          <p:nvCxnSpPr>
            <p:cNvPr id="870" name="Straight Connector 869">
              <a:extLst>
                <a:ext uri="{FF2B5EF4-FFF2-40B4-BE49-F238E27FC236}">
                  <a16:creationId xmlns:a16="http://schemas.microsoft.com/office/drawing/2014/main" id="{2A2A5556-0C7A-3881-8ADB-D6D6DFD7EEA3}"/>
                </a:ext>
              </a:extLst>
            </p:cNvPr>
            <p:cNvCxnSpPr>
              <a:cxnSpLocks/>
            </p:cNvCxnSpPr>
            <p:nvPr/>
          </p:nvCxnSpPr>
          <p:spPr>
            <a:xfrm flipH="1">
              <a:off x="3427795" y="4044517"/>
              <a:ext cx="122328" cy="2788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71" name="Group 870">
              <a:extLst>
                <a:ext uri="{FF2B5EF4-FFF2-40B4-BE49-F238E27FC236}">
                  <a16:creationId xmlns:a16="http://schemas.microsoft.com/office/drawing/2014/main" id="{6D9F3C99-A6AE-536A-3C8E-20B0B3BB9624}"/>
                </a:ext>
              </a:extLst>
            </p:cNvPr>
            <p:cNvGrpSpPr/>
            <p:nvPr/>
          </p:nvGrpSpPr>
          <p:grpSpPr>
            <a:xfrm rot="12722988" flipV="1">
              <a:off x="3561717" y="4009247"/>
              <a:ext cx="70306" cy="82485"/>
              <a:chOff x="393953" y="588736"/>
              <a:chExt cx="120516" cy="141392"/>
            </a:xfrm>
          </p:grpSpPr>
          <p:sp>
            <p:nvSpPr>
              <p:cNvPr id="872" name="Freeform 308">
                <a:extLst>
                  <a:ext uri="{FF2B5EF4-FFF2-40B4-BE49-F238E27FC236}">
                    <a16:creationId xmlns:a16="http://schemas.microsoft.com/office/drawing/2014/main" id="{4C89A906-E9B9-9999-A35F-26587F31195E}"/>
                  </a:ext>
                </a:extLst>
              </p:cNvPr>
              <p:cNvSpPr>
                <a:spLocks noChangeArrowheads="1"/>
              </p:cNvSpPr>
              <p:nvPr/>
            </p:nvSpPr>
            <p:spPr bwMode="auto">
              <a:xfrm>
                <a:off x="439006" y="630803"/>
                <a:ext cx="68705" cy="94650"/>
              </a:xfrm>
              <a:custGeom>
                <a:avLst/>
                <a:gdLst>
                  <a:gd name="T0" fmla="*/ 22 w 268"/>
                  <a:gd name="T1" fmla="*/ 355 h 356"/>
                  <a:gd name="T2" fmla="*/ 22 w 268"/>
                  <a:gd name="T3" fmla="*/ 355 h 356"/>
                  <a:gd name="T4" fmla="*/ 267 w 268"/>
                  <a:gd name="T5" fmla="*/ 0 h 356"/>
                </a:gdLst>
                <a:ahLst/>
                <a:cxnLst>
                  <a:cxn ang="0">
                    <a:pos x="T0" y="T1"/>
                  </a:cxn>
                  <a:cxn ang="0">
                    <a:pos x="T2" y="T3"/>
                  </a:cxn>
                  <a:cxn ang="0">
                    <a:pos x="T4" y="T5"/>
                  </a:cxn>
                </a:cxnLst>
                <a:rect l="0" t="0" r="r" b="b"/>
                <a:pathLst>
                  <a:path w="268" h="356">
                    <a:moveTo>
                      <a:pt x="22" y="355"/>
                    </a:moveTo>
                    <a:lnTo>
                      <a:pt x="22" y="355"/>
                    </a:lnTo>
                    <a:cubicBezTo>
                      <a:pt x="0" y="177"/>
                      <a:pt x="111" y="22"/>
                      <a:pt x="267" y="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73" name="Freeform 309">
                <a:extLst>
                  <a:ext uri="{FF2B5EF4-FFF2-40B4-BE49-F238E27FC236}">
                    <a16:creationId xmlns:a16="http://schemas.microsoft.com/office/drawing/2014/main" id="{AFEEF356-807C-02EF-74B6-A2D95252FB9F}"/>
                  </a:ext>
                </a:extLst>
              </p:cNvPr>
              <p:cNvSpPr>
                <a:spLocks noChangeArrowheads="1"/>
              </p:cNvSpPr>
              <p:nvPr/>
            </p:nvSpPr>
            <p:spPr bwMode="auto">
              <a:xfrm>
                <a:off x="479553" y="665860"/>
                <a:ext cx="34916" cy="53752"/>
              </a:xfrm>
              <a:custGeom>
                <a:avLst/>
                <a:gdLst>
                  <a:gd name="T0" fmla="*/ 134 w 135"/>
                  <a:gd name="T1" fmla="*/ 0 h 201"/>
                  <a:gd name="T2" fmla="*/ 134 w 135"/>
                  <a:gd name="T3" fmla="*/ 0 h 201"/>
                  <a:gd name="T4" fmla="*/ 23 w 135"/>
                  <a:gd name="T5" fmla="*/ 200 h 201"/>
                </a:gdLst>
                <a:ahLst/>
                <a:cxnLst>
                  <a:cxn ang="0">
                    <a:pos x="T0" y="T1"/>
                  </a:cxn>
                  <a:cxn ang="0">
                    <a:pos x="T2" y="T3"/>
                  </a:cxn>
                  <a:cxn ang="0">
                    <a:pos x="T4" y="T5"/>
                  </a:cxn>
                </a:cxnLst>
                <a:rect l="0" t="0" r="r" b="b"/>
                <a:pathLst>
                  <a:path w="135" h="201">
                    <a:moveTo>
                      <a:pt x="134" y="0"/>
                    </a:moveTo>
                    <a:lnTo>
                      <a:pt x="134" y="0"/>
                    </a:lnTo>
                    <a:cubicBezTo>
                      <a:pt x="45" y="22"/>
                      <a:pt x="0" y="111"/>
                      <a:pt x="23" y="20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874" name="Freeform 310">
                <a:extLst>
                  <a:ext uri="{FF2B5EF4-FFF2-40B4-BE49-F238E27FC236}">
                    <a16:creationId xmlns:a16="http://schemas.microsoft.com/office/drawing/2014/main" id="{6076812C-8CAD-AFB7-8A21-D776465442FF}"/>
                  </a:ext>
                </a:extLst>
              </p:cNvPr>
              <p:cNvSpPr>
                <a:spLocks noChangeArrowheads="1"/>
              </p:cNvSpPr>
              <p:nvPr/>
            </p:nvSpPr>
            <p:spPr bwMode="auto">
              <a:xfrm>
                <a:off x="393953" y="588736"/>
                <a:ext cx="108124" cy="141392"/>
              </a:xfrm>
              <a:custGeom>
                <a:avLst/>
                <a:gdLst>
                  <a:gd name="T0" fmla="*/ 44 w 424"/>
                  <a:gd name="T1" fmla="*/ 533 h 534"/>
                  <a:gd name="T2" fmla="*/ 44 w 424"/>
                  <a:gd name="T3" fmla="*/ 533 h 534"/>
                  <a:gd name="T4" fmla="*/ 423 w 424"/>
                  <a:gd name="T5" fmla="*/ 0 h 534"/>
                </a:gdLst>
                <a:ahLst/>
                <a:cxnLst>
                  <a:cxn ang="0">
                    <a:pos x="T0" y="T1"/>
                  </a:cxn>
                  <a:cxn ang="0">
                    <a:pos x="T2" y="T3"/>
                  </a:cxn>
                  <a:cxn ang="0">
                    <a:pos x="T4" y="T5"/>
                  </a:cxn>
                </a:cxnLst>
                <a:rect l="0" t="0" r="r" b="b"/>
                <a:pathLst>
                  <a:path w="424" h="534">
                    <a:moveTo>
                      <a:pt x="44" y="533"/>
                    </a:moveTo>
                    <a:lnTo>
                      <a:pt x="44" y="533"/>
                    </a:lnTo>
                    <a:cubicBezTo>
                      <a:pt x="0" y="289"/>
                      <a:pt x="178" y="45"/>
                      <a:pt x="423" y="0"/>
                    </a:cubicBezTo>
                  </a:path>
                </a:pathLst>
              </a:custGeom>
              <a:noFill/>
              <a:ln w="9525" cap="flat">
                <a:solidFill>
                  <a:srgbClr val="3FC6F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2"/>
                  </a:solidFill>
                  <a:effectLst/>
                  <a:uLnTx/>
                  <a:uFillTx/>
                  <a:latin typeface="Nokia Pure Text Light"/>
                  <a:ea typeface="+mn-ea"/>
                  <a:cs typeface="+mn-cs"/>
                </a:endParaRPr>
              </a:p>
            </p:txBody>
          </p:sp>
        </p:grpSp>
      </p:grpSp>
      <p:sp>
        <p:nvSpPr>
          <p:cNvPr id="728" name="Rectangle 727">
            <a:extLst>
              <a:ext uri="{FF2B5EF4-FFF2-40B4-BE49-F238E27FC236}">
                <a16:creationId xmlns:a16="http://schemas.microsoft.com/office/drawing/2014/main" id="{9F1D9C97-9D0A-FB7D-4439-A8161F8D818E}"/>
              </a:ext>
            </a:extLst>
          </p:cNvPr>
          <p:cNvSpPr/>
          <p:nvPr/>
        </p:nvSpPr>
        <p:spPr>
          <a:xfrm>
            <a:off x="2348269" y="1319519"/>
            <a:ext cx="1846141" cy="1515068"/>
          </a:xfrm>
          <a:prstGeom prst="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729" name="Text Box 323">
            <a:extLst>
              <a:ext uri="{FF2B5EF4-FFF2-40B4-BE49-F238E27FC236}">
                <a16:creationId xmlns:a16="http://schemas.microsoft.com/office/drawing/2014/main" id="{65C54463-8DE0-818C-C718-0DFFC6CC2B13}"/>
              </a:ext>
            </a:extLst>
          </p:cNvPr>
          <p:cNvSpPr txBox="1">
            <a:spLocks noChangeArrowheads="1"/>
          </p:cNvSpPr>
          <p:nvPr/>
        </p:nvSpPr>
        <p:spPr bwMode="auto">
          <a:xfrm>
            <a:off x="3229520" y="2110429"/>
            <a:ext cx="791961" cy="1344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0" marR="0" lvl="0" indent="0" algn="l" defTabSz="457200" rtl="0" eaLnBrk="1" fontAlgn="auto" latinLnBrk="0" hangingPunct="1">
              <a:lnSpc>
                <a:spcPct val="107000"/>
              </a:lnSpc>
              <a:spcBef>
                <a:spcPts val="0"/>
              </a:spcBef>
              <a:spcAft>
                <a:spcPts val="0"/>
              </a:spcAft>
              <a:buClrTx/>
              <a:buSzTx/>
              <a:buFontTx/>
              <a:buNone/>
              <a:tabLst/>
              <a:defRPr/>
            </a:pPr>
            <a:r>
              <a:rPr kumimoji="0" lang="en-CA" altLang="en-US" sz="800" b="0" i="0" u="none" strike="noStrike" kern="1200" cap="none" spc="0" normalizeH="0" baseline="0" noProof="0" dirty="0">
                <a:ln>
                  <a:noFill/>
                </a:ln>
                <a:solidFill>
                  <a:schemeClr val="tx2"/>
                </a:solidFill>
                <a:effectLst/>
                <a:uLnTx/>
                <a:uFillTx/>
                <a:latin typeface="Nokia Pure Text Light" panose="020B0304040602060303" pitchFamily="34" charset="0"/>
                <a:ea typeface="+mn-ea"/>
                <a:cs typeface="+mn-cs"/>
              </a:rPr>
              <a:t>Pacemaker</a:t>
            </a:r>
          </a:p>
        </p:txBody>
      </p:sp>
      <p:sp>
        <p:nvSpPr>
          <p:cNvPr id="730" name="Text Box 362">
            <a:extLst>
              <a:ext uri="{FF2B5EF4-FFF2-40B4-BE49-F238E27FC236}">
                <a16:creationId xmlns:a16="http://schemas.microsoft.com/office/drawing/2014/main" id="{55AC818A-AE09-5664-63A9-B75E064EE852}"/>
              </a:ext>
            </a:extLst>
          </p:cNvPr>
          <p:cNvSpPr txBox="1">
            <a:spLocks noChangeArrowheads="1"/>
          </p:cNvSpPr>
          <p:nvPr/>
        </p:nvSpPr>
        <p:spPr bwMode="auto">
          <a:xfrm>
            <a:off x="3176973" y="2472781"/>
            <a:ext cx="1021483" cy="2539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0" marR="0" lvl="0" indent="0" algn="l" defTabSz="457200" rtl="0" eaLnBrk="1" fontAlgn="auto" latinLnBrk="0" hangingPunct="1">
              <a:lnSpc>
                <a:spcPct val="107000"/>
              </a:lnSpc>
              <a:spcBef>
                <a:spcPts val="0"/>
              </a:spcBef>
              <a:spcAft>
                <a:spcPts val="0"/>
              </a:spcAft>
              <a:buClrTx/>
              <a:buSzTx/>
              <a:buFontTx/>
              <a:buNone/>
              <a:tabLst/>
              <a:defRPr/>
            </a:pPr>
            <a:r>
              <a:rPr kumimoji="0" lang="en-CA" altLang="en-US" sz="800" b="0" i="0" u="none" strike="noStrike" kern="1200" cap="none" spc="0" normalizeH="0" baseline="0" noProof="0">
                <a:ln>
                  <a:noFill/>
                </a:ln>
                <a:solidFill>
                  <a:schemeClr val="tx2"/>
                </a:solidFill>
                <a:effectLst/>
                <a:uLnTx/>
                <a:uFillTx/>
                <a:latin typeface="Nokia Pure Text Light" panose="020B0304040602060303" pitchFamily="34" charset="0"/>
                <a:ea typeface="+mn-ea"/>
                <a:cs typeface="+mn-cs"/>
              </a:rPr>
              <a:t>Haptic sensors/</a:t>
            </a:r>
            <a:br>
              <a:rPr kumimoji="0" lang="en-CA" altLang="en-US" sz="800" b="0" i="0" u="none" strike="noStrike" kern="1200" cap="none" spc="0" normalizeH="0" baseline="0" noProof="0">
                <a:ln>
                  <a:noFill/>
                </a:ln>
                <a:solidFill>
                  <a:schemeClr val="tx2"/>
                </a:solidFill>
                <a:effectLst/>
                <a:uLnTx/>
                <a:uFillTx/>
                <a:latin typeface="Nokia Pure Text Light" panose="020B0304040602060303" pitchFamily="34" charset="0"/>
                <a:ea typeface="+mn-ea"/>
                <a:cs typeface="+mn-cs"/>
              </a:rPr>
            </a:br>
            <a:r>
              <a:rPr kumimoji="0" lang="en-CA" altLang="en-US" sz="800" b="0" i="0" u="none" strike="noStrike" kern="1200" cap="none" spc="0" normalizeH="0" baseline="0" noProof="0">
                <a:ln>
                  <a:noFill/>
                </a:ln>
                <a:solidFill>
                  <a:schemeClr val="tx2"/>
                </a:solidFill>
                <a:effectLst/>
                <a:uLnTx/>
                <a:uFillTx/>
                <a:latin typeface="Nokia Pure Text Light" panose="020B0304040602060303" pitchFamily="34" charset="0"/>
                <a:ea typeface="+mn-ea"/>
                <a:cs typeface="+mn-cs"/>
              </a:rPr>
              <a:t>actuators</a:t>
            </a:r>
          </a:p>
        </p:txBody>
      </p:sp>
      <p:cxnSp>
        <p:nvCxnSpPr>
          <p:cNvPr id="884" name="Straight Connector 883">
            <a:extLst>
              <a:ext uri="{FF2B5EF4-FFF2-40B4-BE49-F238E27FC236}">
                <a16:creationId xmlns:a16="http://schemas.microsoft.com/office/drawing/2014/main" id="{9D0416A7-0A74-0B95-F0E5-A26D51EC34B5}"/>
              </a:ext>
            </a:extLst>
          </p:cNvPr>
          <p:cNvCxnSpPr>
            <a:cxnSpLocks/>
          </p:cNvCxnSpPr>
          <p:nvPr/>
        </p:nvCxnSpPr>
        <p:spPr>
          <a:xfrm>
            <a:off x="7582580" y="1561796"/>
            <a:ext cx="182880" cy="0"/>
          </a:xfrm>
          <a:prstGeom prst="line">
            <a:avLst/>
          </a:prstGeom>
          <a:ln w="15875">
            <a:solidFill>
              <a:schemeClr val="accent1"/>
            </a:solidFill>
          </a:ln>
        </p:spPr>
        <p:style>
          <a:lnRef idx="3">
            <a:schemeClr val="accent1"/>
          </a:lnRef>
          <a:fillRef idx="0">
            <a:schemeClr val="accent1"/>
          </a:fillRef>
          <a:effectRef idx="2">
            <a:schemeClr val="accent1"/>
          </a:effectRef>
          <a:fontRef idx="minor">
            <a:schemeClr val="tx1"/>
          </a:fontRef>
        </p:style>
      </p:cxnSp>
      <p:sp>
        <p:nvSpPr>
          <p:cNvPr id="885" name="Rectangle 884">
            <a:extLst>
              <a:ext uri="{FF2B5EF4-FFF2-40B4-BE49-F238E27FC236}">
                <a16:creationId xmlns:a16="http://schemas.microsoft.com/office/drawing/2014/main" id="{F2863031-56DA-0BAD-53FD-3CF3388C2522}"/>
              </a:ext>
            </a:extLst>
          </p:cNvPr>
          <p:cNvSpPr/>
          <p:nvPr/>
        </p:nvSpPr>
        <p:spPr>
          <a:xfrm>
            <a:off x="7725669" y="1418900"/>
            <a:ext cx="1034041" cy="360997"/>
          </a:xfrm>
          <a:prstGeom prst="rect">
            <a:avLst/>
          </a:prstGeom>
          <a:noFill/>
          <a:ln w="28575" cap="flat" cmpd="sng" algn="ctr">
            <a:noFill/>
            <a:prstDash val="sysDash"/>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1"/>
                </a:solidFill>
                <a:effectLst/>
                <a:uLnTx/>
                <a:uFillTx/>
                <a:latin typeface="Nokia Pure Headline Light" panose="020B0304020202020204" pitchFamily="34" charset="0"/>
                <a:ea typeface="Nokia Pure Text Light" panose="020B0403020202020204" pitchFamily="34" charset="0"/>
                <a:cs typeface="+mn-cs"/>
              </a:rPr>
              <a:t>Mobile broadband</a:t>
            </a:r>
            <a:br>
              <a:rPr kumimoji="0" lang="en-US" sz="900" b="0" i="0" u="none" strike="noStrike" kern="0" cap="none" spc="0" normalizeH="0" baseline="0" noProof="0" dirty="0">
                <a:ln>
                  <a:noFill/>
                </a:ln>
                <a:solidFill>
                  <a:schemeClr val="accent1"/>
                </a:solidFill>
                <a:effectLst/>
                <a:uLnTx/>
                <a:uFillTx/>
                <a:latin typeface="Nokia Pure Headline Light" panose="020B0304020202020204" pitchFamily="34" charset="0"/>
                <a:ea typeface="Nokia Pure Text Light" panose="020B0403020202020204" pitchFamily="34" charset="0"/>
                <a:cs typeface="+mn-cs"/>
              </a:rPr>
            </a:br>
            <a:r>
              <a:rPr kumimoji="0" lang="en-US" sz="900" b="0" i="0" u="none" strike="noStrike" kern="0" cap="none" spc="0" normalizeH="0" baseline="0" noProof="0" dirty="0">
                <a:ln>
                  <a:noFill/>
                </a:ln>
                <a:solidFill>
                  <a:schemeClr val="accent1"/>
                </a:solidFill>
                <a:effectLst/>
                <a:uLnTx/>
                <a:uFillTx/>
                <a:latin typeface="Nokia Pure Headline Light" panose="020B0304020202020204" pitchFamily="34" charset="0"/>
                <a:ea typeface="Nokia Pure Text Light" panose="020B0403020202020204" pitchFamily="34" charset="0"/>
                <a:cs typeface="+mn-cs"/>
              </a:rPr>
              <a:t> (reference)</a:t>
            </a:r>
          </a:p>
        </p:txBody>
      </p:sp>
      <p:sp>
        <p:nvSpPr>
          <p:cNvPr id="886" name="Rectangle 885">
            <a:extLst>
              <a:ext uri="{FF2B5EF4-FFF2-40B4-BE49-F238E27FC236}">
                <a16:creationId xmlns:a16="http://schemas.microsoft.com/office/drawing/2014/main" id="{162BFC6F-3D3B-BF46-3C66-E4634B94D114}"/>
              </a:ext>
            </a:extLst>
          </p:cNvPr>
          <p:cNvSpPr/>
          <p:nvPr/>
        </p:nvSpPr>
        <p:spPr>
          <a:xfrm>
            <a:off x="7501115" y="1443118"/>
            <a:ext cx="1218803" cy="375213"/>
          </a:xfrm>
          <a:prstGeom prst="rect">
            <a:avLst/>
          </a:prstGeom>
          <a:noFill/>
          <a:ln w="3175" cap="flat" cmpd="sng" algn="ctr">
            <a:solidFill>
              <a:srgbClr val="FFFFFF"/>
            </a:solidFill>
            <a:prstDash val="sysDash"/>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225"/>
              </a:spcAft>
              <a:buClrTx/>
              <a:buSzPct val="100000"/>
              <a:buFontTx/>
              <a:buNone/>
              <a:tabLst/>
              <a:defRPr/>
            </a:pPr>
            <a:endParaRPr kumimoji="0" lang="en-US" sz="800" b="0" i="0" u="none" strike="noStrike" kern="0" cap="none" spc="0" normalizeH="0" baseline="0" noProof="0">
              <a:ln>
                <a:noFill/>
              </a:ln>
              <a:solidFill>
                <a:srgbClr val="FFFFFF"/>
              </a:solidFill>
              <a:effectLst/>
              <a:uLnTx/>
              <a:uFillTx/>
              <a:latin typeface="Nokia Pure Text"/>
              <a:ea typeface="+mn-ea"/>
              <a:cs typeface="+mn-cs"/>
            </a:endParaRPr>
          </a:p>
        </p:txBody>
      </p:sp>
      <p:grpSp>
        <p:nvGrpSpPr>
          <p:cNvPr id="58" name="Group 57">
            <a:extLst>
              <a:ext uri="{FF2B5EF4-FFF2-40B4-BE49-F238E27FC236}">
                <a16:creationId xmlns:a16="http://schemas.microsoft.com/office/drawing/2014/main" id="{3C587C32-F2E9-123C-DD52-EACD2B2053D9}"/>
              </a:ext>
            </a:extLst>
          </p:cNvPr>
          <p:cNvGrpSpPr>
            <a:grpSpLocks noChangeAspect="1"/>
          </p:cNvGrpSpPr>
          <p:nvPr/>
        </p:nvGrpSpPr>
        <p:grpSpPr>
          <a:xfrm>
            <a:off x="7998188" y="155196"/>
            <a:ext cx="902786" cy="881780"/>
            <a:chOff x="7998188" y="155196"/>
            <a:chExt cx="902786" cy="881780"/>
          </a:xfrm>
        </p:grpSpPr>
        <p:sp>
          <p:nvSpPr>
            <p:cNvPr id="59" name="Hexagon 58">
              <a:extLst>
                <a:ext uri="{FF2B5EF4-FFF2-40B4-BE49-F238E27FC236}">
                  <a16:creationId xmlns:a16="http://schemas.microsoft.com/office/drawing/2014/main" id="{7DA3EFBE-F840-73D9-3672-820E515EFA7E}"/>
                </a:ext>
              </a:extLst>
            </p:cNvPr>
            <p:cNvSpPr/>
            <p:nvPr/>
          </p:nvSpPr>
          <p:spPr>
            <a:xfrm>
              <a:off x="7998188" y="307501"/>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60" name="Hexagon 59">
              <a:extLst>
                <a:ext uri="{FF2B5EF4-FFF2-40B4-BE49-F238E27FC236}">
                  <a16:creationId xmlns:a16="http://schemas.microsoft.com/office/drawing/2014/main" id="{2ECF118C-3F79-F84F-13DD-9D05D880ED8E}"/>
                </a:ext>
              </a:extLst>
            </p:cNvPr>
            <p:cNvSpPr/>
            <p:nvPr/>
          </p:nvSpPr>
          <p:spPr>
            <a:xfrm>
              <a:off x="8278959" y="15519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grpSp>
          <p:nvGrpSpPr>
            <p:cNvPr id="61" name="Group 60">
              <a:extLst>
                <a:ext uri="{FF2B5EF4-FFF2-40B4-BE49-F238E27FC236}">
                  <a16:creationId xmlns:a16="http://schemas.microsoft.com/office/drawing/2014/main" id="{C9040E9F-445D-97C6-94B7-99C6EB9460B6}"/>
                </a:ext>
              </a:extLst>
            </p:cNvPr>
            <p:cNvGrpSpPr/>
            <p:nvPr/>
          </p:nvGrpSpPr>
          <p:grpSpPr>
            <a:xfrm>
              <a:off x="8280536" y="455170"/>
              <a:ext cx="334041" cy="286633"/>
              <a:chOff x="3708538" y="2148352"/>
              <a:chExt cx="1338549" cy="1160199"/>
            </a:xfrm>
          </p:grpSpPr>
          <p:sp>
            <p:nvSpPr>
              <p:cNvPr id="668" name="Hexagon 667">
                <a:extLst>
                  <a:ext uri="{FF2B5EF4-FFF2-40B4-BE49-F238E27FC236}">
                    <a16:creationId xmlns:a16="http://schemas.microsoft.com/office/drawing/2014/main" id="{74D7AE3B-F201-08DF-149F-BDE86C3AF54B}"/>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669" name="Rectangle 668">
                <a:extLst>
                  <a:ext uri="{FF2B5EF4-FFF2-40B4-BE49-F238E27FC236}">
                    <a16:creationId xmlns:a16="http://schemas.microsoft.com/office/drawing/2014/main" id="{EF8B95D2-E6AF-DE10-EDE3-9100334A67F3}"/>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rPr>
                  <a:t>6G</a:t>
                </a:r>
              </a:p>
            </p:txBody>
          </p:sp>
        </p:grpSp>
        <p:sp>
          <p:nvSpPr>
            <p:cNvPr id="62" name="Hexagon 61">
              <a:extLst>
                <a:ext uri="{FF2B5EF4-FFF2-40B4-BE49-F238E27FC236}">
                  <a16:creationId xmlns:a16="http://schemas.microsoft.com/office/drawing/2014/main" id="{7C592925-4164-FEDC-EEB1-6C993FE5C66E}"/>
                </a:ext>
              </a:extLst>
            </p:cNvPr>
            <p:cNvSpPr/>
            <p:nvPr/>
          </p:nvSpPr>
          <p:spPr>
            <a:xfrm>
              <a:off x="8564393" y="309353"/>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63" name="Hexagon 62">
              <a:extLst>
                <a:ext uri="{FF2B5EF4-FFF2-40B4-BE49-F238E27FC236}">
                  <a16:creationId xmlns:a16="http://schemas.microsoft.com/office/drawing/2014/main" id="{776F0EBA-3B1B-007C-1CAE-D27242F7867B}"/>
                </a:ext>
              </a:extLst>
            </p:cNvPr>
            <p:cNvSpPr/>
            <p:nvPr/>
          </p:nvSpPr>
          <p:spPr>
            <a:xfrm>
              <a:off x="8566933"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640" name="Hexagon 639">
              <a:extLst>
                <a:ext uri="{FF2B5EF4-FFF2-40B4-BE49-F238E27FC236}">
                  <a16:creationId xmlns:a16="http://schemas.microsoft.com/office/drawing/2014/main" id="{A884F1A2-A625-782A-D9F0-0E820CE0C428}"/>
                </a:ext>
              </a:extLst>
            </p:cNvPr>
            <p:cNvSpPr/>
            <p:nvPr/>
          </p:nvSpPr>
          <p:spPr>
            <a:xfrm>
              <a:off x="8278959" y="756816"/>
              <a:ext cx="334041" cy="280160"/>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641" name="Hexagon 640">
              <a:extLst>
                <a:ext uri="{FF2B5EF4-FFF2-40B4-BE49-F238E27FC236}">
                  <a16:creationId xmlns:a16="http://schemas.microsoft.com/office/drawing/2014/main" id="{F7B3D23B-28C7-5B64-BC3B-717FDD23C4DD}"/>
                </a:ext>
              </a:extLst>
            </p:cNvPr>
            <p:cNvSpPr/>
            <p:nvPr/>
          </p:nvSpPr>
          <p:spPr>
            <a:xfrm>
              <a:off x="7998188"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pic>
          <p:nvPicPr>
            <p:cNvPr id="642" name="Graphic 641">
              <a:extLst>
                <a:ext uri="{FF2B5EF4-FFF2-40B4-BE49-F238E27FC236}">
                  <a16:creationId xmlns:a16="http://schemas.microsoft.com/office/drawing/2014/main" id="{2A731E8C-A9BC-6A83-717B-FFC22196D2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1736" y="220952"/>
              <a:ext cx="173149" cy="133797"/>
            </a:xfrm>
            <a:prstGeom prst="rect">
              <a:avLst/>
            </a:prstGeom>
          </p:spPr>
        </p:pic>
        <p:pic>
          <p:nvPicPr>
            <p:cNvPr id="643" name="Graphic 642">
              <a:extLst>
                <a:ext uri="{FF2B5EF4-FFF2-40B4-BE49-F238E27FC236}">
                  <a16:creationId xmlns:a16="http://schemas.microsoft.com/office/drawing/2014/main" id="{EBD0AC3D-89BA-7FBD-F4D8-E8493F9F4BA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4555" y="621751"/>
              <a:ext cx="242008" cy="242008"/>
            </a:xfrm>
            <a:prstGeom prst="rect">
              <a:avLst/>
            </a:prstGeom>
          </p:spPr>
        </p:pic>
        <p:grpSp>
          <p:nvGrpSpPr>
            <p:cNvPr id="644" name="Group 643">
              <a:extLst>
                <a:ext uri="{FF2B5EF4-FFF2-40B4-BE49-F238E27FC236}">
                  <a16:creationId xmlns:a16="http://schemas.microsoft.com/office/drawing/2014/main" id="{F336B4FC-7F8C-E6D5-DBB6-4C93D502B0E5}"/>
                </a:ext>
              </a:extLst>
            </p:cNvPr>
            <p:cNvGrpSpPr>
              <a:grpSpLocks noChangeAspect="1"/>
            </p:cNvGrpSpPr>
            <p:nvPr/>
          </p:nvGrpSpPr>
          <p:grpSpPr>
            <a:xfrm>
              <a:off x="8365046" y="808317"/>
              <a:ext cx="165022" cy="166305"/>
              <a:chOff x="6477861" y="3605373"/>
              <a:chExt cx="428667" cy="432000"/>
            </a:xfrm>
          </p:grpSpPr>
          <p:sp>
            <p:nvSpPr>
              <p:cNvPr id="661" name="Freeform: Shape 660">
                <a:extLst>
                  <a:ext uri="{FF2B5EF4-FFF2-40B4-BE49-F238E27FC236}">
                    <a16:creationId xmlns:a16="http://schemas.microsoft.com/office/drawing/2014/main" id="{C2671BE0-D41D-EFFA-32A2-3BB2863F3F30}"/>
                  </a:ext>
                </a:extLst>
              </p:cNvPr>
              <p:cNvSpPr/>
              <p:nvPr/>
            </p:nvSpPr>
            <p:spPr>
              <a:xfrm>
                <a:off x="6499528" y="3629373"/>
                <a:ext cx="384000" cy="384000"/>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noFill/>
              <a:ln w="6350" cap="rnd">
                <a:solidFill>
                  <a:schemeClr val="bg1"/>
                </a:solidFill>
                <a:prstDash val="solid"/>
                <a:round/>
              </a:ln>
            </p:spPr>
            <p:txBody>
              <a:bodyPr rtlCol="0" anchor="ctr"/>
              <a:lstStyle/>
              <a:p>
                <a:endParaRPr lang="en-US" sz="700"/>
              </a:p>
            </p:txBody>
          </p:sp>
          <p:sp>
            <p:nvSpPr>
              <p:cNvPr id="662" name="Freeform: Shape 661">
                <a:extLst>
                  <a:ext uri="{FF2B5EF4-FFF2-40B4-BE49-F238E27FC236}">
                    <a16:creationId xmlns:a16="http://schemas.microsoft.com/office/drawing/2014/main" id="{DC9EC408-5ABA-35C7-854E-5064693BB372}"/>
                  </a:ext>
                </a:extLst>
              </p:cNvPr>
              <p:cNvSpPr/>
              <p:nvPr/>
            </p:nvSpPr>
            <p:spPr>
              <a:xfrm>
                <a:off x="6667194" y="3605373"/>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sp>
            <p:nvSpPr>
              <p:cNvPr id="663" name="Freeform: Shape 662">
                <a:extLst>
                  <a:ext uri="{FF2B5EF4-FFF2-40B4-BE49-F238E27FC236}">
                    <a16:creationId xmlns:a16="http://schemas.microsoft.com/office/drawing/2014/main" id="{76B40461-A48B-B843-973B-DE7720B44994}"/>
                  </a:ext>
                </a:extLst>
              </p:cNvPr>
              <p:cNvSpPr/>
              <p:nvPr/>
            </p:nvSpPr>
            <p:spPr>
              <a:xfrm>
                <a:off x="6667194" y="3988706"/>
                <a:ext cx="47333" cy="48667"/>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sp>
            <p:nvSpPr>
              <p:cNvPr id="664" name="Freeform: Shape 663">
                <a:extLst>
                  <a:ext uri="{FF2B5EF4-FFF2-40B4-BE49-F238E27FC236}">
                    <a16:creationId xmlns:a16="http://schemas.microsoft.com/office/drawing/2014/main" id="{A67FEDF5-7B1E-2D90-6B31-AA2FE1B0163A}"/>
                  </a:ext>
                </a:extLst>
              </p:cNvPr>
              <p:cNvSpPr/>
              <p:nvPr/>
            </p:nvSpPr>
            <p:spPr>
              <a:xfrm>
                <a:off x="6732528"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sp>
            <p:nvSpPr>
              <p:cNvPr id="665" name="Freeform: Shape 664">
                <a:extLst>
                  <a:ext uri="{FF2B5EF4-FFF2-40B4-BE49-F238E27FC236}">
                    <a16:creationId xmlns:a16="http://schemas.microsoft.com/office/drawing/2014/main" id="{4E178734-579A-A091-E3FF-46023C6CE708}"/>
                  </a:ext>
                </a:extLst>
              </p:cNvPr>
              <p:cNvSpPr/>
              <p:nvPr/>
            </p:nvSpPr>
            <p:spPr>
              <a:xfrm>
                <a:off x="6601194"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sp>
            <p:nvSpPr>
              <p:cNvPr id="666" name="Freeform: Shape 665">
                <a:extLst>
                  <a:ext uri="{FF2B5EF4-FFF2-40B4-BE49-F238E27FC236}">
                    <a16:creationId xmlns:a16="http://schemas.microsoft.com/office/drawing/2014/main" id="{DA6A5720-C301-35DE-8F5A-66D26739C886}"/>
                  </a:ext>
                </a:extLst>
              </p:cNvPr>
              <p:cNvSpPr/>
              <p:nvPr/>
            </p:nvSpPr>
            <p:spPr>
              <a:xfrm>
                <a:off x="6859195"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sp>
            <p:nvSpPr>
              <p:cNvPr id="667" name="Freeform: Shape 666">
                <a:extLst>
                  <a:ext uri="{FF2B5EF4-FFF2-40B4-BE49-F238E27FC236}">
                    <a16:creationId xmlns:a16="http://schemas.microsoft.com/office/drawing/2014/main" id="{1934DA71-14CF-6595-7BA3-D8156FC620FC}"/>
                  </a:ext>
                </a:extLst>
              </p:cNvPr>
              <p:cNvSpPr/>
              <p:nvPr/>
            </p:nvSpPr>
            <p:spPr>
              <a:xfrm>
                <a:off x="6477861" y="3797706"/>
                <a:ext cx="47333" cy="48666"/>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5"/>
              </a:solidFill>
              <a:ln w="6350" cap="rnd">
                <a:solidFill>
                  <a:schemeClr val="bg1"/>
                </a:solidFill>
                <a:prstDash val="solid"/>
                <a:round/>
              </a:ln>
            </p:spPr>
            <p:txBody>
              <a:bodyPr rtlCol="0" anchor="ctr"/>
              <a:lstStyle/>
              <a:p>
                <a:endParaRPr lang="en-US" sz="700"/>
              </a:p>
            </p:txBody>
          </p:sp>
        </p:grpSp>
        <p:sp>
          <p:nvSpPr>
            <p:cNvPr id="645" name="Freeform: Shape 644">
              <a:extLst>
                <a:ext uri="{FF2B5EF4-FFF2-40B4-BE49-F238E27FC236}">
                  <a16:creationId xmlns:a16="http://schemas.microsoft.com/office/drawing/2014/main" id="{2D10CCC7-93B8-F58C-A8B1-6F8F6C18C2F3}"/>
                </a:ext>
              </a:extLst>
            </p:cNvPr>
            <p:cNvSpPr>
              <a:spLocks noChangeAspect="1"/>
            </p:cNvSpPr>
            <p:nvPr/>
          </p:nvSpPr>
          <p:spPr>
            <a:xfrm>
              <a:off x="8104643" y="385407"/>
              <a:ext cx="128139" cy="142628"/>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6350" cap="rnd">
              <a:solidFill>
                <a:schemeClr val="bg1"/>
              </a:solidFill>
              <a:prstDash val="solid"/>
              <a:round/>
            </a:ln>
          </p:spPr>
          <p:txBody>
            <a:bodyPr rtlCol="0" anchor="ctr"/>
            <a:lstStyle/>
            <a:p>
              <a:endParaRPr lang="en-US" sz="700"/>
            </a:p>
          </p:txBody>
        </p:sp>
        <p:grpSp>
          <p:nvGrpSpPr>
            <p:cNvPr id="646" name="Group 645">
              <a:extLst>
                <a:ext uri="{FF2B5EF4-FFF2-40B4-BE49-F238E27FC236}">
                  <a16:creationId xmlns:a16="http://schemas.microsoft.com/office/drawing/2014/main" id="{4EBEC95E-1AA4-3C7D-EC14-B4004794BD52}"/>
                </a:ext>
              </a:extLst>
            </p:cNvPr>
            <p:cNvGrpSpPr>
              <a:grpSpLocks noChangeAspect="1"/>
            </p:cNvGrpSpPr>
            <p:nvPr/>
          </p:nvGrpSpPr>
          <p:grpSpPr>
            <a:xfrm>
              <a:off x="8664411" y="385784"/>
              <a:ext cx="131786" cy="131293"/>
              <a:chOff x="7644836" y="1910200"/>
              <a:chExt cx="325217" cy="324000"/>
            </a:xfrm>
          </p:grpSpPr>
          <p:sp>
            <p:nvSpPr>
              <p:cNvPr id="657" name="Freeform: Shape 656">
                <a:extLst>
                  <a:ext uri="{FF2B5EF4-FFF2-40B4-BE49-F238E27FC236}">
                    <a16:creationId xmlns:a16="http://schemas.microsoft.com/office/drawing/2014/main" id="{A406CC58-EC40-3D79-ADC6-02834285DDF6}"/>
                  </a:ext>
                </a:extLst>
              </p:cNvPr>
              <p:cNvSpPr/>
              <p:nvPr/>
            </p:nvSpPr>
            <p:spPr>
              <a:xfrm>
                <a:off x="7845967" y="1910200"/>
                <a:ext cx="124084" cy="124084"/>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6350" cap="rnd">
                <a:solidFill>
                  <a:schemeClr val="bg1"/>
                </a:solidFill>
                <a:prstDash val="solid"/>
                <a:round/>
              </a:ln>
            </p:spPr>
            <p:txBody>
              <a:bodyPr rtlCol="0" anchor="ctr"/>
              <a:lstStyle/>
              <a:p>
                <a:endParaRPr lang="en-US" sz="700"/>
              </a:p>
            </p:txBody>
          </p:sp>
          <p:sp>
            <p:nvSpPr>
              <p:cNvPr id="658" name="Freeform: Shape 657">
                <a:extLst>
                  <a:ext uri="{FF2B5EF4-FFF2-40B4-BE49-F238E27FC236}">
                    <a16:creationId xmlns:a16="http://schemas.microsoft.com/office/drawing/2014/main" id="{CC6CF8FB-049E-B72E-C55F-E93F5DC46948}"/>
                  </a:ext>
                </a:extLst>
              </p:cNvPr>
              <p:cNvSpPr/>
              <p:nvPr/>
            </p:nvSpPr>
            <p:spPr>
              <a:xfrm>
                <a:off x="7645647" y="1910200"/>
                <a:ext cx="162203" cy="210202"/>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6350" cap="rnd">
                <a:solidFill>
                  <a:schemeClr val="bg1"/>
                </a:solidFill>
                <a:prstDash val="solid"/>
                <a:round/>
              </a:ln>
            </p:spPr>
            <p:txBody>
              <a:bodyPr rtlCol="0" anchor="ctr"/>
              <a:lstStyle/>
              <a:p>
                <a:endParaRPr lang="en-US" sz="700"/>
              </a:p>
            </p:txBody>
          </p:sp>
          <p:sp>
            <p:nvSpPr>
              <p:cNvPr id="659" name="Freeform: Shape 658">
                <a:extLst>
                  <a:ext uri="{FF2B5EF4-FFF2-40B4-BE49-F238E27FC236}">
                    <a16:creationId xmlns:a16="http://schemas.microsoft.com/office/drawing/2014/main" id="{8A8EBD4B-FBEF-12BB-DB9B-61C44D18E60E}"/>
                  </a:ext>
                </a:extLst>
              </p:cNvPr>
              <p:cNvSpPr/>
              <p:nvPr/>
            </p:nvSpPr>
            <p:spPr>
              <a:xfrm>
                <a:off x="7644836" y="2072403"/>
                <a:ext cx="210607" cy="161797"/>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6350" cap="rnd">
                <a:solidFill>
                  <a:schemeClr val="bg1"/>
                </a:solidFill>
                <a:prstDash val="solid"/>
                <a:round/>
              </a:ln>
            </p:spPr>
            <p:txBody>
              <a:bodyPr rtlCol="0" anchor="ctr"/>
              <a:lstStyle/>
              <a:p>
                <a:endParaRPr lang="en-US" sz="700"/>
              </a:p>
            </p:txBody>
          </p:sp>
          <p:sp>
            <p:nvSpPr>
              <p:cNvPr id="660" name="Freeform: Shape 659">
                <a:extLst>
                  <a:ext uri="{FF2B5EF4-FFF2-40B4-BE49-F238E27FC236}">
                    <a16:creationId xmlns:a16="http://schemas.microsoft.com/office/drawing/2014/main" id="{61B4456E-3CF8-C8C5-048D-B6E0185655E2}"/>
                  </a:ext>
                </a:extLst>
              </p:cNvPr>
              <p:cNvSpPr/>
              <p:nvPr/>
            </p:nvSpPr>
            <p:spPr>
              <a:xfrm>
                <a:off x="7807850" y="2024402"/>
                <a:ext cx="162203" cy="209391"/>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6350" cap="rnd">
                <a:solidFill>
                  <a:schemeClr val="bg1"/>
                </a:solidFill>
                <a:prstDash val="solid"/>
                <a:round/>
              </a:ln>
            </p:spPr>
            <p:txBody>
              <a:bodyPr rtlCol="0" anchor="ctr"/>
              <a:lstStyle/>
              <a:p>
                <a:endParaRPr lang="en-US" sz="700"/>
              </a:p>
            </p:txBody>
          </p:sp>
        </p:grpSp>
        <p:grpSp>
          <p:nvGrpSpPr>
            <p:cNvPr id="647" name="Group 646">
              <a:extLst>
                <a:ext uri="{FF2B5EF4-FFF2-40B4-BE49-F238E27FC236}">
                  <a16:creationId xmlns:a16="http://schemas.microsoft.com/office/drawing/2014/main" id="{A09D471E-6338-1F30-4180-1501678BABB2}"/>
                </a:ext>
              </a:extLst>
            </p:cNvPr>
            <p:cNvGrpSpPr>
              <a:grpSpLocks noChangeAspect="1"/>
            </p:cNvGrpSpPr>
            <p:nvPr/>
          </p:nvGrpSpPr>
          <p:grpSpPr>
            <a:xfrm>
              <a:off x="8641332" y="690364"/>
              <a:ext cx="194246" cy="107818"/>
              <a:chOff x="7555416" y="3035519"/>
              <a:chExt cx="518864" cy="288000"/>
            </a:xfrm>
          </p:grpSpPr>
          <p:sp>
            <p:nvSpPr>
              <p:cNvPr id="648" name="Freeform: Shape 647">
                <a:extLst>
                  <a:ext uri="{FF2B5EF4-FFF2-40B4-BE49-F238E27FC236}">
                    <a16:creationId xmlns:a16="http://schemas.microsoft.com/office/drawing/2014/main" id="{17581F31-52FE-137D-FBA8-9F005EA5BE0B}"/>
                  </a:ext>
                </a:extLst>
              </p:cNvPr>
              <p:cNvSpPr/>
              <p:nvPr/>
            </p:nvSpPr>
            <p:spPr>
              <a:xfrm>
                <a:off x="7795032" y="3159702"/>
                <a:ext cx="39632" cy="39632"/>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6350" cap="flat">
                <a:solidFill>
                  <a:schemeClr val="bg1"/>
                </a:solidFill>
                <a:prstDash val="solid"/>
                <a:miter/>
              </a:ln>
            </p:spPr>
            <p:txBody>
              <a:bodyPr rtlCol="0" anchor="ctr"/>
              <a:lstStyle/>
              <a:p>
                <a:endParaRPr lang="en-US" sz="700"/>
              </a:p>
            </p:txBody>
          </p:sp>
          <p:grpSp>
            <p:nvGrpSpPr>
              <p:cNvPr id="649" name="Graphic 28">
                <a:extLst>
                  <a:ext uri="{FF2B5EF4-FFF2-40B4-BE49-F238E27FC236}">
                    <a16:creationId xmlns:a16="http://schemas.microsoft.com/office/drawing/2014/main" id="{E3F783BD-EBF3-48F5-E379-BC9D986335ED}"/>
                  </a:ext>
                </a:extLst>
              </p:cNvPr>
              <p:cNvGrpSpPr/>
              <p:nvPr/>
            </p:nvGrpSpPr>
            <p:grpSpPr>
              <a:xfrm>
                <a:off x="7900060" y="3036180"/>
                <a:ext cx="174220" cy="287339"/>
                <a:chOff x="5573768" y="3664511"/>
                <a:chExt cx="90200" cy="148766"/>
              </a:xfrm>
              <a:noFill/>
            </p:grpSpPr>
            <p:sp>
              <p:nvSpPr>
                <p:cNvPr id="654" name="Freeform: Shape 653">
                  <a:extLst>
                    <a:ext uri="{FF2B5EF4-FFF2-40B4-BE49-F238E27FC236}">
                      <a16:creationId xmlns:a16="http://schemas.microsoft.com/office/drawing/2014/main" id="{12C4B2EE-1C93-C41B-FAF2-1F87AE90D639}"/>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6350" cap="flat">
                  <a:solidFill>
                    <a:schemeClr val="bg1"/>
                  </a:solidFill>
                  <a:prstDash val="solid"/>
                  <a:miter/>
                </a:ln>
              </p:spPr>
              <p:txBody>
                <a:bodyPr rtlCol="0" anchor="ctr"/>
                <a:lstStyle/>
                <a:p>
                  <a:endParaRPr lang="en-US" sz="700"/>
                </a:p>
              </p:txBody>
            </p:sp>
            <p:sp>
              <p:nvSpPr>
                <p:cNvPr id="655" name="Freeform: Shape 654">
                  <a:extLst>
                    <a:ext uri="{FF2B5EF4-FFF2-40B4-BE49-F238E27FC236}">
                      <a16:creationId xmlns:a16="http://schemas.microsoft.com/office/drawing/2014/main" id="{A3BFBD3F-4EA1-A1EF-4B0C-0E247AB0D2E5}"/>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6350" cap="flat">
                  <a:solidFill>
                    <a:schemeClr val="bg1"/>
                  </a:solidFill>
                  <a:prstDash val="solid"/>
                  <a:miter/>
                </a:ln>
              </p:spPr>
              <p:txBody>
                <a:bodyPr rtlCol="0" anchor="ctr"/>
                <a:lstStyle/>
                <a:p>
                  <a:endParaRPr lang="en-US" sz="700"/>
                </a:p>
              </p:txBody>
            </p:sp>
            <p:sp>
              <p:nvSpPr>
                <p:cNvPr id="656" name="Freeform: Shape 655">
                  <a:extLst>
                    <a:ext uri="{FF2B5EF4-FFF2-40B4-BE49-F238E27FC236}">
                      <a16:creationId xmlns:a16="http://schemas.microsoft.com/office/drawing/2014/main" id="{02A7001F-8769-8B18-14EF-A9ED8D5AB68D}"/>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6350" cap="flat">
                  <a:solidFill>
                    <a:schemeClr val="bg1"/>
                  </a:solidFill>
                  <a:prstDash val="solid"/>
                  <a:miter/>
                </a:ln>
              </p:spPr>
              <p:txBody>
                <a:bodyPr rtlCol="0" anchor="ctr"/>
                <a:lstStyle/>
                <a:p>
                  <a:endParaRPr lang="en-US" sz="700"/>
                </a:p>
              </p:txBody>
            </p:sp>
          </p:grpSp>
          <p:grpSp>
            <p:nvGrpSpPr>
              <p:cNvPr id="650" name="Graphic 28">
                <a:extLst>
                  <a:ext uri="{FF2B5EF4-FFF2-40B4-BE49-F238E27FC236}">
                    <a16:creationId xmlns:a16="http://schemas.microsoft.com/office/drawing/2014/main" id="{3E98A474-993D-AF07-7F33-2BE665977239}"/>
                  </a:ext>
                </a:extLst>
              </p:cNvPr>
              <p:cNvGrpSpPr/>
              <p:nvPr/>
            </p:nvGrpSpPr>
            <p:grpSpPr>
              <a:xfrm>
                <a:off x="7555416" y="3035519"/>
                <a:ext cx="174220" cy="287339"/>
                <a:chOff x="5395333" y="3664169"/>
                <a:chExt cx="90200" cy="148766"/>
              </a:xfrm>
              <a:noFill/>
            </p:grpSpPr>
            <p:sp>
              <p:nvSpPr>
                <p:cNvPr id="651" name="Freeform: Shape 650">
                  <a:extLst>
                    <a:ext uri="{FF2B5EF4-FFF2-40B4-BE49-F238E27FC236}">
                      <a16:creationId xmlns:a16="http://schemas.microsoft.com/office/drawing/2014/main" id="{238721B3-0983-CC2E-2C9F-A2962BD23A8E}"/>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6350" cap="flat">
                  <a:solidFill>
                    <a:schemeClr val="bg1"/>
                  </a:solidFill>
                  <a:prstDash val="solid"/>
                  <a:miter/>
                </a:ln>
              </p:spPr>
              <p:txBody>
                <a:bodyPr rtlCol="0" anchor="ctr"/>
                <a:lstStyle/>
                <a:p>
                  <a:endParaRPr lang="en-US" sz="700"/>
                </a:p>
              </p:txBody>
            </p:sp>
            <p:sp>
              <p:nvSpPr>
                <p:cNvPr id="652" name="Freeform: Shape 651">
                  <a:extLst>
                    <a:ext uri="{FF2B5EF4-FFF2-40B4-BE49-F238E27FC236}">
                      <a16:creationId xmlns:a16="http://schemas.microsoft.com/office/drawing/2014/main" id="{B7F40E29-25EB-8009-0560-748ECB8DD333}"/>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6350" cap="flat">
                  <a:solidFill>
                    <a:schemeClr val="bg1"/>
                  </a:solidFill>
                  <a:prstDash val="solid"/>
                  <a:miter/>
                </a:ln>
              </p:spPr>
              <p:txBody>
                <a:bodyPr rtlCol="0" anchor="ctr"/>
                <a:lstStyle/>
                <a:p>
                  <a:endParaRPr lang="en-US" sz="700"/>
                </a:p>
              </p:txBody>
            </p:sp>
            <p:sp>
              <p:nvSpPr>
                <p:cNvPr id="653" name="Freeform: Shape 652">
                  <a:extLst>
                    <a:ext uri="{FF2B5EF4-FFF2-40B4-BE49-F238E27FC236}">
                      <a16:creationId xmlns:a16="http://schemas.microsoft.com/office/drawing/2014/main" id="{C4A231F4-5FEC-91C6-04A9-C218E30C3408}"/>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6350" cap="flat">
                  <a:solidFill>
                    <a:schemeClr val="bg1"/>
                  </a:solidFill>
                  <a:prstDash val="solid"/>
                  <a:miter/>
                </a:ln>
              </p:spPr>
              <p:txBody>
                <a:bodyPr rtlCol="0" anchor="ctr"/>
                <a:lstStyle/>
                <a:p>
                  <a:endParaRPr lang="en-US" sz="700"/>
                </a:p>
              </p:txBody>
            </p:sp>
          </p:grpSp>
        </p:grpSp>
      </p:grpSp>
      <p:grpSp>
        <p:nvGrpSpPr>
          <p:cNvPr id="671" name="Group 670">
            <a:extLst>
              <a:ext uri="{FF2B5EF4-FFF2-40B4-BE49-F238E27FC236}">
                <a16:creationId xmlns:a16="http://schemas.microsoft.com/office/drawing/2014/main" id="{FF7E6C40-D5D1-9E3C-45FC-9C7C70CE1BAD}"/>
              </a:ext>
            </a:extLst>
          </p:cNvPr>
          <p:cNvGrpSpPr>
            <a:grpSpLocks noChangeAspect="1"/>
          </p:cNvGrpSpPr>
          <p:nvPr/>
        </p:nvGrpSpPr>
        <p:grpSpPr>
          <a:xfrm>
            <a:off x="578137" y="2011727"/>
            <a:ext cx="1577109" cy="535640"/>
            <a:chOff x="4286105" y="4460828"/>
            <a:chExt cx="770161" cy="261573"/>
          </a:xfrm>
        </p:grpSpPr>
        <p:sp>
          <p:nvSpPr>
            <p:cNvPr id="672" name="Freeform: Shape 671">
              <a:extLst>
                <a:ext uri="{FF2B5EF4-FFF2-40B4-BE49-F238E27FC236}">
                  <a16:creationId xmlns:a16="http://schemas.microsoft.com/office/drawing/2014/main" id="{B6520EE6-7305-5DE1-FBA2-D120C741F7B5}"/>
                </a:ext>
              </a:extLst>
            </p:cNvPr>
            <p:cNvSpPr/>
            <p:nvPr/>
          </p:nvSpPr>
          <p:spPr>
            <a:xfrm>
              <a:off x="4336599" y="4460828"/>
              <a:ext cx="576786" cy="183763"/>
            </a:xfrm>
            <a:custGeom>
              <a:avLst/>
              <a:gdLst>
                <a:gd name="connsiteX0" fmla="*/ 0 w 576786"/>
                <a:gd name="connsiteY0" fmla="*/ 75327 h 183763"/>
                <a:gd name="connsiteX1" fmla="*/ 163401 w 576786"/>
                <a:gd name="connsiteY1" fmla="*/ 172175 h 183763"/>
                <a:gd name="connsiteX2" fmla="*/ 205617 w 576786"/>
                <a:gd name="connsiteY2" fmla="*/ 183764 h 183763"/>
                <a:gd name="connsiteX3" fmla="*/ 494176 w 576786"/>
                <a:gd name="connsiteY3" fmla="*/ 183764 h 183763"/>
                <a:gd name="connsiteX4" fmla="*/ 576787 w 576786"/>
                <a:gd name="connsiteY4" fmla="*/ 99166 h 183763"/>
                <a:gd name="connsiteX5" fmla="*/ 261574 w 576786"/>
                <a:gd name="connsiteY5" fmla="*/ 0 h 183763"/>
                <a:gd name="connsiteX6" fmla="*/ 0 w 576786"/>
                <a:gd name="connsiteY6" fmla="*/ 75327 h 183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6786" h="183763">
                  <a:moveTo>
                    <a:pt x="0" y="75327"/>
                  </a:moveTo>
                  <a:lnTo>
                    <a:pt x="163401" y="172175"/>
                  </a:lnTo>
                  <a:cubicBezTo>
                    <a:pt x="176148" y="179791"/>
                    <a:pt x="190717" y="183764"/>
                    <a:pt x="205617" y="183764"/>
                  </a:cubicBezTo>
                  <a:lnTo>
                    <a:pt x="494176" y="183764"/>
                  </a:lnTo>
                  <a:lnTo>
                    <a:pt x="576787" y="99166"/>
                  </a:lnTo>
                  <a:cubicBezTo>
                    <a:pt x="576787" y="99166"/>
                    <a:pt x="450304" y="0"/>
                    <a:pt x="261574" y="0"/>
                  </a:cubicBezTo>
                  <a:cubicBezTo>
                    <a:pt x="94862" y="0"/>
                    <a:pt x="0" y="75327"/>
                    <a:pt x="0" y="75327"/>
                  </a:cubicBezTo>
                  <a:close/>
                </a:path>
              </a:pathLst>
            </a:custGeom>
            <a:solidFill>
              <a:schemeClr val="accent6"/>
            </a:solidFill>
            <a:ln w="1654" cap="flat">
              <a:noFill/>
              <a:prstDash val="solid"/>
              <a:miter/>
            </a:ln>
          </p:spPr>
          <p:txBody>
            <a:bodyPr rtlCol="0" anchor="ctr"/>
            <a:lstStyle/>
            <a:p>
              <a:endParaRPr lang="en-US"/>
            </a:p>
          </p:txBody>
        </p:sp>
        <p:sp>
          <p:nvSpPr>
            <p:cNvPr id="673" name="Freeform: Shape 672">
              <a:extLst>
                <a:ext uri="{FF2B5EF4-FFF2-40B4-BE49-F238E27FC236}">
                  <a16:creationId xmlns:a16="http://schemas.microsoft.com/office/drawing/2014/main" id="{EC4B1D16-B298-2E3F-2840-9B4503F30ED0}"/>
                </a:ext>
              </a:extLst>
            </p:cNvPr>
            <p:cNvSpPr/>
            <p:nvPr/>
          </p:nvSpPr>
          <p:spPr>
            <a:xfrm>
              <a:off x="4286105" y="4533672"/>
              <a:ext cx="769821" cy="155619"/>
            </a:xfrm>
            <a:custGeom>
              <a:avLst/>
              <a:gdLst>
                <a:gd name="connsiteX0" fmla="*/ 769821 w 769821"/>
                <a:gd name="connsiteY0" fmla="*/ 155620 h 155619"/>
                <a:gd name="connsiteX1" fmla="*/ 769821 w 769821"/>
                <a:gd name="connsiteY1" fmla="*/ 100325 h 155619"/>
                <a:gd name="connsiteX2" fmla="*/ 747803 w 769821"/>
                <a:gd name="connsiteY2" fmla="*/ 69201 h 155619"/>
                <a:gd name="connsiteX3" fmla="*/ 627446 w 769821"/>
                <a:gd name="connsiteY3" fmla="*/ 26488 h 155619"/>
                <a:gd name="connsiteX4" fmla="*/ 471826 w 769821"/>
                <a:gd name="connsiteY4" fmla="*/ 86915 h 155619"/>
                <a:gd name="connsiteX5" fmla="*/ 230119 w 769821"/>
                <a:gd name="connsiteY5" fmla="*/ 86915 h 155619"/>
                <a:gd name="connsiteX6" fmla="*/ 203465 w 769821"/>
                <a:gd name="connsiteY6" fmla="*/ 56454 h 155619"/>
                <a:gd name="connsiteX7" fmla="*/ 78969 w 769821"/>
                <a:gd name="connsiteY7" fmla="*/ 0 h 155619"/>
                <a:gd name="connsiteX8" fmla="*/ 16555 w 769821"/>
                <a:gd name="connsiteY8" fmla="*/ 0 h 155619"/>
                <a:gd name="connsiteX9" fmla="*/ 0 w 769821"/>
                <a:gd name="connsiteY9" fmla="*/ 16555 h 155619"/>
                <a:gd name="connsiteX10" fmla="*/ 0 w 769821"/>
                <a:gd name="connsiteY10" fmla="*/ 91054 h 155619"/>
                <a:gd name="connsiteX11" fmla="*/ 61255 w 769821"/>
                <a:gd name="connsiteY11" fmla="*/ 155620 h 155619"/>
                <a:gd name="connsiteX12" fmla="*/ 696150 w 769821"/>
                <a:gd name="connsiteY12" fmla="*/ 155620 h 155619"/>
                <a:gd name="connsiteX13" fmla="*/ 769821 w 769821"/>
                <a:gd name="connsiteY13" fmla="*/ 155620 h 15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9821" h="155619">
                  <a:moveTo>
                    <a:pt x="769821" y="155620"/>
                  </a:moveTo>
                  <a:lnTo>
                    <a:pt x="769821" y="100325"/>
                  </a:lnTo>
                  <a:cubicBezTo>
                    <a:pt x="769821" y="86253"/>
                    <a:pt x="761047" y="73837"/>
                    <a:pt x="747803" y="69201"/>
                  </a:cubicBezTo>
                  <a:lnTo>
                    <a:pt x="627446" y="26488"/>
                  </a:lnTo>
                  <a:lnTo>
                    <a:pt x="471826" y="86915"/>
                  </a:lnTo>
                  <a:lnTo>
                    <a:pt x="230119" y="86915"/>
                  </a:lnTo>
                  <a:lnTo>
                    <a:pt x="203465" y="56454"/>
                  </a:lnTo>
                  <a:cubicBezTo>
                    <a:pt x="172010" y="20529"/>
                    <a:pt x="126648" y="0"/>
                    <a:pt x="78969" y="0"/>
                  </a:cubicBezTo>
                  <a:lnTo>
                    <a:pt x="16555" y="0"/>
                  </a:lnTo>
                  <a:cubicBezTo>
                    <a:pt x="7450" y="0"/>
                    <a:pt x="0" y="7450"/>
                    <a:pt x="0" y="16555"/>
                  </a:cubicBezTo>
                  <a:lnTo>
                    <a:pt x="0" y="91054"/>
                  </a:lnTo>
                  <a:lnTo>
                    <a:pt x="61255" y="155620"/>
                  </a:lnTo>
                  <a:lnTo>
                    <a:pt x="696150" y="155620"/>
                  </a:lnTo>
                  <a:lnTo>
                    <a:pt x="769821" y="155620"/>
                  </a:lnTo>
                  <a:close/>
                </a:path>
              </a:pathLst>
            </a:custGeom>
            <a:solidFill>
              <a:srgbClr val="C0A5FF"/>
            </a:solidFill>
            <a:ln w="1654" cap="flat">
              <a:noFill/>
              <a:prstDash val="solid"/>
              <a:miter/>
            </a:ln>
          </p:spPr>
          <p:txBody>
            <a:bodyPr rtlCol="0" anchor="ctr"/>
            <a:lstStyle/>
            <a:p>
              <a:endParaRPr lang="en-US"/>
            </a:p>
          </p:txBody>
        </p:sp>
        <p:sp>
          <p:nvSpPr>
            <p:cNvPr id="674" name="Freeform: Shape 673">
              <a:extLst>
                <a:ext uri="{FF2B5EF4-FFF2-40B4-BE49-F238E27FC236}">
                  <a16:creationId xmlns:a16="http://schemas.microsoft.com/office/drawing/2014/main" id="{468AF1A7-83CF-8B3E-2AAF-57D2D5F3673E}"/>
                </a:ext>
              </a:extLst>
            </p:cNvPr>
            <p:cNvSpPr/>
            <p:nvPr/>
          </p:nvSpPr>
          <p:spPr>
            <a:xfrm>
              <a:off x="4286105" y="4533672"/>
              <a:ext cx="66221" cy="46354"/>
            </a:xfrm>
            <a:custGeom>
              <a:avLst/>
              <a:gdLst>
                <a:gd name="connsiteX0" fmla="*/ 0 w 66221"/>
                <a:gd name="connsiteY0" fmla="*/ 46355 h 46354"/>
                <a:gd name="connsiteX1" fmla="*/ 46852 w 66221"/>
                <a:gd name="connsiteY1" fmla="*/ 28310 h 46354"/>
                <a:gd name="connsiteX2" fmla="*/ 66221 w 66221"/>
                <a:gd name="connsiteY2" fmla="*/ 0 h 46354"/>
                <a:gd name="connsiteX3" fmla="*/ 16555 w 66221"/>
                <a:gd name="connsiteY3" fmla="*/ 0 h 46354"/>
                <a:gd name="connsiteX4" fmla="*/ 0 w 66221"/>
                <a:gd name="connsiteY4" fmla="*/ 17383 h 46354"/>
                <a:gd name="connsiteX5" fmla="*/ 0 w 66221"/>
                <a:gd name="connsiteY5" fmla="*/ 46355 h 46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221" h="46354">
                  <a:moveTo>
                    <a:pt x="0" y="46355"/>
                  </a:moveTo>
                  <a:lnTo>
                    <a:pt x="46852" y="28310"/>
                  </a:lnTo>
                  <a:cubicBezTo>
                    <a:pt x="58440" y="23840"/>
                    <a:pt x="66221" y="12582"/>
                    <a:pt x="66221" y="0"/>
                  </a:cubicBezTo>
                  <a:lnTo>
                    <a:pt x="16555" y="0"/>
                  </a:lnTo>
                  <a:cubicBezTo>
                    <a:pt x="7450" y="0"/>
                    <a:pt x="0" y="6788"/>
                    <a:pt x="0" y="17383"/>
                  </a:cubicBezTo>
                  <a:lnTo>
                    <a:pt x="0" y="46355"/>
                  </a:lnTo>
                  <a:close/>
                </a:path>
              </a:pathLst>
            </a:custGeom>
            <a:solidFill>
              <a:schemeClr val="accent6"/>
            </a:solidFill>
            <a:ln w="1654" cap="flat">
              <a:noFill/>
              <a:prstDash val="solid"/>
              <a:miter/>
            </a:ln>
          </p:spPr>
          <p:txBody>
            <a:bodyPr rtlCol="0" anchor="ctr"/>
            <a:lstStyle/>
            <a:p>
              <a:endParaRPr lang="en-US"/>
            </a:p>
          </p:txBody>
        </p:sp>
        <p:sp>
          <p:nvSpPr>
            <p:cNvPr id="675" name="Freeform: Shape 674">
              <a:extLst>
                <a:ext uri="{FF2B5EF4-FFF2-40B4-BE49-F238E27FC236}">
                  <a16:creationId xmlns:a16="http://schemas.microsoft.com/office/drawing/2014/main" id="{ABDB3739-6519-4A34-4F17-3505484B9809}"/>
                </a:ext>
              </a:extLst>
            </p:cNvPr>
            <p:cNvSpPr/>
            <p:nvPr/>
          </p:nvSpPr>
          <p:spPr>
            <a:xfrm>
              <a:off x="4757931" y="4571749"/>
              <a:ext cx="94365" cy="50493"/>
            </a:xfrm>
            <a:custGeom>
              <a:avLst/>
              <a:gdLst>
                <a:gd name="connsiteX0" fmla="*/ 43044 w 94365"/>
                <a:gd name="connsiteY0" fmla="*/ 0 h 50493"/>
                <a:gd name="connsiteX1" fmla="*/ 94365 w 94365"/>
                <a:gd name="connsiteY1" fmla="*/ 36422 h 50493"/>
                <a:gd name="connsiteX2" fmla="*/ 0 w 94365"/>
                <a:gd name="connsiteY2" fmla="*/ 50494 h 50493"/>
                <a:gd name="connsiteX3" fmla="*/ 0 w 94365"/>
                <a:gd name="connsiteY3" fmla="*/ 8278 h 50493"/>
                <a:gd name="connsiteX4" fmla="*/ 8278 w 94365"/>
                <a:gd name="connsiteY4" fmla="*/ 0 h 50493"/>
                <a:gd name="connsiteX5" fmla="*/ 43044 w 94365"/>
                <a:gd name="connsiteY5" fmla="*/ 0 h 5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65" h="50493">
                  <a:moveTo>
                    <a:pt x="43044" y="0"/>
                  </a:moveTo>
                  <a:lnTo>
                    <a:pt x="94365" y="36422"/>
                  </a:lnTo>
                  <a:lnTo>
                    <a:pt x="0" y="50494"/>
                  </a:lnTo>
                  <a:lnTo>
                    <a:pt x="0" y="8278"/>
                  </a:lnTo>
                  <a:cubicBezTo>
                    <a:pt x="0" y="3642"/>
                    <a:pt x="3642" y="0"/>
                    <a:pt x="8278" y="0"/>
                  </a:cubicBezTo>
                  <a:lnTo>
                    <a:pt x="43044" y="0"/>
                  </a:lnTo>
                  <a:close/>
                </a:path>
              </a:pathLst>
            </a:custGeom>
            <a:solidFill>
              <a:srgbClr val="C0A5FF"/>
            </a:solidFill>
            <a:ln w="1654" cap="flat">
              <a:noFill/>
              <a:prstDash val="solid"/>
              <a:miter/>
            </a:ln>
          </p:spPr>
          <p:txBody>
            <a:bodyPr rtlCol="0" anchor="ctr"/>
            <a:lstStyle/>
            <a:p>
              <a:endParaRPr lang="en-US"/>
            </a:p>
          </p:txBody>
        </p:sp>
        <p:sp>
          <p:nvSpPr>
            <p:cNvPr id="676" name="Freeform: Shape 675">
              <a:extLst>
                <a:ext uri="{FF2B5EF4-FFF2-40B4-BE49-F238E27FC236}">
                  <a16:creationId xmlns:a16="http://schemas.microsoft.com/office/drawing/2014/main" id="{669ED2A1-A292-60CC-981E-8CD80A3ABA40}"/>
                </a:ext>
              </a:extLst>
            </p:cNvPr>
            <p:cNvSpPr/>
            <p:nvPr/>
          </p:nvSpPr>
          <p:spPr>
            <a:xfrm>
              <a:off x="4875474" y="4604859"/>
              <a:ext cx="117542" cy="117542"/>
            </a:xfrm>
            <a:custGeom>
              <a:avLst/>
              <a:gdLst>
                <a:gd name="connsiteX0" fmla="*/ 117543 w 117542"/>
                <a:gd name="connsiteY0" fmla="*/ 58771 h 117542"/>
                <a:gd name="connsiteX1" fmla="*/ 58771 w 117542"/>
                <a:gd name="connsiteY1" fmla="*/ 117543 h 117542"/>
                <a:gd name="connsiteX2" fmla="*/ 0 w 117542"/>
                <a:gd name="connsiteY2" fmla="*/ 58771 h 117542"/>
                <a:gd name="connsiteX3" fmla="*/ 58771 w 117542"/>
                <a:gd name="connsiteY3" fmla="*/ 0 h 117542"/>
                <a:gd name="connsiteX4" fmla="*/ 117543 w 117542"/>
                <a:gd name="connsiteY4" fmla="*/ 58771 h 11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42" h="117542">
                  <a:moveTo>
                    <a:pt x="117543" y="58771"/>
                  </a:moveTo>
                  <a:cubicBezTo>
                    <a:pt x="117543" y="91230"/>
                    <a:pt x="91230" y="117543"/>
                    <a:pt x="58771" y="117543"/>
                  </a:cubicBezTo>
                  <a:cubicBezTo>
                    <a:pt x="26313" y="117543"/>
                    <a:pt x="0" y="91230"/>
                    <a:pt x="0" y="58771"/>
                  </a:cubicBezTo>
                  <a:cubicBezTo>
                    <a:pt x="0" y="26313"/>
                    <a:pt x="26313" y="0"/>
                    <a:pt x="58771" y="0"/>
                  </a:cubicBezTo>
                  <a:cubicBezTo>
                    <a:pt x="91230" y="0"/>
                    <a:pt x="117543" y="26313"/>
                    <a:pt x="117543" y="58771"/>
                  </a:cubicBezTo>
                  <a:close/>
                </a:path>
              </a:pathLst>
            </a:custGeom>
            <a:solidFill>
              <a:schemeClr val="bg2"/>
            </a:solidFill>
            <a:ln w="1654" cap="flat">
              <a:noFill/>
              <a:prstDash val="solid"/>
              <a:miter/>
            </a:ln>
          </p:spPr>
          <p:txBody>
            <a:bodyPr rtlCol="0" anchor="ctr"/>
            <a:lstStyle/>
            <a:p>
              <a:endParaRPr lang="en-US"/>
            </a:p>
          </p:txBody>
        </p:sp>
        <p:sp>
          <p:nvSpPr>
            <p:cNvPr id="677" name="Freeform: Shape 676">
              <a:extLst>
                <a:ext uri="{FF2B5EF4-FFF2-40B4-BE49-F238E27FC236}">
                  <a16:creationId xmlns:a16="http://schemas.microsoft.com/office/drawing/2014/main" id="{9AAFF3C5-0723-D51B-FA69-1FBB16B16CE3}"/>
                </a:ext>
              </a:extLst>
            </p:cNvPr>
            <p:cNvSpPr/>
            <p:nvPr/>
          </p:nvSpPr>
          <p:spPr>
            <a:xfrm>
              <a:off x="4325838" y="4604859"/>
              <a:ext cx="117542" cy="117542"/>
            </a:xfrm>
            <a:custGeom>
              <a:avLst/>
              <a:gdLst>
                <a:gd name="connsiteX0" fmla="*/ 117543 w 117542"/>
                <a:gd name="connsiteY0" fmla="*/ 58771 h 117542"/>
                <a:gd name="connsiteX1" fmla="*/ 58771 w 117542"/>
                <a:gd name="connsiteY1" fmla="*/ 117543 h 117542"/>
                <a:gd name="connsiteX2" fmla="*/ 0 w 117542"/>
                <a:gd name="connsiteY2" fmla="*/ 58771 h 117542"/>
                <a:gd name="connsiteX3" fmla="*/ 58771 w 117542"/>
                <a:gd name="connsiteY3" fmla="*/ 0 h 117542"/>
                <a:gd name="connsiteX4" fmla="*/ 117543 w 117542"/>
                <a:gd name="connsiteY4" fmla="*/ 58771 h 1175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42" h="117542">
                  <a:moveTo>
                    <a:pt x="117543" y="58771"/>
                  </a:moveTo>
                  <a:cubicBezTo>
                    <a:pt x="117543" y="91230"/>
                    <a:pt x="91230" y="117543"/>
                    <a:pt x="58771" y="117543"/>
                  </a:cubicBezTo>
                  <a:cubicBezTo>
                    <a:pt x="26313" y="117543"/>
                    <a:pt x="0" y="91230"/>
                    <a:pt x="0" y="58771"/>
                  </a:cubicBezTo>
                  <a:cubicBezTo>
                    <a:pt x="0" y="26313"/>
                    <a:pt x="26313" y="0"/>
                    <a:pt x="58771" y="0"/>
                  </a:cubicBezTo>
                  <a:cubicBezTo>
                    <a:pt x="91230" y="0"/>
                    <a:pt x="117543" y="26313"/>
                    <a:pt x="117543" y="58771"/>
                  </a:cubicBezTo>
                  <a:close/>
                </a:path>
              </a:pathLst>
            </a:custGeom>
            <a:solidFill>
              <a:schemeClr val="bg2"/>
            </a:solidFill>
            <a:ln w="1654" cap="flat">
              <a:noFill/>
              <a:prstDash val="solid"/>
              <a:miter/>
            </a:ln>
          </p:spPr>
          <p:txBody>
            <a:bodyPr rtlCol="0" anchor="ctr"/>
            <a:lstStyle/>
            <a:p>
              <a:endParaRPr lang="en-US"/>
            </a:p>
          </p:txBody>
        </p:sp>
        <p:sp>
          <p:nvSpPr>
            <p:cNvPr id="678" name="Freeform: Shape 677">
              <a:extLst>
                <a:ext uri="{FF2B5EF4-FFF2-40B4-BE49-F238E27FC236}">
                  <a16:creationId xmlns:a16="http://schemas.microsoft.com/office/drawing/2014/main" id="{C27506F1-5DA9-9228-641A-2F778F58676A}"/>
                </a:ext>
              </a:extLst>
            </p:cNvPr>
            <p:cNvSpPr/>
            <p:nvPr/>
          </p:nvSpPr>
          <p:spPr>
            <a:xfrm>
              <a:off x="4988050" y="4586649"/>
              <a:ext cx="68216" cy="66221"/>
            </a:xfrm>
            <a:custGeom>
              <a:avLst/>
              <a:gdLst>
                <a:gd name="connsiteX0" fmla="*/ 67877 w 68216"/>
                <a:gd name="connsiteY0" fmla="*/ 66221 h 66221"/>
                <a:gd name="connsiteX1" fmla="*/ 11920 w 68216"/>
                <a:gd name="connsiteY1" fmla="*/ 23840 h 66221"/>
                <a:gd name="connsiteX2" fmla="*/ 0 w 68216"/>
                <a:gd name="connsiteY2" fmla="*/ 0 h 66221"/>
                <a:gd name="connsiteX3" fmla="*/ 45693 w 68216"/>
                <a:gd name="connsiteY3" fmla="*/ 15397 h 66221"/>
                <a:gd name="connsiteX4" fmla="*/ 68208 w 68216"/>
                <a:gd name="connsiteY4" fmla="*/ 47348 h 66221"/>
                <a:gd name="connsiteX5" fmla="*/ 67877 w 68216"/>
                <a:gd name="connsiteY5" fmla="*/ 66221 h 6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216" h="66221">
                  <a:moveTo>
                    <a:pt x="67877" y="66221"/>
                  </a:moveTo>
                  <a:lnTo>
                    <a:pt x="11920" y="23840"/>
                  </a:lnTo>
                  <a:cubicBezTo>
                    <a:pt x="4470" y="18211"/>
                    <a:pt x="0" y="9271"/>
                    <a:pt x="0" y="0"/>
                  </a:cubicBezTo>
                  <a:lnTo>
                    <a:pt x="45693" y="15397"/>
                  </a:lnTo>
                  <a:cubicBezTo>
                    <a:pt x="59433" y="20032"/>
                    <a:pt x="68539" y="32945"/>
                    <a:pt x="68208" y="47348"/>
                  </a:cubicBezTo>
                  <a:lnTo>
                    <a:pt x="67877" y="66221"/>
                  </a:lnTo>
                  <a:close/>
                </a:path>
              </a:pathLst>
            </a:custGeom>
            <a:solidFill>
              <a:schemeClr val="accent6"/>
            </a:solidFill>
            <a:ln w="1654" cap="flat">
              <a:noFill/>
              <a:prstDash val="solid"/>
              <a:miter/>
            </a:ln>
          </p:spPr>
          <p:txBody>
            <a:bodyPr rtlCol="0" anchor="ctr"/>
            <a:lstStyle/>
            <a:p>
              <a:endParaRPr lang="en-US"/>
            </a:p>
          </p:txBody>
        </p:sp>
      </p:grpSp>
      <p:grpSp>
        <p:nvGrpSpPr>
          <p:cNvPr id="890" name="Group 889">
            <a:extLst>
              <a:ext uri="{FF2B5EF4-FFF2-40B4-BE49-F238E27FC236}">
                <a16:creationId xmlns:a16="http://schemas.microsoft.com/office/drawing/2014/main" id="{5BDE6EBF-9E59-C59E-8B74-ABFCD4102590}"/>
              </a:ext>
            </a:extLst>
          </p:cNvPr>
          <p:cNvGrpSpPr>
            <a:grpSpLocks noChangeAspect="1"/>
          </p:cNvGrpSpPr>
          <p:nvPr/>
        </p:nvGrpSpPr>
        <p:grpSpPr>
          <a:xfrm>
            <a:off x="2111631" y="2138205"/>
            <a:ext cx="111147" cy="109095"/>
            <a:chOff x="4574431" y="1172888"/>
            <a:chExt cx="111147" cy="109095"/>
          </a:xfrm>
        </p:grpSpPr>
        <p:sp>
          <p:nvSpPr>
            <p:cNvPr id="683" name="Freeform: Shape 682">
              <a:extLst>
                <a:ext uri="{FF2B5EF4-FFF2-40B4-BE49-F238E27FC236}">
                  <a16:creationId xmlns:a16="http://schemas.microsoft.com/office/drawing/2014/main" id="{31184623-682F-0168-F0B9-F938A7B22330}"/>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3652" cap="rnd">
              <a:solidFill>
                <a:schemeClr val="accent1"/>
              </a:solidFill>
              <a:prstDash val="solid"/>
              <a:round/>
            </a:ln>
          </p:spPr>
          <p:txBody>
            <a:bodyPr rtlCol="0" anchor="ctr"/>
            <a:lstStyle/>
            <a:p>
              <a:endParaRPr lang="en-US"/>
            </a:p>
          </p:txBody>
        </p:sp>
        <p:sp>
          <p:nvSpPr>
            <p:cNvPr id="684" name="Freeform: Shape 683">
              <a:extLst>
                <a:ext uri="{FF2B5EF4-FFF2-40B4-BE49-F238E27FC236}">
                  <a16:creationId xmlns:a16="http://schemas.microsoft.com/office/drawing/2014/main" id="{F959AC9E-F754-9767-D4C4-FDD549E05507}"/>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3652" cap="rnd">
              <a:solidFill>
                <a:schemeClr val="accent1"/>
              </a:solidFill>
              <a:prstDash val="solid"/>
              <a:round/>
            </a:ln>
          </p:spPr>
          <p:txBody>
            <a:bodyPr rtlCol="0" anchor="ctr"/>
            <a:lstStyle/>
            <a:p>
              <a:endParaRPr lang="en-US"/>
            </a:p>
          </p:txBody>
        </p:sp>
        <p:sp>
          <p:nvSpPr>
            <p:cNvPr id="685" name="Freeform: Shape 684">
              <a:extLst>
                <a:ext uri="{FF2B5EF4-FFF2-40B4-BE49-F238E27FC236}">
                  <a16:creationId xmlns:a16="http://schemas.microsoft.com/office/drawing/2014/main" id="{CC996BAC-0A6F-79BA-87B3-FFB10E8B2604}"/>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3652" cap="flat">
              <a:solidFill>
                <a:schemeClr val="accent1"/>
              </a:solidFill>
              <a:prstDash val="solid"/>
              <a:miter/>
            </a:ln>
          </p:spPr>
          <p:txBody>
            <a:bodyPr rtlCol="0" anchor="ctr"/>
            <a:lstStyle/>
            <a:p>
              <a:endParaRPr lang="en-US"/>
            </a:p>
          </p:txBody>
        </p:sp>
      </p:grpSp>
      <p:grpSp>
        <p:nvGrpSpPr>
          <p:cNvPr id="895" name="Group 894">
            <a:extLst>
              <a:ext uri="{FF2B5EF4-FFF2-40B4-BE49-F238E27FC236}">
                <a16:creationId xmlns:a16="http://schemas.microsoft.com/office/drawing/2014/main" id="{677FFA95-54E9-1B29-99AA-D8000AE31FA1}"/>
              </a:ext>
            </a:extLst>
          </p:cNvPr>
          <p:cNvGrpSpPr>
            <a:grpSpLocks noChangeAspect="1"/>
          </p:cNvGrpSpPr>
          <p:nvPr/>
        </p:nvGrpSpPr>
        <p:grpSpPr>
          <a:xfrm rot="16415649">
            <a:off x="501189" y="2016063"/>
            <a:ext cx="111147" cy="109095"/>
            <a:chOff x="4574431" y="1172888"/>
            <a:chExt cx="111147" cy="109095"/>
          </a:xfrm>
        </p:grpSpPr>
        <p:sp>
          <p:nvSpPr>
            <p:cNvPr id="896" name="Freeform: Shape 895">
              <a:extLst>
                <a:ext uri="{FF2B5EF4-FFF2-40B4-BE49-F238E27FC236}">
                  <a16:creationId xmlns:a16="http://schemas.microsoft.com/office/drawing/2014/main" id="{B480E948-5AA9-3C7D-6430-BC1E34CE19C2}"/>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3652" cap="rnd">
              <a:solidFill>
                <a:schemeClr val="accent1"/>
              </a:solidFill>
              <a:prstDash val="solid"/>
              <a:round/>
            </a:ln>
          </p:spPr>
          <p:txBody>
            <a:bodyPr rtlCol="0" anchor="ctr"/>
            <a:lstStyle/>
            <a:p>
              <a:endParaRPr lang="en-US"/>
            </a:p>
          </p:txBody>
        </p:sp>
        <p:sp>
          <p:nvSpPr>
            <p:cNvPr id="897" name="Freeform: Shape 896">
              <a:extLst>
                <a:ext uri="{FF2B5EF4-FFF2-40B4-BE49-F238E27FC236}">
                  <a16:creationId xmlns:a16="http://schemas.microsoft.com/office/drawing/2014/main" id="{AC7CAFB0-06DE-25BE-070F-8620F55D6137}"/>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3652" cap="rnd">
              <a:solidFill>
                <a:schemeClr val="accent1"/>
              </a:solidFill>
              <a:prstDash val="solid"/>
              <a:round/>
            </a:ln>
          </p:spPr>
          <p:txBody>
            <a:bodyPr rtlCol="0" anchor="ctr"/>
            <a:lstStyle/>
            <a:p>
              <a:endParaRPr lang="en-US"/>
            </a:p>
          </p:txBody>
        </p:sp>
        <p:sp>
          <p:nvSpPr>
            <p:cNvPr id="898" name="Freeform: Shape 897">
              <a:extLst>
                <a:ext uri="{FF2B5EF4-FFF2-40B4-BE49-F238E27FC236}">
                  <a16:creationId xmlns:a16="http://schemas.microsoft.com/office/drawing/2014/main" id="{2EDA4DF8-0A8D-3963-E8AF-3E292E0A44D9}"/>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3652" cap="flat">
              <a:solidFill>
                <a:schemeClr val="accent1"/>
              </a:solidFill>
              <a:prstDash val="solid"/>
              <a:miter/>
            </a:ln>
          </p:spPr>
          <p:txBody>
            <a:bodyPr rtlCol="0" anchor="ctr"/>
            <a:lstStyle/>
            <a:p>
              <a:endParaRPr lang="en-US"/>
            </a:p>
          </p:txBody>
        </p:sp>
      </p:grpSp>
      <p:grpSp>
        <p:nvGrpSpPr>
          <p:cNvPr id="899" name="Group 898">
            <a:extLst>
              <a:ext uri="{FF2B5EF4-FFF2-40B4-BE49-F238E27FC236}">
                <a16:creationId xmlns:a16="http://schemas.microsoft.com/office/drawing/2014/main" id="{EC14652B-5DBB-9049-F2A8-D31E3ACFEDE2}"/>
              </a:ext>
            </a:extLst>
          </p:cNvPr>
          <p:cNvGrpSpPr>
            <a:grpSpLocks noChangeAspect="1"/>
          </p:cNvGrpSpPr>
          <p:nvPr/>
        </p:nvGrpSpPr>
        <p:grpSpPr>
          <a:xfrm rot="376636">
            <a:off x="850740" y="2270381"/>
            <a:ext cx="73354" cy="72000"/>
            <a:chOff x="4574431" y="1172888"/>
            <a:chExt cx="111147" cy="109095"/>
          </a:xfrm>
        </p:grpSpPr>
        <p:sp>
          <p:nvSpPr>
            <p:cNvPr id="900" name="Freeform: Shape 899">
              <a:extLst>
                <a:ext uri="{FF2B5EF4-FFF2-40B4-BE49-F238E27FC236}">
                  <a16:creationId xmlns:a16="http://schemas.microsoft.com/office/drawing/2014/main" id="{B1B676E7-6290-FE7A-9CDD-91FEA1712041}"/>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bg1"/>
              </a:solidFill>
              <a:prstDash val="solid"/>
              <a:round/>
            </a:ln>
          </p:spPr>
          <p:txBody>
            <a:bodyPr rtlCol="0" anchor="ctr"/>
            <a:lstStyle/>
            <a:p>
              <a:endParaRPr lang="en-US"/>
            </a:p>
          </p:txBody>
        </p:sp>
        <p:sp>
          <p:nvSpPr>
            <p:cNvPr id="901" name="Freeform: Shape 900">
              <a:extLst>
                <a:ext uri="{FF2B5EF4-FFF2-40B4-BE49-F238E27FC236}">
                  <a16:creationId xmlns:a16="http://schemas.microsoft.com/office/drawing/2014/main" id="{81B55E29-2916-B222-5DCF-329382244FE3}"/>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bg1"/>
              </a:solidFill>
              <a:prstDash val="solid"/>
              <a:round/>
            </a:ln>
          </p:spPr>
          <p:txBody>
            <a:bodyPr rtlCol="0" anchor="ctr"/>
            <a:lstStyle/>
            <a:p>
              <a:endParaRPr lang="en-US"/>
            </a:p>
          </p:txBody>
        </p:sp>
        <p:sp>
          <p:nvSpPr>
            <p:cNvPr id="902" name="Freeform: Shape 901">
              <a:extLst>
                <a:ext uri="{FF2B5EF4-FFF2-40B4-BE49-F238E27FC236}">
                  <a16:creationId xmlns:a16="http://schemas.microsoft.com/office/drawing/2014/main" id="{ED9971CB-EC5B-5454-FE9E-EA98144229C6}"/>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bg1"/>
              </a:solidFill>
              <a:prstDash val="solid"/>
              <a:miter/>
            </a:ln>
          </p:spPr>
          <p:txBody>
            <a:bodyPr rtlCol="0" anchor="ctr"/>
            <a:lstStyle/>
            <a:p>
              <a:endParaRPr lang="en-US"/>
            </a:p>
          </p:txBody>
        </p:sp>
      </p:grpSp>
      <p:grpSp>
        <p:nvGrpSpPr>
          <p:cNvPr id="903" name="Group 902">
            <a:extLst>
              <a:ext uri="{FF2B5EF4-FFF2-40B4-BE49-F238E27FC236}">
                <a16:creationId xmlns:a16="http://schemas.microsoft.com/office/drawing/2014/main" id="{2688EC85-A9AA-3DDD-535C-7936F8D12D69}"/>
              </a:ext>
            </a:extLst>
          </p:cNvPr>
          <p:cNvGrpSpPr>
            <a:grpSpLocks noChangeAspect="1"/>
          </p:cNvGrpSpPr>
          <p:nvPr/>
        </p:nvGrpSpPr>
        <p:grpSpPr>
          <a:xfrm rot="21223364" flipH="1">
            <a:off x="1765886" y="2270383"/>
            <a:ext cx="73354" cy="72000"/>
            <a:chOff x="4574431" y="1172888"/>
            <a:chExt cx="111147" cy="109095"/>
          </a:xfrm>
        </p:grpSpPr>
        <p:sp>
          <p:nvSpPr>
            <p:cNvPr id="904" name="Freeform: Shape 903">
              <a:extLst>
                <a:ext uri="{FF2B5EF4-FFF2-40B4-BE49-F238E27FC236}">
                  <a16:creationId xmlns:a16="http://schemas.microsoft.com/office/drawing/2014/main" id="{93E76AAD-0C14-29A1-BD1C-3BCAE4436A47}"/>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bg1"/>
              </a:solidFill>
              <a:prstDash val="solid"/>
              <a:round/>
            </a:ln>
          </p:spPr>
          <p:txBody>
            <a:bodyPr rtlCol="0" anchor="ctr"/>
            <a:lstStyle/>
            <a:p>
              <a:endParaRPr lang="en-US"/>
            </a:p>
          </p:txBody>
        </p:sp>
        <p:sp>
          <p:nvSpPr>
            <p:cNvPr id="905" name="Freeform: Shape 904">
              <a:extLst>
                <a:ext uri="{FF2B5EF4-FFF2-40B4-BE49-F238E27FC236}">
                  <a16:creationId xmlns:a16="http://schemas.microsoft.com/office/drawing/2014/main" id="{DBFB24BF-53B3-BE51-C8FC-FDD023BDD14B}"/>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bg1"/>
              </a:solidFill>
              <a:prstDash val="solid"/>
              <a:round/>
            </a:ln>
          </p:spPr>
          <p:txBody>
            <a:bodyPr rtlCol="0" anchor="ctr"/>
            <a:lstStyle/>
            <a:p>
              <a:endParaRPr lang="en-US"/>
            </a:p>
          </p:txBody>
        </p:sp>
        <p:sp>
          <p:nvSpPr>
            <p:cNvPr id="906" name="Freeform: Shape 905">
              <a:extLst>
                <a:ext uri="{FF2B5EF4-FFF2-40B4-BE49-F238E27FC236}">
                  <a16:creationId xmlns:a16="http://schemas.microsoft.com/office/drawing/2014/main" id="{927086A2-C0ED-F3F3-855C-A1BD2CC7E896}"/>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bg1"/>
              </a:solidFill>
              <a:prstDash val="solid"/>
              <a:miter/>
            </a:ln>
          </p:spPr>
          <p:txBody>
            <a:bodyPr rtlCol="0" anchor="ctr"/>
            <a:lstStyle/>
            <a:p>
              <a:endParaRPr lang="en-US"/>
            </a:p>
          </p:txBody>
        </p:sp>
      </p:grpSp>
      <p:grpSp>
        <p:nvGrpSpPr>
          <p:cNvPr id="986" name="Group 985">
            <a:extLst>
              <a:ext uri="{FF2B5EF4-FFF2-40B4-BE49-F238E27FC236}">
                <a16:creationId xmlns:a16="http://schemas.microsoft.com/office/drawing/2014/main" id="{17F9844E-E783-4D83-80D6-8D173D588AE8}"/>
              </a:ext>
            </a:extLst>
          </p:cNvPr>
          <p:cNvGrpSpPr/>
          <p:nvPr/>
        </p:nvGrpSpPr>
        <p:grpSpPr>
          <a:xfrm>
            <a:off x="1199659" y="2270382"/>
            <a:ext cx="232626" cy="180799"/>
            <a:chOff x="1199659" y="2270382"/>
            <a:chExt cx="232626" cy="180799"/>
          </a:xfrm>
        </p:grpSpPr>
        <p:grpSp>
          <p:nvGrpSpPr>
            <p:cNvPr id="913" name="Group 912">
              <a:extLst>
                <a:ext uri="{FF2B5EF4-FFF2-40B4-BE49-F238E27FC236}">
                  <a16:creationId xmlns:a16="http://schemas.microsoft.com/office/drawing/2014/main" id="{7DE52007-E9BD-D64C-69DB-5E0CF37CB4DA}"/>
                </a:ext>
              </a:extLst>
            </p:cNvPr>
            <p:cNvGrpSpPr>
              <a:grpSpLocks noChangeAspect="1"/>
            </p:cNvGrpSpPr>
            <p:nvPr/>
          </p:nvGrpSpPr>
          <p:grpSpPr>
            <a:xfrm>
              <a:off x="1199659" y="2348701"/>
              <a:ext cx="148458" cy="102480"/>
              <a:chOff x="1144089" y="2212882"/>
              <a:chExt cx="274961" cy="189805"/>
            </a:xfrm>
          </p:grpSpPr>
          <p:sp>
            <p:nvSpPr>
              <p:cNvPr id="910" name="Freeform: Shape 909">
                <a:extLst>
                  <a:ext uri="{FF2B5EF4-FFF2-40B4-BE49-F238E27FC236}">
                    <a16:creationId xmlns:a16="http://schemas.microsoft.com/office/drawing/2014/main" id="{83305671-699B-9007-DD90-767845124455}"/>
                  </a:ext>
                </a:extLst>
              </p:cNvPr>
              <p:cNvSpPr/>
              <p:nvPr/>
            </p:nvSpPr>
            <p:spPr>
              <a:xfrm>
                <a:off x="1144089" y="2212882"/>
                <a:ext cx="274961" cy="189805"/>
              </a:xfrm>
              <a:custGeom>
                <a:avLst/>
                <a:gdLst>
                  <a:gd name="connsiteX0" fmla="*/ 188096 w 274961"/>
                  <a:gd name="connsiteY0" fmla="*/ 57113 h 189805"/>
                  <a:gd name="connsiteX1" fmla="*/ 137481 w 274961"/>
                  <a:gd name="connsiteY1" fmla="*/ 57113 h 189805"/>
                  <a:gd name="connsiteX2" fmla="*/ 29069 w 274961"/>
                  <a:gd name="connsiteY2" fmla="*/ 57113 h 189805"/>
                  <a:gd name="connsiteX3" fmla="*/ 0 w 274961"/>
                  <a:gd name="connsiteY3" fmla="*/ 88576 h 189805"/>
                  <a:gd name="connsiteX4" fmla="*/ 0 w 274961"/>
                  <a:gd name="connsiteY4" fmla="*/ 158343 h 189805"/>
                  <a:gd name="connsiteX5" fmla="*/ 29069 w 274961"/>
                  <a:gd name="connsiteY5" fmla="*/ 189806 h 189805"/>
                  <a:gd name="connsiteX6" fmla="*/ 245893 w 274961"/>
                  <a:gd name="connsiteY6" fmla="*/ 189806 h 189805"/>
                  <a:gd name="connsiteX7" fmla="*/ 274962 w 274961"/>
                  <a:gd name="connsiteY7" fmla="*/ 158343 h 189805"/>
                  <a:gd name="connsiteX8" fmla="*/ 274962 w 274961"/>
                  <a:gd name="connsiteY8" fmla="*/ 88234 h 189805"/>
                  <a:gd name="connsiteX9" fmla="*/ 242473 w 274961"/>
                  <a:gd name="connsiteY9" fmla="*/ 56771 h 189805"/>
                  <a:gd name="connsiteX10" fmla="*/ 242473 w 274961"/>
                  <a:gd name="connsiteY10" fmla="*/ 0 h 18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961" h="189805">
                    <a:moveTo>
                      <a:pt x="188096" y="57113"/>
                    </a:moveTo>
                    <a:lnTo>
                      <a:pt x="137481" y="57113"/>
                    </a:lnTo>
                    <a:lnTo>
                      <a:pt x="29069" y="57113"/>
                    </a:lnTo>
                    <a:cubicBezTo>
                      <a:pt x="12996" y="57113"/>
                      <a:pt x="0" y="71134"/>
                      <a:pt x="0" y="88576"/>
                    </a:cubicBezTo>
                    <a:lnTo>
                      <a:pt x="0" y="158343"/>
                    </a:lnTo>
                    <a:cubicBezTo>
                      <a:pt x="0" y="175442"/>
                      <a:pt x="12996" y="189806"/>
                      <a:pt x="29069" y="189806"/>
                    </a:cubicBezTo>
                    <a:lnTo>
                      <a:pt x="245893" y="189806"/>
                    </a:lnTo>
                    <a:cubicBezTo>
                      <a:pt x="261966" y="189806"/>
                      <a:pt x="274962" y="175784"/>
                      <a:pt x="274962" y="158343"/>
                    </a:cubicBezTo>
                    <a:lnTo>
                      <a:pt x="274962" y="88234"/>
                    </a:lnTo>
                    <a:cubicBezTo>
                      <a:pt x="274962" y="69424"/>
                      <a:pt x="260598" y="56771"/>
                      <a:pt x="242473" y="56771"/>
                    </a:cubicBezTo>
                    <a:lnTo>
                      <a:pt x="242473" y="0"/>
                    </a:lnTo>
                  </a:path>
                </a:pathLst>
              </a:custGeom>
              <a:noFill/>
              <a:ln w="6350" cap="rnd">
                <a:solidFill>
                  <a:schemeClr val="bg1"/>
                </a:solidFill>
                <a:prstDash val="solid"/>
                <a:round/>
              </a:ln>
            </p:spPr>
            <p:txBody>
              <a:bodyPr rtlCol="0" anchor="ctr"/>
              <a:lstStyle/>
              <a:p>
                <a:endParaRPr lang="en-US"/>
              </a:p>
            </p:txBody>
          </p:sp>
          <p:sp>
            <p:nvSpPr>
              <p:cNvPr id="911" name="Freeform: Shape 910">
                <a:extLst>
                  <a:ext uri="{FF2B5EF4-FFF2-40B4-BE49-F238E27FC236}">
                    <a16:creationId xmlns:a16="http://schemas.microsoft.com/office/drawing/2014/main" id="{C9641386-02C5-6994-A00F-6379D798AE99}"/>
                  </a:ext>
                </a:extLst>
              </p:cNvPr>
              <p:cNvSpPr/>
              <p:nvPr/>
            </p:nvSpPr>
            <p:spPr>
              <a:xfrm>
                <a:off x="1347575"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bg1"/>
                </a:solidFill>
                <a:prstDash val="solid"/>
                <a:miter/>
              </a:ln>
            </p:spPr>
            <p:txBody>
              <a:bodyPr rtlCol="0" anchor="ctr"/>
              <a:lstStyle/>
              <a:p>
                <a:endParaRPr lang="en-US"/>
              </a:p>
            </p:txBody>
          </p:sp>
          <p:sp>
            <p:nvSpPr>
              <p:cNvPr id="912" name="Freeform: Shape 911">
                <a:extLst>
                  <a:ext uri="{FF2B5EF4-FFF2-40B4-BE49-F238E27FC236}">
                    <a16:creationId xmlns:a16="http://schemas.microsoft.com/office/drawing/2014/main" id="{A751566A-7B32-1801-4A64-0E9D15D7E51E}"/>
                  </a:ext>
                </a:extLst>
              </p:cNvPr>
              <p:cNvSpPr/>
              <p:nvPr/>
            </p:nvSpPr>
            <p:spPr>
              <a:xfrm>
                <a:off x="1278834"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bg1"/>
                </a:solidFill>
                <a:prstDash val="solid"/>
                <a:miter/>
              </a:ln>
            </p:spPr>
            <p:txBody>
              <a:bodyPr rtlCol="0" anchor="ctr"/>
              <a:lstStyle/>
              <a:p>
                <a:endParaRPr lang="en-US"/>
              </a:p>
            </p:txBody>
          </p:sp>
        </p:grpSp>
        <p:grpSp>
          <p:nvGrpSpPr>
            <p:cNvPr id="914" name="Group 913">
              <a:extLst>
                <a:ext uri="{FF2B5EF4-FFF2-40B4-BE49-F238E27FC236}">
                  <a16:creationId xmlns:a16="http://schemas.microsoft.com/office/drawing/2014/main" id="{92AC8A93-3255-FC33-7B94-6C94CB2C64FD}"/>
                </a:ext>
              </a:extLst>
            </p:cNvPr>
            <p:cNvGrpSpPr>
              <a:grpSpLocks noChangeAspect="1"/>
            </p:cNvGrpSpPr>
            <p:nvPr/>
          </p:nvGrpSpPr>
          <p:grpSpPr>
            <a:xfrm rot="376636">
              <a:off x="1358931" y="2270382"/>
              <a:ext cx="73354" cy="72000"/>
              <a:chOff x="4574431" y="1172888"/>
              <a:chExt cx="111147" cy="109095"/>
            </a:xfrm>
          </p:grpSpPr>
          <p:sp>
            <p:nvSpPr>
              <p:cNvPr id="915" name="Freeform: Shape 914">
                <a:extLst>
                  <a:ext uri="{FF2B5EF4-FFF2-40B4-BE49-F238E27FC236}">
                    <a16:creationId xmlns:a16="http://schemas.microsoft.com/office/drawing/2014/main" id="{42B83E71-4554-1FDF-16BC-0ED552898C0F}"/>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bg1"/>
                </a:solidFill>
                <a:prstDash val="solid"/>
                <a:round/>
              </a:ln>
            </p:spPr>
            <p:txBody>
              <a:bodyPr rtlCol="0" anchor="ctr"/>
              <a:lstStyle/>
              <a:p>
                <a:endParaRPr lang="en-US"/>
              </a:p>
            </p:txBody>
          </p:sp>
          <p:sp>
            <p:nvSpPr>
              <p:cNvPr id="916" name="Freeform: Shape 915">
                <a:extLst>
                  <a:ext uri="{FF2B5EF4-FFF2-40B4-BE49-F238E27FC236}">
                    <a16:creationId xmlns:a16="http://schemas.microsoft.com/office/drawing/2014/main" id="{8001F101-7649-1CEB-5B4D-84C68E8BA2D3}"/>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bg1"/>
                </a:solidFill>
                <a:prstDash val="solid"/>
                <a:round/>
              </a:ln>
            </p:spPr>
            <p:txBody>
              <a:bodyPr rtlCol="0" anchor="ctr"/>
              <a:lstStyle/>
              <a:p>
                <a:endParaRPr lang="en-US"/>
              </a:p>
            </p:txBody>
          </p:sp>
          <p:sp>
            <p:nvSpPr>
              <p:cNvPr id="917" name="Freeform: Shape 916">
                <a:extLst>
                  <a:ext uri="{FF2B5EF4-FFF2-40B4-BE49-F238E27FC236}">
                    <a16:creationId xmlns:a16="http://schemas.microsoft.com/office/drawing/2014/main" id="{C4460244-A0F1-5C83-7B69-37C429E14310}"/>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bg1"/>
                </a:solidFill>
                <a:prstDash val="solid"/>
                <a:miter/>
              </a:ln>
            </p:spPr>
            <p:txBody>
              <a:bodyPr rtlCol="0" anchor="ctr"/>
              <a:lstStyle/>
              <a:p>
                <a:endParaRPr lang="en-US"/>
              </a:p>
            </p:txBody>
          </p:sp>
        </p:grpSp>
      </p:grpSp>
      <p:grpSp>
        <p:nvGrpSpPr>
          <p:cNvPr id="1098" name="Group 1097">
            <a:extLst>
              <a:ext uri="{FF2B5EF4-FFF2-40B4-BE49-F238E27FC236}">
                <a16:creationId xmlns:a16="http://schemas.microsoft.com/office/drawing/2014/main" id="{3FA1BE8C-8C9C-0928-B5ED-4554CD29F819}"/>
              </a:ext>
            </a:extLst>
          </p:cNvPr>
          <p:cNvGrpSpPr/>
          <p:nvPr/>
        </p:nvGrpSpPr>
        <p:grpSpPr>
          <a:xfrm>
            <a:off x="417513" y="2934626"/>
            <a:ext cx="3776897" cy="1573109"/>
            <a:chOff x="417513" y="2934626"/>
            <a:chExt cx="3776897" cy="1573109"/>
          </a:xfrm>
        </p:grpSpPr>
        <p:sp>
          <p:nvSpPr>
            <p:cNvPr id="724" name="Rectangle 723">
              <a:extLst>
                <a:ext uri="{FF2B5EF4-FFF2-40B4-BE49-F238E27FC236}">
                  <a16:creationId xmlns:a16="http://schemas.microsoft.com/office/drawing/2014/main" id="{18ED8902-303F-B3AF-9B22-EF8611EFB8DA}"/>
                </a:ext>
              </a:extLst>
            </p:cNvPr>
            <p:cNvSpPr/>
            <p:nvPr/>
          </p:nvSpPr>
          <p:spPr>
            <a:xfrm>
              <a:off x="423141" y="2934626"/>
              <a:ext cx="3771269" cy="1573109"/>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a:ln>
                  <a:noFill/>
                </a:ln>
                <a:solidFill>
                  <a:schemeClr val="tx2"/>
                </a:solidFill>
                <a:effectLst/>
                <a:uLnTx/>
                <a:uFillTx/>
                <a:latin typeface="Nokia Pure Text Light"/>
                <a:ea typeface="+mn-ea"/>
                <a:cs typeface="+mn-cs"/>
              </a:endParaRPr>
            </a:p>
          </p:txBody>
        </p:sp>
        <p:sp>
          <p:nvSpPr>
            <p:cNvPr id="725" name="TextBox 724">
              <a:extLst>
                <a:ext uri="{FF2B5EF4-FFF2-40B4-BE49-F238E27FC236}">
                  <a16:creationId xmlns:a16="http://schemas.microsoft.com/office/drawing/2014/main" id="{D242927D-132D-EBFD-CCEE-59F66D4E003B}"/>
                </a:ext>
              </a:extLst>
            </p:cNvPr>
            <p:cNvSpPr txBox="1"/>
            <p:nvPr/>
          </p:nvSpPr>
          <p:spPr>
            <a:xfrm>
              <a:off x="417513" y="2935187"/>
              <a:ext cx="1846141" cy="27699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Nokia Pure Text Light"/>
                  <a:ea typeface="+mn-ea"/>
                  <a:cs typeface="+mn-cs"/>
                </a:rPr>
                <a:t>In-production control</a:t>
              </a:r>
            </a:p>
          </p:txBody>
        </p:sp>
        <p:grpSp>
          <p:nvGrpSpPr>
            <p:cNvPr id="985" name="Group 984">
              <a:extLst>
                <a:ext uri="{FF2B5EF4-FFF2-40B4-BE49-F238E27FC236}">
                  <a16:creationId xmlns:a16="http://schemas.microsoft.com/office/drawing/2014/main" id="{B41DE692-4089-5145-7BFD-E1E1973C5328}"/>
                </a:ext>
              </a:extLst>
            </p:cNvPr>
            <p:cNvGrpSpPr/>
            <p:nvPr/>
          </p:nvGrpSpPr>
          <p:grpSpPr>
            <a:xfrm>
              <a:off x="640446" y="2980784"/>
              <a:ext cx="3425718" cy="1457884"/>
              <a:chOff x="640446" y="2980784"/>
              <a:chExt cx="3425718" cy="1457884"/>
            </a:xfrm>
          </p:grpSpPr>
          <p:sp>
            <p:nvSpPr>
              <p:cNvPr id="933" name="Freeform: Shape 932">
                <a:extLst>
                  <a:ext uri="{FF2B5EF4-FFF2-40B4-BE49-F238E27FC236}">
                    <a16:creationId xmlns:a16="http://schemas.microsoft.com/office/drawing/2014/main" id="{C756A2EE-A042-8F7B-6F43-99CE51176E69}"/>
                  </a:ext>
                </a:extLst>
              </p:cNvPr>
              <p:cNvSpPr/>
              <p:nvPr/>
            </p:nvSpPr>
            <p:spPr>
              <a:xfrm>
                <a:off x="2279250" y="3992547"/>
                <a:ext cx="1786914" cy="440176"/>
              </a:xfrm>
              <a:custGeom>
                <a:avLst/>
                <a:gdLst>
                  <a:gd name="connsiteX0" fmla="*/ 0 w 2621280"/>
                  <a:gd name="connsiteY0" fmla="*/ 0 h 135331"/>
                  <a:gd name="connsiteX1" fmla="*/ 2621280 w 2621280"/>
                  <a:gd name="connsiteY1" fmla="*/ 0 h 135331"/>
                  <a:gd name="connsiteX2" fmla="*/ 2621280 w 2621280"/>
                  <a:gd name="connsiteY2" fmla="*/ 135331 h 135331"/>
                  <a:gd name="connsiteX3" fmla="*/ 0 w 2621280"/>
                  <a:gd name="connsiteY3" fmla="*/ 135331 h 135331"/>
                </a:gdLst>
                <a:ahLst/>
                <a:cxnLst>
                  <a:cxn ang="0">
                    <a:pos x="connsiteX0" y="connsiteY0"/>
                  </a:cxn>
                  <a:cxn ang="0">
                    <a:pos x="connsiteX1" y="connsiteY1"/>
                  </a:cxn>
                  <a:cxn ang="0">
                    <a:pos x="connsiteX2" y="connsiteY2"/>
                  </a:cxn>
                  <a:cxn ang="0">
                    <a:pos x="connsiteX3" y="connsiteY3"/>
                  </a:cxn>
                </a:cxnLst>
                <a:rect l="l" t="t" r="r" b="b"/>
                <a:pathLst>
                  <a:path w="2621280" h="135331">
                    <a:moveTo>
                      <a:pt x="0" y="0"/>
                    </a:moveTo>
                    <a:lnTo>
                      <a:pt x="2621280" y="0"/>
                    </a:lnTo>
                    <a:lnTo>
                      <a:pt x="2621280" y="135331"/>
                    </a:lnTo>
                    <a:lnTo>
                      <a:pt x="0" y="135331"/>
                    </a:lnTo>
                    <a:close/>
                  </a:path>
                </a:pathLst>
              </a:custGeom>
              <a:solidFill>
                <a:srgbClr val="5A0DD5"/>
              </a:solidFill>
              <a:ln w="610" cap="flat">
                <a:noFill/>
                <a:prstDash val="solid"/>
                <a:miter/>
              </a:ln>
            </p:spPr>
            <p:txBody>
              <a:bodyPr rtlCol="0" anchor="ctr"/>
              <a:lstStyle/>
              <a:p>
                <a:endParaRPr lang="en-US"/>
              </a:p>
            </p:txBody>
          </p:sp>
          <p:sp>
            <p:nvSpPr>
              <p:cNvPr id="935" name="Freeform: Shape 934">
                <a:extLst>
                  <a:ext uri="{FF2B5EF4-FFF2-40B4-BE49-F238E27FC236}">
                    <a16:creationId xmlns:a16="http://schemas.microsoft.com/office/drawing/2014/main" id="{CFB7A47A-EE6A-9E32-E806-B6D5173AEAF8}"/>
                  </a:ext>
                </a:extLst>
              </p:cNvPr>
              <p:cNvSpPr/>
              <p:nvPr/>
            </p:nvSpPr>
            <p:spPr>
              <a:xfrm>
                <a:off x="640446" y="3185406"/>
                <a:ext cx="2098804" cy="1247315"/>
              </a:xfrm>
              <a:custGeom>
                <a:avLst/>
                <a:gdLst>
                  <a:gd name="connsiteX0" fmla="*/ 80979 w 645273"/>
                  <a:gd name="connsiteY0" fmla="*/ 0 h 451195"/>
                  <a:gd name="connsiteX1" fmla="*/ 18983 w 645273"/>
                  <a:gd name="connsiteY1" fmla="*/ 0 h 451195"/>
                  <a:gd name="connsiteX2" fmla="*/ 0 w 645273"/>
                  <a:gd name="connsiteY2" fmla="*/ 451195 h 451195"/>
                  <a:gd name="connsiteX3" fmla="*/ 645274 w 645273"/>
                  <a:gd name="connsiteY3" fmla="*/ 451195 h 451195"/>
                  <a:gd name="connsiteX4" fmla="*/ 645274 w 645273"/>
                  <a:gd name="connsiteY4" fmla="*/ 132588 h 451195"/>
                  <a:gd name="connsiteX5" fmla="*/ 470099 w 645273"/>
                  <a:gd name="connsiteY5" fmla="*/ 212464 h 451195"/>
                  <a:gd name="connsiteX6" fmla="*/ 470099 w 645273"/>
                  <a:gd name="connsiteY6" fmla="*/ 132588 h 451195"/>
                  <a:gd name="connsiteX7" fmla="*/ 294924 w 645273"/>
                  <a:gd name="connsiteY7" fmla="*/ 212464 h 451195"/>
                  <a:gd name="connsiteX8" fmla="*/ 294924 w 645273"/>
                  <a:gd name="connsiteY8" fmla="*/ 132588 h 451195"/>
                  <a:gd name="connsiteX9" fmla="*/ 180789 w 645273"/>
                  <a:gd name="connsiteY9" fmla="*/ 184630 h 451195"/>
                  <a:gd name="connsiteX10" fmla="*/ 173023 w 645273"/>
                  <a:gd name="connsiteY10" fmla="*/ 0 h 451195"/>
                  <a:gd name="connsiteX11" fmla="*/ 111020 w 645273"/>
                  <a:gd name="connsiteY11" fmla="*/ 0 h 451195"/>
                  <a:gd name="connsiteX12" fmla="*/ 96000 w 645273"/>
                  <a:gd name="connsiteY12" fmla="*/ 357085 h 451195"/>
                  <a:gd name="connsiteX13" fmla="*/ 80979 w 645273"/>
                  <a:gd name="connsiteY13" fmla="*/ 0 h 451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273" h="451195">
                    <a:moveTo>
                      <a:pt x="80979" y="0"/>
                    </a:moveTo>
                    <a:lnTo>
                      <a:pt x="18983" y="0"/>
                    </a:lnTo>
                    <a:lnTo>
                      <a:pt x="0" y="451195"/>
                    </a:lnTo>
                    <a:lnTo>
                      <a:pt x="645274" y="451195"/>
                    </a:lnTo>
                    <a:lnTo>
                      <a:pt x="645274" y="132588"/>
                    </a:lnTo>
                    <a:lnTo>
                      <a:pt x="470099" y="212464"/>
                    </a:lnTo>
                    <a:lnTo>
                      <a:pt x="470099" y="132588"/>
                    </a:lnTo>
                    <a:lnTo>
                      <a:pt x="294924" y="212464"/>
                    </a:lnTo>
                    <a:lnTo>
                      <a:pt x="294924" y="132588"/>
                    </a:lnTo>
                    <a:lnTo>
                      <a:pt x="180789" y="184630"/>
                    </a:lnTo>
                    <a:lnTo>
                      <a:pt x="173023" y="0"/>
                    </a:lnTo>
                    <a:lnTo>
                      <a:pt x="111020" y="0"/>
                    </a:lnTo>
                    <a:lnTo>
                      <a:pt x="96000" y="357085"/>
                    </a:lnTo>
                    <a:lnTo>
                      <a:pt x="80979" y="0"/>
                    </a:lnTo>
                    <a:close/>
                  </a:path>
                </a:pathLst>
              </a:custGeom>
              <a:solidFill>
                <a:srgbClr val="FDC6F9"/>
              </a:solidFill>
              <a:ln w="610" cap="flat">
                <a:noFill/>
                <a:prstDash val="solid"/>
                <a:miter/>
              </a:ln>
            </p:spPr>
            <p:txBody>
              <a:bodyPr rtlCol="0" anchor="ctr"/>
              <a:lstStyle/>
              <a:p>
                <a:endParaRPr lang="en-US"/>
              </a:p>
            </p:txBody>
          </p:sp>
          <p:sp>
            <p:nvSpPr>
              <p:cNvPr id="936" name="Freeform: Shape 935">
                <a:extLst>
                  <a:ext uri="{FF2B5EF4-FFF2-40B4-BE49-F238E27FC236}">
                    <a16:creationId xmlns:a16="http://schemas.microsoft.com/office/drawing/2014/main" id="{0CE246EA-297E-2A65-9647-7664FA0FADF4}"/>
                  </a:ext>
                </a:extLst>
              </p:cNvPr>
              <p:cNvSpPr/>
              <p:nvPr/>
            </p:nvSpPr>
            <p:spPr>
              <a:xfrm>
                <a:off x="890098" y="4057185"/>
                <a:ext cx="109924" cy="79230"/>
              </a:xfrm>
              <a:custGeom>
                <a:avLst/>
                <a:gdLst>
                  <a:gd name="connsiteX0" fmla="*/ 0 w 33796"/>
                  <a:gd name="connsiteY0" fmla="*/ 23689 h 24359"/>
                  <a:gd name="connsiteX1" fmla="*/ 27493 w 33796"/>
                  <a:gd name="connsiteY1" fmla="*/ 0 h 24359"/>
                  <a:gd name="connsiteX2" fmla="*/ 33796 w 33796"/>
                  <a:gd name="connsiteY2" fmla="*/ 671 h 24359"/>
                  <a:gd name="connsiteX3" fmla="*/ 6303 w 33796"/>
                  <a:gd name="connsiteY3" fmla="*/ 24360 h 24359"/>
                  <a:gd name="connsiteX4" fmla="*/ 0 w 33796"/>
                  <a:gd name="connsiteY4" fmla="*/ 23689 h 24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96" h="24359">
                    <a:moveTo>
                      <a:pt x="0" y="23689"/>
                    </a:moveTo>
                    <a:lnTo>
                      <a:pt x="27493" y="0"/>
                    </a:lnTo>
                    <a:lnTo>
                      <a:pt x="33796" y="671"/>
                    </a:lnTo>
                    <a:lnTo>
                      <a:pt x="6303" y="24360"/>
                    </a:lnTo>
                    <a:lnTo>
                      <a:pt x="0" y="23689"/>
                    </a:lnTo>
                    <a:close/>
                  </a:path>
                </a:pathLst>
              </a:custGeom>
              <a:solidFill>
                <a:srgbClr val="FFFFFF"/>
              </a:solidFill>
              <a:ln w="610" cap="flat">
                <a:noFill/>
                <a:prstDash val="solid"/>
                <a:miter/>
              </a:ln>
            </p:spPr>
            <p:txBody>
              <a:bodyPr rtlCol="0" anchor="ctr"/>
              <a:lstStyle/>
              <a:p>
                <a:endParaRPr lang="en-US"/>
              </a:p>
            </p:txBody>
          </p:sp>
          <p:sp>
            <p:nvSpPr>
              <p:cNvPr id="937" name="Freeform: Shape 936">
                <a:extLst>
                  <a:ext uri="{FF2B5EF4-FFF2-40B4-BE49-F238E27FC236}">
                    <a16:creationId xmlns:a16="http://schemas.microsoft.com/office/drawing/2014/main" id="{8391EA7E-26EC-120A-1115-06D3BAF7DE16}"/>
                  </a:ext>
                </a:extLst>
              </p:cNvPr>
              <p:cNvSpPr/>
              <p:nvPr/>
            </p:nvSpPr>
            <p:spPr>
              <a:xfrm>
                <a:off x="870410" y="4079348"/>
                <a:ext cx="57262" cy="33531"/>
              </a:xfrm>
              <a:custGeom>
                <a:avLst/>
                <a:gdLst>
                  <a:gd name="connsiteX0" fmla="*/ 14466 w 17605"/>
                  <a:gd name="connsiteY0" fmla="*/ 7188 h 10309"/>
                  <a:gd name="connsiteX1" fmla="*/ 17605 w 17605"/>
                  <a:gd name="connsiteY1" fmla="*/ 3878 h 10309"/>
                  <a:gd name="connsiteX2" fmla="*/ 8187 w 17605"/>
                  <a:gd name="connsiteY2" fmla="*/ 251 h 10309"/>
                  <a:gd name="connsiteX3" fmla="*/ 0 w 17605"/>
                  <a:gd name="connsiteY3" fmla="*/ 4366 h 10309"/>
                  <a:gd name="connsiteX4" fmla="*/ 6017 w 17605"/>
                  <a:gd name="connsiteY4" fmla="*/ 10309 h 10309"/>
                  <a:gd name="connsiteX5" fmla="*/ 7102 w 17605"/>
                  <a:gd name="connsiteY5" fmla="*/ 9584 h 10309"/>
                  <a:gd name="connsiteX6" fmla="*/ 5048 w 17605"/>
                  <a:gd name="connsiteY6" fmla="*/ 6463 h 10309"/>
                  <a:gd name="connsiteX7" fmla="*/ 14466 w 17605"/>
                  <a:gd name="connsiteY7" fmla="*/ 7188 h 1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05" h="10309">
                    <a:moveTo>
                      <a:pt x="14466" y="7188"/>
                    </a:moveTo>
                    <a:lnTo>
                      <a:pt x="17605" y="3878"/>
                    </a:lnTo>
                    <a:lnTo>
                      <a:pt x="8187" y="251"/>
                    </a:lnTo>
                    <a:cubicBezTo>
                      <a:pt x="8187" y="251"/>
                      <a:pt x="2512" y="-1523"/>
                      <a:pt x="0" y="4366"/>
                    </a:cubicBezTo>
                    <a:lnTo>
                      <a:pt x="6017" y="10309"/>
                    </a:lnTo>
                    <a:lnTo>
                      <a:pt x="7102" y="9584"/>
                    </a:lnTo>
                    <a:lnTo>
                      <a:pt x="5048" y="6463"/>
                    </a:lnTo>
                    <a:lnTo>
                      <a:pt x="14466" y="7188"/>
                    </a:lnTo>
                    <a:close/>
                  </a:path>
                </a:pathLst>
              </a:custGeom>
              <a:solidFill>
                <a:srgbClr val="001135"/>
              </a:solidFill>
              <a:ln w="610" cap="flat">
                <a:noFill/>
                <a:prstDash val="solid"/>
                <a:miter/>
              </a:ln>
            </p:spPr>
            <p:txBody>
              <a:bodyPr rtlCol="0" anchor="ctr"/>
              <a:lstStyle/>
              <a:p>
                <a:endParaRPr lang="en-US"/>
              </a:p>
            </p:txBody>
          </p:sp>
          <p:sp>
            <p:nvSpPr>
              <p:cNvPr id="938" name="Freeform: Shape 937">
                <a:extLst>
                  <a:ext uri="{FF2B5EF4-FFF2-40B4-BE49-F238E27FC236}">
                    <a16:creationId xmlns:a16="http://schemas.microsoft.com/office/drawing/2014/main" id="{101944CD-792B-ED5D-44D8-012D3306F0BE}"/>
                  </a:ext>
                </a:extLst>
              </p:cNvPr>
              <p:cNvSpPr/>
              <p:nvPr/>
            </p:nvSpPr>
            <p:spPr>
              <a:xfrm>
                <a:off x="901271" y="4099677"/>
                <a:ext cx="52334" cy="42706"/>
              </a:xfrm>
              <a:custGeom>
                <a:avLst/>
                <a:gdLst>
                  <a:gd name="connsiteX0" fmla="*/ 8117 w 16090"/>
                  <a:gd name="connsiteY0" fmla="*/ 11314 h 13130"/>
                  <a:gd name="connsiteX1" fmla="*/ 2326 w 16090"/>
                  <a:gd name="connsiteY1" fmla="*/ 13131 h 13130"/>
                  <a:gd name="connsiteX2" fmla="*/ 266 w 16090"/>
                  <a:gd name="connsiteY2" fmla="*/ 8504 h 13130"/>
                  <a:gd name="connsiteX3" fmla="*/ 1717 w 16090"/>
                  <a:gd name="connsiteY3" fmla="*/ 4517 h 13130"/>
                  <a:gd name="connsiteX4" fmla="*/ 10294 w 16090"/>
                  <a:gd name="connsiteY4" fmla="*/ 366 h 13130"/>
                  <a:gd name="connsiteX5" fmla="*/ 11019 w 16090"/>
                  <a:gd name="connsiteY5" fmla="*/ 1451 h 13130"/>
                  <a:gd name="connsiteX6" fmla="*/ 8117 w 16090"/>
                  <a:gd name="connsiteY6" fmla="*/ 4718 h 13130"/>
                  <a:gd name="connsiteX7" fmla="*/ 16091 w 16090"/>
                  <a:gd name="connsiteY7" fmla="*/ 0 h 13130"/>
                  <a:gd name="connsiteX8" fmla="*/ 15725 w 16090"/>
                  <a:gd name="connsiteY8" fmla="*/ 2176 h 13130"/>
                  <a:gd name="connsiteX9" fmla="*/ 8117 w 16090"/>
                  <a:gd name="connsiteY9" fmla="*/ 11314 h 1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90" h="13130">
                    <a:moveTo>
                      <a:pt x="8117" y="11314"/>
                    </a:moveTo>
                    <a:lnTo>
                      <a:pt x="2326" y="13131"/>
                    </a:lnTo>
                    <a:lnTo>
                      <a:pt x="266" y="8504"/>
                    </a:lnTo>
                    <a:cubicBezTo>
                      <a:pt x="-405" y="6998"/>
                      <a:pt x="235" y="5236"/>
                      <a:pt x="1717" y="4517"/>
                    </a:cubicBezTo>
                    <a:lnTo>
                      <a:pt x="10294" y="366"/>
                    </a:lnTo>
                    <a:lnTo>
                      <a:pt x="11019" y="1451"/>
                    </a:lnTo>
                    <a:lnTo>
                      <a:pt x="8117" y="4718"/>
                    </a:lnTo>
                    <a:lnTo>
                      <a:pt x="16091" y="0"/>
                    </a:lnTo>
                    <a:lnTo>
                      <a:pt x="15725" y="2176"/>
                    </a:lnTo>
                    <a:lnTo>
                      <a:pt x="8117" y="11314"/>
                    </a:lnTo>
                    <a:close/>
                  </a:path>
                </a:pathLst>
              </a:custGeom>
              <a:solidFill>
                <a:srgbClr val="001135"/>
              </a:solidFill>
              <a:ln w="610" cap="flat">
                <a:noFill/>
                <a:prstDash val="solid"/>
                <a:miter/>
              </a:ln>
            </p:spPr>
            <p:txBody>
              <a:bodyPr rtlCol="0" anchor="ctr"/>
              <a:lstStyle/>
              <a:p>
                <a:endParaRPr lang="en-US"/>
              </a:p>
            </p:txBody>
          </p:sp>
          <p:sp>
            <p:nvSpPr>
              <p:cNvPr id="939" name="Freeform: Shape 938">
                <a:extLst>
                  <a:ext uri="{FF2B5EF4-FFF2-40B4-BE49-F238E27FC236}">
                    <a16:creationId xmlns:a16="http://schemas.microsoft.com/office/drawing/2014/main" id="{1862EBCD-01CC-6E6D-B814-434A1C82A127}"/>
                  </a:ext>
                </a:extLst>
              </p:cNvPr>
              <p:cNvSpPr/>
              <p:nvPr/>
            </p:nvSpPr>
            <p:spPr>
              <a:xfrm>
                <a:off x="743868" y="4014267"/>
                <a:ext cx="171587" cy="418455"/>
              </a:xfrm>
              <a:custGeom>
                <a:avLst/>
                <a:gdLst>
                  <a:gd name="connsiteX0" fmla="*/ 951 w 52754"/>
                  <a:gd name="connsiteY0" fmla="*/ 53795 h 128653"/>
                  <a:gd name="connsiteX1" fmla="*/ 951 w 52754"/>
                  <a:gd name="connsiteY1" fmla="*/ 44565 h 128653"/>
                  <a:gd name="connsiteX2" fmla="*/ 2097 w 52754"/>
                  <a:gd name="connsiteY2" fmla="*/ 8861 h 128653"/>
                  <a:gd name="connsiteX3" fmla="*/ 15039 w 52754"/>
                  <a:gd name="connsiteY3" fmla="*/ 839 h 128653"/>
                  <a:gd name="connsiteX4" fmla="*/ 19202 w 52754"/>
                  <a:gd name="connsiteY4" fmla="*/ 2741 h 128653"/>
                  <a:gd name="connsiteX5" fmla="*/ 52755 w 52754"/>
                  <a:gd name="connsiteY5" fmla="*/ 38756 h 128653"/>
                  <a:gd name="connsiteX6" fmla="*/ 33583 w 52754"/>
                  <a:gd name="connsiteY6" fmla="*/ 45827 h 128653"/>
                  <a:gd name="connsiteX7" fmla="*/ 47092 w 52754"/>
                  <a:gd name="connsiteY7" fmla="*/ 128653 h 128653"/>
                  <a:gd name="connsiteX8" fmla="*/ 40575 w 52754"/>
                  <a:gd name="connsiteY8" fmla="*/ 128653 h 128653"/>
                  <a:gd name="connsiteX9" fmla="*/ 20208 w 52754"/>
                  <a:gd name="connsiteY9" fmla="*/ 68486 h 128653"/>
                  <a:gd name="connsiteX10" fmla="*/ 16447 w 52754"/>
                  <a:gd name="connsiteY10" fmla="*/ 68486 h 128653"/>
                  <a:gd name="connsiteX11" fmla="*/ 6523 w 52754"/>
                  <a:gd name="connsiteY11" fmla="*/ 128653 h 128653"/>
                  <a:gd name="connsiteX12" fmla="*/ 0 w 52754"/>
                  <a:gd name="connsiteY12" fmla="*/ 128653 h 128653"/>
                  <a:gd name="connsiteX13" fmla="*/ 951 w 52754"/>
                  <a:gd name="connsiteY13" fmla="*/ 53795 h 128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54" h="128653">
                    <a:moveTo>
                      <a:pt x="951" y="53795"/>
                    </a:moveTo>
                    <a:lnTo>
                      <a:pt x="951" y="44565"/>
                    </a:lnTo>
                    <a:lnTo>
                      <a:pt x="2097" y="8861"/>
                    </a:lnTo>
                    <a:cubicBezTo>
                      <a:pt x="2304" y="2332"/>
                      <a:pt x="9095" y="-1880"/>
                      <a:pt x="15039" y="839"/>
                    </a:cubicBezTo>
                    <a:lnTo>
                      <a:pt x="19202" y="2741"/>
                    </a:lnTo>
                    <a:lnTo>
                      <a:pt x="52755" y="38756"/>
                    </a:lnTo>
                    <a:lnTo>
                      <a:pt x="33583" y="45827"/>
                    </a:lnTo>
                    <a:lnTo>
                      <a:pt x="47092" y="128653"/>
                    </a:lnTo>
                    <a:lnTo>
                      <a:pt x="40575" y="128653"/>
                    </a:lnTo>
                    <a:lnTo>
                      <a:pt x="20208" y="68486"/>
                    </a:lnTo>
                    <a:lnTo>
                      <a:pt x="16447" y="68486"/>
                    </a:lnTo>
                    <a:lnTo>
                      <a:pt x="6523" y="128653"/>
                    </a:lnTo>
                    <a:lnTo>
                      <a:pt x="0" y="128653"/>
                    </a:lnTo>
                    <a:lnTo>
                      <a:pt x="951" y="53795"/>
                    </a:lnTo>
                    <a:close/>
                  </a:path>
                </a:pathLst>
              </a:custGeom>
              <a:gradFill>
                <a:gsLst>
                  <a:gs pos="0">
                    <a:srgbClr val="7D33F2"/>
                  </a:gs>
                  <a:gs pos="50000">
                    <a:srgbClr val="3E2293"/>
                  </a:gs>
                  <a:gs pos="100000">
                    <a:srgbClr val="001135"/>
                  </a:gs>
                </a:gsLst>
                <a:lin ang="5400000" scaled="1"/>
              </a:gradFill>
              <a:ln w="610" cap="flat">
                <a:noFill/>
                <a:prstDash val="solid"/>
                <a:miter/>
              </a:ln>
            </p:spPr>
            <p:txBody>
              <a:bodyPr rtlCol="0" anchor="ctr"/>
              <a:lstStyle/>
              <a:p>
                <a:endParaRPr lang="en-US"/>
              </a:p>
            </p:txBody>
          </p:sp>
          <p:sp>
            <p:nvSpPr>
              <p:cNvPr id="940" name="Freeform: Shape 939">
                <a:extLst>
                  <a:ext uri="{FF2B5EF4-FFF2-40B4-BE49-F238E27FC236}">
                    <a16:creationId xmlns:a16="http://schemas.microsoft.com/office/drawing/2014/main" id="{02F52D95-A707-988D-066E-C72336FDBB8A}"/>
                  </a:ext>
                </a:extLst>
              </p:cNvPr>
              <p:cNvSpPr/>
              <p:nvPr/>
            </p:nvSpPr>
            <p:spPr>
              <a:xfrm>
                <a:off x="775018" y="4156542"/>
                <a:ext cx="108337" cy="63744"/>
              </a:xfrm>
              <a:custGeom>
                <a:avLst/>
                <a:gdLst>
                  <a:gd name="connsiteX0" fmla="*/ 29706 w 33308"/>
                  <a:gd name="connsiteY0" fmla="*/ 0 h 19598"/>
                  <a:gd name="connsiteX1" fmla="*/ 0 w 33308"/>
                  <a:gd name="connsiteY1" fmla="*/ 0 h 19598"/>
                  <a:gd name="connsiteX2" fmla="*/ 3822 w 33308"/>
                  <a:gd name="connsiteY2" fmla="*/ 17209 h 19598"/>
                  <a:gd name="connsiteX3" fmla="*/ 6797 w 33308"/>
                  <a:gd name="connsiteY3" fmla="*/ 19599 h 19598"/>
                  <a:gd name="connsiteX4" fmla="*/ 30254 w 33308"/>
                  <a:gd name="connsiteY4" fmla="*/ 19599 h 19598"/>
                  <a:gd name="connsiteX5" fmla="*/ 33235 w 33308"/>
                  <a:gd name="connsiteY5" fmla="*/ 15886 h 19598"/>
                  <a:gd name="connsiteX6" fmla="*/ 29706 w 33308"/>
                  <a:gd name="connsiteY6" fmla="*/ 0 h 1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08" h="19598">
                    <a:moveTo>
                      <a:pt x="29706" y="0"/>
                    </a:moveTo>
                    <a:lnTo>
                      <a:pt x="0" y="0"/>
                    </a:lnTo>
                    <a:lnTo>
                      <a:pt x="3822" y="17209"/>
                    </a:lnTo>
                    <a:cubicBezTo>
                      <a:pt x="4127" y="18605"/>
                      <a:pt x="5364" y="19599"/>
                      <a:pt x="6797" y="19599"/>
                    </a:cubicBezTo>
                    <a:lnTo>
                      <a:pt x="30254" y="19599"/>
                    </a:lnTo>
                    <a:cubicBezTo>
                      <a:pt x="32205" y="19599"/>
                      <a:pt x="33656" y="17788"/>
                      <a:pt x="33235" y="15886"/>
                    </a:cubicBezTo>
                    <a:lnTo>
                      <a:pt x="29706" y="0"/>
                    </a:lnTo>
                    <a:close/>
                  </a:path>
                </a:pathLst>
              </a:custGeom>
              <a:solidFill>
                <a:srgbClr val="FFFFFF"/>
              </a:solidFill>
              <a:ln w="610" cap="flat">
                <a:noFill/>
                <a:prstDash val="solid"/>
                <a:miter/>
              </a:ln>
            </p:spPr>
            <p:txBody>
              <a:bodyPr rtlCol="0" anchor="ctr"/>
              <a:lstStyle/>
              <a:p>
                <a:endParaRPr lang="en-US"/>
              </a:p>
            </p:txBody>
          </p:sp>
          <p:sp>
            <p:nvSpPr>
              <p:cNvPr id="941" name="Freeform: Shape 940">
                <a:extLst>
                  <a:ext uri="{FF2B5EF4-FFF2-40B4-BE49-F238E27FC236}">
                    <a16:creationId xmlns:a16="http://schemas.microsoft.com/office/drawing/2014/main" id="{DB37DAB6-827C-EC63-E64B-3ACB40F25DBF}"/>
                  </a:ext>
                </a:extLst>
              </p:cNvPr>
              <p:cNvSpPr/>
              <p:nvPr/>
            </p:nvSpPr>
            <p:spPr>
              <a:xfrm>
                <a:off x="748581" y="4043245"/>
                <a:ext cx="35873" cy="113294"/>
              </a:xfrm>
              <a:custGeom>
                <a:avLst/>
                <a:gdLst>
                  <a:gd name="connsiteX0" fmla="*/ 160 w 11029"/>
                  <a:gd name="connsiteY0" fmla="*/ 5444 h 34832"/>
                  <a:gd name="connsiteX1" fmla="*/ 8127 w 11029"/>
                  <a:gd name="connsiteY1" fmla="*/ 34833 h 34832"/>
                  <a:gd name="connsiteX2" fmla="*/ 11029 w 11029"/>
                  <a:gd name="connsiteY2" fmla="*/ 34833 h 34832"/>
                  <a:gd name="connsiteX3" fmla="*/ 885 w 11029"/>
                  <a:gd name="connsiteY3" fmla="*/ 0 h 34832"/>
                  <a:gd name="connsiteX4" fmla="*/ 160 w 11029"/>
                  <a:gd name="connsiteY4" fmla="*/ 2176 h 34832"/>
                  <a:gd name="connsiteX5" fmla="*/ 160 w 11029"/>
                  <a:gd name="connsiteY5" fmla="*/ 5444 h 3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29" h="34832">
                    <a:moveTo>
                      <a:pt x="160" y="5444"/>
                    </a:moveTo>
                    <a:lnTo>
                      <a:pt x="8127" y="34833"/>
                    </a:lnTo>
                    <a:lnTo>
                      <a:pt x="11029" y="34833"/>
                    </a:lnTo>
                    <a:lnTo>
                      <a:pt x="885" y="0"/>
                    </a:lnTo>
                    <a:cubicBezTo>
                      <a:pt x="885" y="0"/>
                      <a:pt x="520" y="366"/>
                      <a:pt x="160" y="2176"/>
                    </a:cubicBezTo>
                    <a:cubicBezTo>
                      <a:pt x="-200" y="3993"/>
                      <a:pt x="160" y="5444"/>
                      <a:pt x="160" y="5444"/>
                    </a:cubicBezTo>
                    <a:close/>
                  </a:path>
                </a:pathLst>
              </a:custGeom>
              <a:solidFill>
                <a:srgbClr val="FFFFFF"/>
              </a:solidFill>
              <a:ln w="610" cap="flat">
                <a:noFill/>
                <a:prstDash val="solid"/>
                <a:miter/>
              </a:ln>
            </p:spPr>
            <p:txBody>
              <a:bodyPr rtlCol="0" anchor="ctr"/>
              <a:lstStyle/>
              <a:p>
                <a:endParaRPr lang="en-US"/>
              </a:p>
            </p:txBody>
          </p:sp>
          <p:sp>
            <p:nvSpPr>
              <p:cNvPr id="942" name="Freeform: Shape 941">
                <a:extLst>
                  <a:ext uri="{FF2B5EF4-FFF2-40B4-BE49-F238E27FC236}">
                    <a16:creationId xmlns:a16="http://schemas.microsoft.com/office/drawing/2014/main" id="{C3B8D6B0-800C-0490-0A60-EB49DA5B6E0F}"/>
                  </a:ext>
                </a:extLst>
              </p:cNvPr>
              <p:cNvSpPr/>
              <p:nvPr/>
            </p:nvSpPr>
            <p:spPr>
              <a:xfrm>
                <a:off x="773470" y="3952058"/>
                <a:ext cx="51550" cy="51550"/>
              </a:xfrm>
              <a:custGeom>
                <a:avLst/>
                <a:gdLst>
                  <a:gd name="connsiteX0" fmla="*/ 15849 w 15849"/>
                  <a:gd name="connsiteY0" fmla="*/ 7925 h 15849"/>
                  <a:gd name="connsiteX1" fmla="*/ 7925 w 15849"/>
                  <a:gd name="connsiteY1" fmla="*/ 15850 h 15849"/>
                  <a:gd name="connsiteX2" fmla="*/ 0 w 15849"/>
                  <a:gd name="connsiteY2" fmla="*/ 7925 h 15849"/>
                  <a:gd name="connsiteX3" fmla="*/ 7925 w 15849"/>
                  <a:gd name="connsiteY3" fmla="*/ 0 h 15849"/>
                  <a:gd name="connsiteX4" fmla="*/ 15849 w 15849"/>
                  <a:gd name="connsiteY4" fmla="*/ 7925 h 15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9" h="15849">
                    <a:moveTo>
                      <a:pt x="15849" y="7925"/>
                    </a:moveTo>
                    <a:cubicBezTo>
                      <a:pt x="15849" y="12302"/>
                      <a:pt x="12301" y="15850"/>
                      <a:pt x="7925" y="15850"/>
                    </a:cubicBezTo>
                    <a:cubicBezTo>
                      <a:pt x="3548" y="15850"/>
                      <a:pt x="0" y="12302"/>
                      <a:pt x="0" y="7925"/>
                    </a:cubicBezTo>
                    <a:cubicBezTo>
                      <a:pt x="0" y="3548"/>
                      <a:pt x="3548" y="0"/>
                      <a:pt x="7925" y="0"/>
                    </a:cubicBezTo>
                    <a:cubicBezTo>
                      <a:pt x="12301" y="0"/>
                      <a:pt x="15849" y="3548"/>
                      <a:pt x="15849" y="7925"/>
                    </a:cubicBezTo>
                    <a:close/>
                  </a:path>
                </a:pathLst>
              </a:custGeom>
              <a:solidFill>
                <a:srgbClr val="001135"/>
              </a:solidFill>
              <a:ln w="610" cap="flat">
                <a:noFill/>
                <a:prstDash val="solid"/>
                <a:miter/>
              </a:ln>
            </p:spPr>
            <p:txBody>
              <a:bodyPr rtlCol="0" anchor="ctr"/>
              <a:lstStyle/>
              <a:p>
                <a:endParaRPr lang="en-US"/>
              </a:p>
            </p:txBody>
          </p:sp>
          <p:sp>
            <p:nvSpPr>
              <p:cNvPr id="943" name="Freeform: Shape 942">
                <a:extLst>
                  <a:ext uri="{FF2B5EF4-FFF2-40B4-BE49-F238E27FC236}">
                    <a16:creationId xmlns:a16="http://schemas.microsoft.com/office/drawing/2014/main" id="{9CEEE710-7293-6CEB-FE65-0843D0B5B1A4}"/>
                  </a:ext>
                </a:extLst>
              </p:cNvPr>
              <p:cNvSpPr/>
              <p:nvPr/>
            </p:nvSpPr>
            <p:spPr>
              <a:xfrm>
                <a:off x="779657" y="3947414"/>
                <a:ext cx="58608" cy="40869"/>
              </a:xfrm>
              <a:custGeom>
                <a:avLst/>
                <a:gdLst>
                  <a:gd name="connsiteX0" fmla="*/ 280 w 18019"/>
                  <a:gd name="connsiteY0" fmla="*/ 3623 h 12565"/>
                  <a:gd name="connsiteX1" fmla="*/ 0 w 18019"/>
                  <a:gd name="connsiteY1" fmla="*/ 3483 h 12565"/>
                  <a:gd name="connsiteX2" fmla="*/ 4237 w 18019"/>
                  <a:gd name="connsiteY2" fmla="*/ 386 h 12565"/>
                  <a:gd name="connsiteX3" fmla="*/ 14569 w 18019"/>
                  <a:gd name="connsiteY3" fmla="*/ 5744 h 12565"/>
                  <a:gd name="connsiteX4" fmla="*/ 14954 w 18019"/>
                  <a:gd name="connsiteY4" fmla="*/ 8097 h 12565"/>
                  <a:gd name="connsiteX5" fmla="*/ 18020 w 18019"/>
                  <a:gd name="connsiteY5" fmla="*/ 11657 h 12565"/>
                  <a:gd name="connsiteX6" fmla="*/ 17099 w 18019"/>
                  <a:gd name="connsiteY6" fmla="*/ 12566 h 12565"/>
                  <a:gd name="connsiteX7" fmla="*/ 140 w 18019"/>
                  <a:gd name="connsiteY7" fmla="*/ 3605 h 12565"/>
                  <a:gd name="connsiteX8" fmla="*/ 280 w 18019"/>
                  <a:gd name="connsiteY8" fmla="*/ 3623 h 1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19" h="12565">
                    <a:moveTo>
                      <a:pt x="280" y="3623"/>
                    </a:moveTo>
                    <a:lnTo>
                      <a:pt x="0" y="3483"/>
                    </a:lnTo>
                    <a:cubicBezTo>
                      <a:pt x="1000" y="2068"/>
                      <a:pt x="2457" y="953"/>
                      <a:pt x="4237" y="386"/>
                    </a:cubicBezTo>
                    <a:cubicBezTo>
                      <a:pt x="8571" y="-986"/>
                      <a:pt x="13192" y="1416"/>
                      <a:pt x="14569" y="5744"/>
                    </a:cubicBezTo>
                    <a:cubicBezTo>
                      <a:pt x="14813" y="6525"/>
                      <a:pt x="14941" y="7317"/>
                      <a:pt x="14954" y="8097"/>
                    </a:cubicBezTo>
                    <a:lnTo>
                      <a:pt x="18020" y="11657"/>
                    </a:lnTo>
                    <a:lnTo>
                      <a:pt x="17099" y="12566"/>
                    </a:lnTo>
                    <a:lnTo>
                      <a:pt x="140" y="3605"/>
                    </a:lnTo>
                    <a:lnTo>
                      <a:pt x="280" y="3623"/>
                    </a:lnTo>
                    <a:close/>
                  </a:path>
                </a:pathLst>
              </a:custGeom>
              <a:solidFill>
                <a:srgbClr val="FFFFFF"/>
              </a:solidFill>
              <a:ln w="610" cap="flat">
                <a:noFill/>
                <a:prstDash val="solid"/>
                <a:miter/>
              </a:ln>
            </p:spPr>
            <p:txBody>
              <a:bodyPr rtlCol="0" anchor="ctr"/>
              <a:lstStyle/>
              <a:p>
                <a:endParaRPr lang="en-US"/>
              </a:p>
            </p:txBody>
          </p:sp>
          <p:sp>
            <p:nvSpPr>
              <p:cNvPr id="944" name="Freeform: Shape 943">
                <a:extLst>
                  <a:ext uri="{FF2B5EF4-FFF2-40B4-BE49-F238E27FC236}">
                    <a16:creationId xmlns:a16="http://schemas.microsoft.com/office/drawing/2014/main" id="{B1357B6F-E321-89CF-08B3-9BADA7FEA6AA}"/>
                  </a:ext>
                </a:extLst>
              </p:cNvPr>
              <p:cNvSpPr/>
              <p:nvPr/>
            </p:nvSpPr>
            <p:spPr>
              <a:xfrm>
                <a:off x="2101871" y="3972420"/>
                <a:ext cx="53294" cy="36461"/>
              </a:xfrm>
              <a:custGeom>
                <a:avLst/>
                <a:gdLst>
                  <a:gd name="connsiteX0" fmla="*/ 9467 w 16385"/>
                  <a:gd name="connsiteY0" fmla="*/ 10485 h 11210"/>
                  <a:gd name="connsiteX1" fmla="*/ 1823 w 16385"/>
                  <a:gd name="connsiteY1" fmla="*/ 11211 h 11210"/>
                  <a:gd name="connsiteX2" fmla="*/ 0 w 16385"/>
                  <a:gd name="connsiteY2" fmla="*/ 3566 h 11210"/>
                  <a:gd name="connsiteX3" fmla="*/ 16319 w 16385"/>
                  <a:gd name="connsiteY3" fmla="*/ 0 h 11210"/>
                  <a:gd name="connsiteX4" fmla="*/ 16386 w 16385"/>
                  <a:gd name="connsiteY4" fmla="*/ 1018 h 11210"/>
                  <a:gd name="connsiteX5" fmla="*/ 10558 w 16385"/>
                  <a:gd name="connsiteY5" fmla="*/ 4298 h 11210"/>
                  <a:gd name="connsiteX6" fmla="*/ 9467 w 16385"/>
                  <a:gd name="connsiteY6" fmla="*/ 10485 h 1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5" h="11210">
                    <a:moveTo>
                      <a:pt x="9467" y="10485"/>
                    </a:moveTo>
                    <a:lnTo>
                      <a:pt x="1823" y="11211"/>
                    </a:lnTo>
                    <a:lnTo>
                      <a:pt x="0" y="3566"/>
                    </a:lnTo>
                    <a:lnTo>
                      <a:pt x="16319" y="0"/>
                    </a:lnTo>
                    <a:lnTo>
                      <a:pt x="16386" y="1018"/>
                    </a:lnTo>
                    <a:lnTo>
                      <a:pt x="10558" y="4298"/>
                    </a:lnTo>
                    <a:lnTo>
                      <a:pt x="9467" y="10485"/>
                    </a:lnTo>
                    <a:close/>
                  </a:path>
                </a:pathLst>
              </a:custGeom>
              <a:solidFill>
                <a:srgbClr val="001135"/>
              </a:solidFill>
              <a:ln w="610" cap="flat">
                <a:noFill/>
                <a:prstDash val="solid"/>
                <a:miter/>
              </a:ln>
            </p:spPr>
            <p:txBody>
              <a:bodyPr rtlCol="0" anchor="ctr"/>
              <a:lstStyle/>
              <a:p>
                <a:endParaRPr lang="en-US"/>
              </a:p>
            </p:txBody>
          </p:sp>
          <p:sp>
            <p:nvSpPr>
              <p:cNvPr id="945" name="Freeform: Shape 944">
                <a:extLst>
                  <a:ext uri="{FF2B5EF4-FFF2-40B4-BE49-F238E27FC236}">
                    <a16:creationId xmlns:a16="http://schemas.microsoft.com/office/drawing/2014/main" id="{BFDB1C88-81B6-1A40-ADE4-20A0A1F85FF0}"/>
                  </a:ext>
                </a:extLst>
              </p:cNvPr>
              <p:cNvSpPr/>
              <p:nvPr/>
            </p:nvSpPr>
            <p:spPr>
              <a:xfrm rot="21592800">
                <a:off x="1856161" y="3960284"/>
                <a:ext cx="49725" cy="49726"/>
              </a:xfrm>
              <a:custGeom>
                <a:avLst/>
                <a:gdLst>
                  <a:gd name="connsiteX0" fmla="*/ 15289 w 15288"/>
                  <a:gd name="connsiteY0" fmla="*/ 7644 h 15288"/>
                  <a:gd name="connsiteX1" fmla="*/ 7644 w 15288"/>
                  <a:gd name="connsiteY1" fmla="*/ 15289 h 15288"/>
                  <a:gd name="connsiteX2" fmla="*/ 0 w 15288"/>
                  <a:gd name="connsiteY2" fmla="*/ 7644 h 15288"/>
                  <a:gd name="connsiteX3" fmla="*/ 7644 w 15288"/>
                  <a:gd name="connsiteY3" fmla="*/ 0 h 15288"/>
                  <a:gd name="connsiteX4" fmla="*/ 15289 w 15288"/>
                  <a:gd name="connsiteY4" fmla="*/ 7644 h 1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88" h="15288">
                    <a:moveTo>
                      <a:pt x="15289" y="7644"/>
                    </a:moveTo>
                    <a:cubicBezTo>
                      <a:pt x="15289" y="11866"/>
                      <a:pt x="11866" y="15289"/>
                      <a:pt x="7644" y="15289"/>
                    </a:cubicBezTo>
                    <a:cubicBezTo>
                      <a:pt x="3423" y="15289"/>
                      <a:pt x="0" y="11866"/>
                      <a:pt x="0" y="7644"/>
                    </a:cubicBezTo>
                    <a:cubicBezTo>
                      <a:pt x="0" y="3423"/>
                      <a:pt x="3423" y="0"/>
                      <a:pt x="7644" y="0"/>
                    </a:cubicBezTo>
                    <a:cubicBezTo>
                      <a:pt x="11866" y="0"/>
                      <a:pt x="15289" y="3423"/>
                      <a:pt x="15289" y="7644"/>
                    </a:cubicBezTo>
                    <a:close/>
                  </a:path>
                </a:pathLst>
              </a:custGeom>
              <a:solidFill>
                <a:srgbClr val="001135"/>
              </a:solidFill>
              <a:ln w="610" cap="flat">
                <a:noFill/>
                <a:prstDash val="solid"/>
                <a:miter/>
              </a:ln>
            </p:spPr>
            <p:txBody>
              <a:bodyPr rtlCol="0" anchor="ctr"/>
              <a:lstStyle/>
              <a:p>
                <a:endParaRPr lang="en-US"/>
              </a:p>
            </p:txBody>
          </p:sp>
          <p:sp>
            <p:nvSpPr>
              <p:cNvPr id="946" name="Freeform: Shape 945">
                <a:extLst>
                  <a:ext uri="{FF2B5EF4-FFF2-40B4-BE49-F238E27FC236}">
                    <a16:creationId xmlns:a16="http://schemas.microsoft.com/office/drawing/2014/main" id="{E0096A90-78DA-F737-DF99-5B7BBB2C2FF5}"/>
                  </a:ext>
                </a:extLst>
              </p:cNvPr>
              <p:cNvSpPr/>
              <p:nvPr/>
            </p:nvSpPr>
            <p:spPr>
              <a:xfrm rot="21592200">
                <a:off x="1900610" y="3947554"/>
                <a:ext cx="61584" cy="61584"/>
              </a:xfrm>
              <a:custGeom>
                <a:avLst/>
                <a:gdLst>
                  <a:gd name="connsiteX0" fmla="*/ 18934 w 18934"/>
                  <a:gd name="connsiteY0" fmla="*/ 9468 h 18934"/>
                  <a:gd name="connsiteX1" fmla="*/ 9467 w 18934"/>
                  <a:gd name="connsiteY1" fmla="*/ 18935 h 18934"/>
                  <a:gd name="connsiteX2" fmla="*/ 0 w 18934"/>
                  <a:gd name="connsiteY2" fmla="*/ 9468 h 18934"/>
                  <a:gd name="connsiteX3" fmla="*/ 9467 w 18934"/>
                  <a:gd name="connsiteY3" fmla="*/ 1 h 18934"/>
                  <a:gd name="connsiteX4" fmla="*/ 18934 w 18934"/>
                  <a:gd name="connsiteY4" fmla="*/ 9468 h 18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34" h="18934">
                    <a:moveTo>
                      <a:pt x="18934" y="9468"/>
                    </a:moveTo>
                    <a:cubicBezTo>
                      <a:pt x="18934" y="14696"/>
                      <a:pt x="14696" y="18935"/>
                      <a:pt x="9467" y="18935"/>
                    </a:cubicBezTo>
                    <a:cubicBezTo>
                      <a:pt x="4239" y="18935"/>
                      <a:pt x="0" y="14696"/>
                      <a:pt x="0" y="9468"/>
                    </a:cubicBezTo>
                    <a:cubicBezTo>
                      <a:pt x="0" y="4239"/>
                      <a:pt x="4239" y="1"/>
                      <a:pt x="9467" y="1"/>
                    </a:cubicBezTo>
                    <a:cubicBezTo>
                      <a:pt x="14696" y="1"/>
                      <a:pt x="18934" y="4239"/>
                      <a:pt x="18934" y="9468"/>
                    </a:cubicBezTo>
                    <a:close/>
                  </a:path>
                </a:pathLst>
              </a:custGeom>
              <a:solidFill>
                <a:srgbClr val="001135"/>
              </a:solidFill>
              <a:ln w="610" cap="flat">
                <a:noFill/>
                <a:prstDash val="solid"/>
                <a:miter/>
              </a:ln>
            </p:spPr>
            <p:txBody>
              <a:bodyPr rtlCol="0" anchor="ctr"/>
              <a:lstStyle/>
              <a:p>
                <a:endParaRPr lang="en-US"/>
              </a:p>
            </p:txBody>
          </p:sp>
          <p:sp>
            <p:nvSpPr>
              <p:cNvPr id="947" name="Freeform: Shape 946">
                <a:extLst>
                  <a:ext uri="{FF2B5EF4-FFF2-40B4-BE49-F238E27FC236}">
                    <a16:creationId xmlns:a16="http://schemas.microsoft.com/office/drawing/2014/main" id="{280A5DD6-E309-618D-2A70-63BF1D25CBA0}"/>
                  </a:ext>
                </a:extLst>
              </p:cNvPr>
              <p:cNvSpPr/>
              <p:nvPr/>
            </p:nvSpPr>
            <p:spPr>
              <a:xfrm>
                <a:off x="1898929" y="3940112"/>
                <a:ext cx="74022" cy="34806"/>
              </a:xfrm>
              <a:custGeom>
                <a:avLst/>
                <a:gdLst>
                  <a:gd name="connsiteX0" fmla="*/ 398 w 22758"/>
                  <a:gd name="connsiteY0" fmla="*/ 10604 h 10701"/>
                  <a:gd name="connsiteX1" fmla="*/ 39 w 22758"/>
                  <a:gd name="connsiteY1" fmla="*/ 10696 h 10701"/>
                  <a:gd name="connsiteX2" fmla="*/ 1502 w 22758"/>
                  <a:gd name="connsiteY2" fmla="*/ 4606 h 10701"/>
                  <a:gd name="connsiteX3" fmla="*/ 15053 w 22758"/>
                  <a:gd name="connsiteY3" fmla="*/ 1503 h 10701"/>
                  <a:gd name="connsiteX4" fmla="*/ 17217 w 22758"/>
                  <a:gd name="connsiteY4" fmla="*/ 3338 h 10701"/>
                  <a:gd name="connsiteX5" fmla="*/ 22758 w 22758"/>
                  <a:gd name="connsiteY5" fmla="*/ 4216 h 10701"/>
                  <a:gd name="connsiteX6" fmla="*/ 22630 w 22758"/>
                  <a:gd name="connsiteY6" fmla="*/ 5752 h 10701"/>
                  <a:gd name="connsiteX7" fmla="*/ 258 w 22758"/>
                  <a:gd name="connsiteY7" fmla="*/ 10702 h 10701"/>
                  <a:gd name="connsiteX8" fmla="*/ 398 w 22758"/>
                  <a:gd name="connsiteY8" fmla="*/ 10604 h 1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58" h="10701">
                    <a:moveTo>
                      <a:pt x="398" y="10604"/>
                    </a:moveTo>
                    <a:lnTo>
                      <a:pt x="39" y="10696"/>
                    </a:lnTo>
                    <a:cubicBezTo>
                      <a:pt x="-144" y="8635"/>
                      <a:pt x="319" y="6496"/>
                      <a:pt x="1502" y="4606"/>
                    </a:cubicBezTo>
                    <a:cubicBezTo>
                      <a:pt x="4385" y="9"/>
                      <a:pt x="10451" y="-1380"/>
                      <a:pt x="15053" y="1503"/>
                    </a:cubicBezTo>
                    <a:cubicBezTo>
                      <a:pt x="15882" y="2021"/>
                      <a:pt x="16601" y="2643"/>
                      <a:pt x="17217" y="3338"/>
                    </a:cubicBezTo>
                    <a:lnTo>
                      <a:pt x="22758" y="4216"/>
                    </a:lnTo>
                    <a:lnTo>
                      <a:pt x="22630" y="5752"/>
                    </a:lnTo>
                    <a:lnTo>
                      <a:pt x="258" y="10702"/>
                    </a:lnTo>
                    <a:lnTo>
                      <a:pt x="398" y="10604"/>
                    </a:lnTo>
                    <a:close/>
                  </a:path>
                </a:pathLst>
              </a:custGeom>
              <a:solidFill>
                <a:srgbClr val="FFFFFF"/>
              </a:solidFill>
              <a:ln w="610" cap="flat">
                <a:noFill/>
                <a:prstDash val="solid"/>
                <a:miter/>
              </a:ln>
            </p:spPr>
            <p:txBody>
              <a:bodyPr rtlCol="0" anchor="ctr"/>
              <a:lstStyle/>
              <a:p>
                <a:endParaRPr lang="en-US"/>
              </a:p>
            </p:txBody>
          </p:sp>
          <p:sp>
            <p:nvSpPr>
              <p:cNvPr id="948" name="Freeform: Shape 947">
                <a:extLst>
                  <a:ext uri="{FF2B5EF4-FFF2-40B4-BE49-F238E27FC236}">
                    <a16:creationId xmlns:a16="http://schemas.microsoft.com/office/drawing/2014/main" id="{C6F199B9-DD9B-4528-D0EB-4B8C07391179}"/>
                  </a:ext>
                </a:extLst>
              </p:cNvPr>
              <p:cNvSpPr/>
              <p:nvPr/>
            </p:nvSpPr>
            <p:spPr>
              <a:xfrm>
                <a:off x="1876886" y="3984022"/>
                <a:ext cx="230911" cy="448701"/>
              </a:xfrm>
              <a:custGeom>
                <a:avLst/>
                <a:gdLst>
                  <a:gd name="connsiteX0" fmla="*/ 69171 w 70993"/>
                  <a:gd name="connsiteY0" fmla="*/ 0 h 137952"/>
                  <a:gd name="connsiteX1" fmla="*/ 70994 w 70993"/>
                  <a:gd name="connsiteY1" fmla="*/ 7644 h 137952"/>
                  <a:gd name="connsiteX2" fmla="*/ 39082 w 70993"/>
                  <a:gd name="connsiteY2" fmla="*/ 28755 h 137952"/>
                  <a:gd name="connsiteX3" fmla="*/ 39082 w 70993"/>
                  <a:gd name="connsiteY3" fmla="*/ 72268 h 137952"/>
                  <a:gd name="connsiteX4" fmla="*/ 40538 w 70993"/>
                  <a:gd name="connsiteY4" fmla="*/ 137952 h 137952"/>
                  <a:gd name="connsiteX5" fmla="*/ 33985 w 70993"/>
                  <a:gd name="connsiteY5" fmla="*/ 137952 h 137952"/>
                  <a:gd name="connsiteX6" fmla="*/ 23366 w 70993"/>
                  <a:gd name="connsiteY6" fmla="*/ 77529 h 137952"/>
                  <a:gd name="connsiteX7" fmla="*/ 21037 w 70993"/>
                  <a:gd name="connsiteY7" fmla="*/ 77529 h 137952"/>
                  <a:gd name="connsiteX8" fmla="*/ 6553 w 70993"/>
                  <a:gd name="connsiteY8" fmla="*/ 137952 h 137952"/>
                  <a:gd name="connsiteX9" fmla="*/ 0 w 70993"/>
                  <a:gd name="connsiteY9" fmla="*/ 137952 h 137952"/>
                  <a:gd name="connsiteX10" fmla="*/ 5883 w 70993"/>
                  <a:gd name="connsiteY10" fmla="*/ 58875 h 137952"/>
                  <a:gd name="connsiteX11" fmla="*/ 8736 w 70993"/>
                  <a:gd name="connsiteY11" fmla="*/ 14923 h 137952"/>
                  <a:gd name="connsiteX12" fmla="*/ 8949 w 70993"/>
                  <a:gd name="connsiteY12" fmla="*/ 14393 h 137952"/>
                  <a:gd name="connsiteX13" fmla="*/ 13478 w 70993"/>
                  <a:gd name="connsiteY13" fmla="*/ 10662 h 137952"/>
                  <a:gd name="connsiteX14" fmla="*/ 17849 w 70993"/>
                  <a:gd name="connsiteY14" fmla="*/ 9839 h 137952"/>
                  <a:gd name="connsiteX15" fmla="*/ 17837 w 70993"/>
                  <a:gd name="connsiteY15" fmla="*/ 9827 h 137952"/>
                  <a:gd name="connsiteX16" fmla="*/ 69171 w 70993"/>
                  <a:gd name="connsiteY16" fmla="*/ 0 h 13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993" h="137952">
                    <a:moveTo>
                      <a:pt x="69171" y="0"/>
                    </a:moveTo>
                    <a:lnTo>
                      <a:pt x="70994" y="7644"/>
                    </a:lnTo>
                    <a:lnTo>
                      <a:pt x="39082" y="28755"/>
                    </a:lnTo>
                    <a:lnTo>
                      <a:pt x="39082" y="72268"/>
                    </a:lnTo>
                    <a:lnTo>
                      <a:pt x="40538" y="137952"/>
                    </a:lnTo>
                    <a:lnTo>
                      <a:pt x="33985" y="137952"/>
                    </a:lnTo>
                    <a:lnTo>
                      <a:pt x="23366" y="77529"/>
                    </a:lnTo>
                    <a:lnTo>
                      <a:pt x="21037" y="77529"/>
                    </a:lnTo>
                    <a:lnTo>
                      <a:pt x="6553" y="137952"/>
                    </a:lnTo>
                    <a:lnTo>
                      <a:pt x="0" y="137952"/>
                    </a:lnTo>
                    <a:lnTo>
                      <a:pt x="5883" y="58875"/>
                    </a:lnTo>
                    <a:lnTo>
                      <a:pt x="8736" y="14923"/>
                    </a:lnTo>
                    <a:lnTo>
                      <a:pt x="8949" y="14393"/>
                    </a:lnTo>
                    <a:cubicBezTo>
                      <a:pt x="9723" y="12454"/>
                      <a:pt x="11430" y="11052"/>
                      <a:pt x="13478" y="10662"/>
                    </a:cubicBezTo>
                    <a:lnTo>
                      <a:pt x="17849" y="9839"/>
                    </a:lnTo>
                    <a:lnTo>
                      <a:pt x="17837" y="9827"/>
                    </a:lnTo>
                    <a:lnTo>
                      <a:pt x="69171" y="0"/>
                    </a:lnTo>
                    <a:close/>
                  </a:path>
                </a:pathLst>
              </a:custGeom>
              <a:gradFill>
                <a:gsLst>
                  <a:gs pos="0">
                    <a:srgbClr val="7D33F2"/>
                  </a:gs>
                  <a:gs pos="50000">
                    <a:srgbClr val="3E2293"/>
                  </a:gs>
                  <a:gs pos="100000">
                    <a:srgbClr val="001135"/>
                  </a:gs>
                </a:gsLst>
                <a:lin ang="5400000" scaled="1"/>
              </a:gradFill>
              <a:ln w="610" cap="flat">
                <a:noFill/>
                <a:prstDash val="solid"/>
                <a:miter/>
              </a:ln>
            </p:spPr>
            <p:txBody>
              <a:bodyPr rtlCol="0" anchor="ctr"/>
              <a:lstStyle/>
              <a:p>
                <a:endParaRPr lang="en-US"/>
              </a:p>
            </p:txBody>
          </p:sp>
          <p:sp>
            <p:nvSpPr>
              <p:cNvPr id="949" name="Freeform: Shape 948">
                <a:extLst>
                  <a:ext uri="{FF2B5EF4-FFF2-40B4-BE49-F238E27FC236}">
                    <a16:creationId xmlns:a16="http://schemas.microsoft.com/office/drawing/2014/main" id="{0FE7BBA7-CE21-7C05-6C5F-391B18E110EB}"/>
                  </a:ext>
                </a:extLst>
              </p:cNvPr>
              <p:cNvSpPr/>
              <p:nvPr/>
            </p:nvSpPr>
            <p:spPr>
              <a:xfrm>
                <a:off x="1834908" y="4189000"/>
                <a:ext cx="45383" cy="47049"/>
              </a:xfrm>
              <a:custGeom>
                <a:avLst/>
                <a:gdLst>
                  <a:gd name="connsiteX0" fmla="*/ 177 w 13953"/>
                  <a:gd name="connsiteY0" fmla="*/ 14466 h 14465"/>
                  <a:gd name="connsiteX1" fmla="*/ 0 w 13953"/>
                  <a:gd name="connsiteY1" fmla="*/ 9095 h 14465"/>
                  <a:gd name="connsiteX2" fmla="*/ 7480 w 13953"/>
                  <a:gd name="connsiteY2" fmla="*/ 0 h 14465"/>
                  <a:gd name="connsiteX3" fmla="*/ 13954 w 13953"/>
                  <a:gd name="connsiteY3" fmla="*/ 2457 h 14465"/>
                  <a:gd name="connsiteX4" fmla="*/ 9303 w 13953"/>
                  <a:gd name="connsiteY4" fmla="*/ 14265 h 14465"/>
                  <a:gd name="connsiteX5" fmla="*/ 8339 w 13953"/>
                  <a:gd name="connsiteY5" fmla="*/ 13911 h 14465"/>
                  <a:gd name="connsiteX6" fmla="*/ 8797 w 13953"/>
                  <a:gd name="connsiteY6" fmla="*/ 9686 h 14465"/>
                  <a:gd name="connsiteX7" fmla="*/ 177 w 13953"/>
                  <a:gd name="connsiteY7" fmla="*/ 14466 h 14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53" h="14465">
                    <a:moveTo>
                      <a:pt x="177" y="14466"/>
                    </a:moveTo>
                    <a:lnTo>
                      <a:pt x="0" y="9095"/>
                    </a:lnTo>
                    <a:lnTo>
                      <a:pt x="7480" y="0"/>
                    </a:lnTo>
                    <a:lnTo>
                      <a:pt x="13954" y="2457"/>
                    </a:lnTo>
                    <a:lnTo>
                      <a:pt x="9303" y="14265"/>
                    </a:lnTo>
                    <a:lnTo>
                      <a:pt x="8339" y="13911"/>
                    </a:lnTo>
                    <a:lnTo>
                      <a:pt x="8797" y="9686"/>
                    </a:lnTo>
                    <a:lnTo>
                      <a:pt x="177" y="14466"/>
                    </a:lnTo>
                    <a:close/>
                  </a:path>
                </a:pathLst>
              </a:custGeom>
              <a:solidFill>
                <a:srgbClr val="001135"/>
              </a:solidFill>
              <a:ln w="610" cap="flat">
                <a:noFill/>
                <a:prstDash val="solid"/>
                <a:miter/>
              </a:ln>
            </p:spPr>
            <p:txBody>
              <a:bodyPr rtlCol="0" anchor="ctr"/>
              <a:lstStyle/>
              <a:p>
                <a:endParaRPr lang="en-US"/>
              </a:p>
            </p:txBody>
          </p:sp>
          <p:sp>
            <p:nvSpPr>
              <p:cNvPr id="950" name="Freeform: Shape 949">
                <a:extLst>
                  <a:ext uri="{FF2B5EF4-FFF2-40B4-BE49-F238E27FC236}">
                    <a16:creationId xmlns:a16="http://schemas.microsoft.com/office/drawing/2014/main" id="{A7D51476-798F-7976-B47C-6D460845955A}"/>
                  </a:ext>
                </a:extLst>
              </p:cNvPr>
              <p:cNvSpPr/>
              <p:nvPr/>
            </p:nvSpPr>
            <p:spPr>
              <a:xfrm>
                <a:off x="1856759" y="4032560"/>
                <a:ext cx="48535" cy="182333"/>
              </a:xfrm>
              <a:custGeom>
                <a:avLst/>
                <a:gdLst>
                  <a:gd name="connsiteX0" fmla="*/ 11284 w 14922"/>
                  <a:gd name="connsiteY0" fmla="*/ 56059 h 56058"/>
                  <a:gd name="connsiteX1" fmla="*/ 14923 w 14922"/>
                  <a:gd name="connsiteY1" fmla="*/ 0 h 56058"/>
                  <a:gd name="connsiteX2" fmla="*/ 0 w 14922"/>
                  <a:gd name="connsiteY2" fmla="*/ 49140 h 56058"/>
                  <a:gd name="connsiteX3" fmla="*/ 11284 w 14922"/>
                  <a:gd name="connsiteY3" fmla="*/ 56059 h 56058"/>
                </a:gdLst>
                <a:ahLst/>
                <a:cxnLst>
                  <a:cxn ang="0">
                    <a:pos x="connsiteX0" y="connsiteY0"/>
                  </a:cxn>
                  <a:cxn ang="0">
                    <a:pos x="connsiteX1" y="connsiteY1"/>
                  </a:cxn>
                  <a:cxn ang="0">
                    <a:pos x="connsiteX2" y="connsiteY2"/>
                  </a:cxn>
                  <a:cxn ang="0">
                    <a:pos x="connsiteX3" y="connsiteY3"/>
                  </a:cxn>
                </a:cxnLst>
                <a:rect l="l" t="t" r="r" b="b"/>
                <a:pathLst>
                  <a:path w="14922" h="56058">
                    <a:moveTo>
                      <a:pt x="11284" y="56059"/>
                    </a:moveTo>
                    <a:lnTo>
                      <a:pt x="14923" y="0"/>
                    </a:lnTo>
                    <a:lnTo>
                      <a:pt x="0" y="49140"/>
                    </a:lnTo>
                    <a:lnTo>
                      <a:pt x="11284" y="56059"/>
                    </a:lnTo>
                    <a:close/>
                  </a:path>
                </a:pathLst>
              </a:custGeom>
              <a:solidFill>
                <a:srgbClr val="5A0DD5"/>
              </a:solidFill>
              <a:ln w="610" cap="flat">
                <a:noFill/>
                <a:prstDash val="solid"/>
                <a:miter/>
              </a:ln>
            </p:spPr>
            <p:txBody>
              <a:bodyPr rtlCol="0" anchor="ctr"/>
              <a:lstStyle/>
              <a:p>
                <a:endParaRPr lang="en-US"/>
              </a:p>
            </p:txBody>
          </p:sp>
          <p:sp>
            <p:nvSpPr>
              <p:cNvPr id="951" name="Freeform: Shape 950">
                <a:extLst>
                  <a:ext uri="{FF2B5EF4-FFF2-40B4-BE49-F238E27FC236}">
                    <a16:creationId xmlns:a16="http://schemas.microsoft.com/office/drawing/2014/main" id="{F55A34F4-0FC1-CBBB-C736-E598B236AA77}"/>
                  </a:ext>
                </a:extLst>
              </p:cNvPr>
              <p:cNvSpPr/>
              <p:nvPr/>
            </p:nvSpPr>
            <p:spPr>
              <a:xfrm>
                <a:off x="2181305" y="3968572"/>
                <a:ext cx="226481" cy="203475"/>
              </a:xfrm>
              <a:custGeom>
                <a:avLst/>
                <a:gdLst>
                  <a:gd name="connsiteX0" fmla="*/ 15610 w 69631"/>
                  <a:gd name="connsiteY0" fmla="*/ 3128 h 62558"/>
                  <a:gd name="connsiteX1" fmla="*/ 23901 w 69631"/>
                  <a:gd name="connsiteY1" fmla="*/ 769 h 62558"/>
                  <a:gd name="connsiteX2" fmla="*/ 66500 w 69631"/>
                  <a:gd name="connsiteY2" fmla="*/ 24513 h 62558"/>
                  <a:gd name="connsiteX3" fmla="*/ 68859 w 69631"/>
                  <a:gd name="connsiteY3" fmla="*/ 32803 h 62558"/>
                  <a:gd name="connsiteX4" fmla="*/ 54021 w 69631"/>
                  <a:gd name="connsiteY4" fmla="*/ 59431 h 62558"/>
                  <a:gd name="connsiteX5" fmla="*/ 45731 w 69631"/>
                  <a:gd name="connsiteY5" fmla="*/ 61790 h 62558"/>
                  <a:gd name="connsiteX6" fmla="*/ 3132 w 69631"/>
                  <a:gd name="connsiteY6" fmla="*/ 38046 h 62558"/>
                  <a:gd name="connsiteX7" fmla="*/ 773 w 69631"/>
                  <a:gd name="connsiteY7" fmla="*/ 29755 h 62558"/>
                  <a:gd name="connsiteX8" fmla="*/ 15610 w 69631"/>
                  <a:gd name="connsiteY8" fmla="*/ 3128 h 6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631" h="62558">
                    <a:moveTo>
                      <a:pt x="15610" y="3128"/>
                    </a:moveTo>
                    <a:cubicBezTo>
                      <a:pt x="17250" y="190"/>
                      <a:pt x="20963" y="-865"/>
                      <a:pt x="23901" y="769"/>
                    </a:cubicBezTo>
                    <a:lnTo>
                      <a:pt x="66500" y="24513"/>
                    </a:lnTo>
                    <a:cubicBezTo>
                      <a:pt x="69444" y="26153"/>
                      <a:pt x="70499" y="29865"/>
                      <a:pt x="68859" y="32803"/>
                    </a:cubicBezTo>
                    <a:lnTo>
                      <a:pt x="54021" y="59431"/>
                    </a:lnTo>
                    <a:cubicBezTo>
                      <a:pt x="52381" y="62369"/>
                      <a:pt x="48669" y="63424"/>
                      <a:pt x="45731" y="61790"/>
                    </a:cubicBezTo>
                    <a:lnTo>
                      <a:pt x="3132" y="38046"/>
                    </a:lnTo>
                    <a:cubicBezTo>
                      <a:pt x="188" y="36406"/>
                      <a:pt x="-867" y="32694"/>
                      <a:pt x="773" y="29755"/>
                    </a:cubicBezTo>
                    <a:lnTo>
                      <a:pt x="15610" y="3128"/>
                    </a:lnTo>
                    <a:close/>
                  </a:path>
                </a:pathLst>
              </a:custGeom>
              <a:solidFill>
                <a:srgbClr val="FFFFFF"/>
              </a:solidFill>
              <a:ln w="610" cap="flat">
                <a:noFill/>
                <a:prstDash val="solid"/>
                <a:miter/>
              </a:ln>
            </p:spPr>
            <p:txBody>
              <a:bodyPr rtlCol="0" anchor="ctr"/>
              <a:lstStyle/>
              <a:p>
                <a:endParaRPr lang="en-US"/>
              </a:p>
            </p:txBody>
          </p:sp>
          <p:sp>
            <p:nvSpPr>
              <p:cNvPr id="952" name="Freeform: Shape 951">
                <a:extLst>
                  <a:ext uri="{FF2B5EF4-FFF2-40B4-BE49-F238E27FC236}">
                    <a16:creationId xmlns:a16="http://schemas.microsoft.com/office/drawing/2014/main" id="{FA6698DB-000E-FAFC-C668-A957E3AF8B30}"/>
                  </a:ext>
                </a:extLst>
              </p:cNvPr>
              <p:cNvSpPr/>
              <p:nvPr/>
            </p:nvSpPr>
            <p:spPr>
              <a:xfrm>
                <a:off x="2426966" y="4088413"/>
                <a:ext cx="251812" cy="245388"/>
              </a:xfrm>
              <a:custGeom>
                <a:avLst/>
                <a:gdLst>
                  <a:gd name="connsiteX0" fmla="*/ 0 w 77419"/>
                  <a:gd name="connsiteY0" fmla="*/ 54254 h 75444"/>
                  <a:gd name="connsiteX1" fmla="*/ 55474 w 77419"/>
                  <a:gd name="connsiteY1" fmla="*/ 0 h 75444"/>
                  <a:gd name="connsiteX2" fmla="*/ 77419 w 77419"/>
                  <a:gd name="connsiteY2" fmla="*/ 10973 h 75444"/>
                  <a:gd name="connsiteX3" fmla="*/ 30072 w 77419"/>
                  <a:gd name="connsiteY3" fmla="*/ 75444 h 75444"/>
                  <a:gd name="connsiteX4" fmla="*/ 0 w 77419"/>
                  <a:gd name="connsiteY4" fmla="*/ 54254 h 75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19" h="75444">
                    <a:moveTo>
                      <a:pt x="0" y="54254"/>
                    </a:moveTo>
                    <a:lnTo>
                      <a:pt x="55474" y="0"/>
                    </a:lnTo>
                    <a:lnTo>
                      <a:pt x="77419" y="10973"/>
                    </a:lnTo>
                    <a:lnTo>
                      <a:pt x="30072" y="75444"/>
                    </a:lnTo>
                    <a:lnTo>
                      <a:pt x="0" y="54254"/>
                    </a:lnTo>
                    <a:close/>
                  </a:path>
                </a:pathLst>
              </a:custGeom>
              <a:solidFill>
                <a:srgbClr val="9765FE"/>
              </a:solidFill>
              <a:ln w="610" cap="flat">
                <a:noFill/>
                <a:prstDash val="solid"/>
                <a:miter/>
              </a:ln>
            </p:spPr>
            <p:txBody>
              <a:bodyPr rtlCol="0" anchor="ctr"/>
              <a:lstStyle/>
              <a:p>
                <a:endParaRPr lang="en-US"/>
              </a:p>
            </p:txBody>
          </p:sp>
          <p:sp>
            <p:nvSpPr>
              <p:cNvPr id="953" name="Freeform: Shape 952">
                <a:extLst>
                  <a:ext uri="{FF2B5EF4-FFF2-40B4-BE49-F238E27FC236}">
                    <a16:creationId xmlns:a16="http://schemas.microsoft.com/office/drawing/2014/main" id="{EA9BC595-D8F2-585B-575C-B407D6945C12}"/>
                  </a:ext>
                </a:extLst>
              </p:cNvPr>
              <p:cNvSpPr/>
              <p:nvPr/>
            </p:nvSpPr>
            <p:spPr>
              <a:xfrm>
                <a:off x="2343690" y="3929791"/>
                <a:ext cx="314268" cy="173493"/>
              </a:xfrm>
              <a:custGeom>
                <a:avLst/>
                <a:gdLst>
                  <a:gd name="connsiteX0" fmla="*/ 0 w 96621"/>
                  <a:gd name="connsiteY0" fmla="*/ 13106 h 53340"/>
                  <a:gd name="connsiteX1" fmla="*/ 7010 w 96621"/>
                  <a:gd name="connsiteY1" fmla="*/ 0 h 53340"/>
                  <a:gd name="connsiteX2" fmla="*/ 96622 w 96621"/>
                  <a:gd name="connsiteY2" fmla="*/ 40234 h 53340"/>
                  <a:gd name="connsiteX3" fmla="*/ 86258 w 96621"/>
                  <a:gd name="connsiteY3" fmla="*/ 53340 h 53340"/>
                  <a:gd name="connsiteX4" fmla="*/ 0 w 96621"/>
                  <a:gd name="connsiteY4" fmla="*/ 13106 h 533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21" h="53340">
                    <a:moveTo>
                      <a:pt x="0" y="13106"/>
                    </a:moveTo>
                    <a:lnTo>
                      <a:pt x="7010" y="0"/>
                    </a:lnTo>
                    <a:lnTo>
                      <a:pt x="96622" y="40234"/>
                    </a:lnTo>
                    <a:lnTo>
                      <a:pt x="86258" y="53340"/>
                    </a:lnTo>
                    <a:lnTo>
                      <a:pt x="0" y="13106"/>
                    </a:lnTo>
                    <a:close/>
                  </a:path>
                </a:pathLst>
              </a:custGeom>
              <a:solidFill>
                <a:srgbClr val="9765FE"/>
              </a:solidFill>
              <a:ln w="610" cap="flat">
                <a:noFill/>
                <a:prstDash val="solid"/>
                <a:miter/>
              </a:ln>
            </p:spPr>
            <p:txBody>
              <a:bodyPr rtlCol="0" anchor="ctr"/>
              <a:lstStyle/>
              <a:p>
                <a:endParaRPr lang="en-US"/>
              </a:p>
            </p:txBody>
          </p:sp>
          <p:sp>
            <p:nvSpPr>
              <p:cNvPr id="954" name="Freeform: Shape 953">
                <a:extLst>
                  <a:ext uri="{FF2B5EF4-FFF2-40B4-BE49-F238E27FC236}">
                    <a16:creationId xmlns:a16="http://schemas.microsoft.com/office/drawing/2014/main" id="{2DF8BEA1-743F-81C1-AB5E-933E988599C6}"/>
                  </a:ext>
                </a:extLst>
              </p:cNvPr>
              <p:cNvSpPr/>
              <p:nvPr/>
            </p:nvSpPr>
            <p:spPr>
              <a:xfrm>
                <a:off x="2601331" y="4057045"/>
                <a:ext cx="85377" cy="85377"/>
              </a:xfrm>
              <a:custGeom>
                <a:avLst/>
                <a:gdLst>
                  <a:gd name="connsiteX0" fmla="*/ 26249 w 26249"/>
                  <a:gd name="connsiteY0" fmla="*/ 13125 h 26249"/>
                  <a:gd name="connsiteX1" fmla="*/ 13125 w 26249"/>
                  <a:gd name="connsiteY1" fmla="*/ 26249 h 26249"/>
                  <a:gd name="connsiteX2" fmla="*/ 0 w 26249"/>
                  <a:gd name="connsiteY2" fmla="*/ 13125 h 26249"/>
                  <a:gd name="connsiteX3" fmla="*/ 13125 w 26249"/>
                  <a:gd name="connsiteY3" fmla="*/ 0 h 26249"/>
                  <a:gd name="connsiteX4" fmla="*/ 26249 w 26249"/>
                  <a:gd name="connsiteY4" fmla="*/ 13125 h 26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49" h="26249">
                    <a:moveTo>
                      <a:pt x="26249" y="13125"/>
                    </a:moveTo>
                    <a:cubicBezTo>
                      <a:pt x="26249" y="20373"/>
                      <a:pt x="20373" y="26249"/>
                      <a:pt x="13125" y="26249"/>
                    </a:cubicBezTo>
                    <a:cubicBezTo>
                      <a:pt x="5876" y="26249"/>
                      <a:pt x="0" y="20373"/>
                      <a:pt x="0" y="13125"/>
                    </a:cubicBezTo>
                    <a:cubicBezTo>
                      <a:pt x="0" y="5876"/>
                      <a:pt x="5876" y="0"/>
                      <a:pt x="13125" y="0"/>
                    </a:cubicBezTo>
                    <a:cubicBezTo>
                      <a:pt x="20373" y="0"/>
                      <a:pt x="26249" y="5876"/>
                      <a:pt x="26249" y="13125"/>
                    </a:cubicBezTo>
                    <a:close/>
                  </a:path>
                </a:pathLst>
              </a:custGeom>
              <a:solidFill>
                <a:srgbClr val="001135"/>
              </a:solidFill>
              <a:ln w="610" cap="flat">
                <a:noFill/>
                <a:prstDash val="solid"/>
                <a:miter/>
              </a:ln>
            </p:spPr>
            <p:txBody>
              <a:bodyPr rtlCol="0" anchor="ctr"/>
              <a:lstStyle/>
              <a:p>
                <a:endParaRPr lang="en-US"/>
              </a:p>
            </p:txBody>
          </p:sp>
          <p:sp>
            <p:nvSpPr>
              <p:cNvPr id="955" name="Freeform: Shape 954">
                <a:extLst>
                  <a:ext uri="{FF2B5EF4-FFF2-40B4-BE49-F238E27FC236}">
                    <a16:creationId xmlns:a16="http://schemas.microsoft.com/office/drawing/2014/main" id="{F13ACF85-1D29-B1A4-78C6-32BADD18B526}"/>
                  </a:ext>
                </a:extLst>
              </p:cNvPr>
              <p:cNvSpPr/>
              <p:nvPr/>
            </p:nvSpPr>
            <p:spPr>
              <a:xfrm>
                <a:off x="2409123" y="4308503"/>
                <a:ext cx="193321" cy="126204"/>
              </a:xfrm>
              <a:custGeom>
                <a:avLst/>
                <a:gdLst>
                  <a:gd name="connsiteX0" fmla="*/ 45415 w 59436"/>
                  <a:gd name="connsiteY0" fmla="*/ 26609 h 38801"/>
                  <a:gd name="connsiteX1" fmla="*/ 34442 w 59436"/>
                  <a:gd name="connsiteY1" fmla="*/ 0 h 38801"/>
                  <a:gd name="connsiteX2" fmla="*/ 0 w 59436"/>
                  <a:gd name="connsiteY2" fmla="*/ 13106 h 38801"/>
                  <a:gd name="connsiteX3" fmla="*/ 11278 w 59436"/>
                  <a:gd name="connsiteY3" fmla="*/ 38801 h 38801"/>
                  <a:gd name="connsiteX4" fmla="*/ 59436 w 59436"/>
                  <a:gd name="connsiteY4" fmla="*/ 38801 h 38801"/>
                  <a:gd name="connsiteX5" fmla="*/ 59436 w 59436"/>
                  <a:gd name="connsiteY5" fmla="*/ 32705 h 38801"/>
                  <a:gd name="connsiteX6" fmla="*/ 53340 w 59436"/>
                  <a:gd name="connsiteY6" fmla="*/ 26609 h 38801"/>
                  <a:gd name="connsiteX7" fmla="*/ 45415 w 59436"/>
                  <a:gd name="connsiteY7" fmla="*/ 26609 h 3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36" h="38801">
                    <a:moveTo>
                      <a:pt x="45415" y="26609"/>
                    </a:moveTo>
                    <a:lnTo>
                      <a:pt x="34442" y="0"/>
                    </a:lnTo>
                    <a:lnTo>
                      <a:pt x="0" y="13106"/>
                    </a:lnTo>
                    <a:lnTo>
                      <a:pt x="11278" y="38801"/>
                    </a:lnTo>
                    <a:lnTo>
                      <a:pt x="59436" y="38801"/>
                    </a:lnTo>
                    <a:lnTo>
                      <a:pt x="59436" y="32705"/>
                    </a:lnTo>
                    <a:cubicBezTo>
                      <a:pt x="59436" y="29340"/>
                      <a:pt x="56705" y="26609"/>
                      <a:pt x="53340" y="26609"/>
                    </a:cubicBezTo>
                    <a:lnTo>
                      <a:pt x="45415" y="26609"/>
                    </a:lnTo>
                    <a:close/>
                  </a:path>
                </a:pathLst>
              </a:custGeom>
              <a:solidFill>
                <a:srgbClr val="9765FE"/>
              </a:solidFill>
              <a:ln w="610" cap="flat">
                <a:noFill/>
                <a:prstDash val="solid"/>
                <a:miter/>
              </a:ln>
            </p:spPr>
            <p:txBody>
              <a:bodyPr rtlCol="0" anchor="ctr"/>
              <a:lstStyle/>
              <a:p>
                <a:endParaRPr lang="en-US"/>
              </a:p>
            </p:txBody>
          </p:sp>
          <p:sp>
            <p:nvSpPr>
              <p:cNvPr id="956" name="Freeform: Shape 955">
                <a:extLst>
                  <a:ext uri="{FF2B5EF4-FFF2-40B4-BE49-F238E27FC236}">
                    <a16:creationId xmlns:a16="http://schemas.microsoft.com/office/drawing/2014/main" id="{E3944273-6A72-E2AE-9EC6-15391E8B3FA8}"/>
                  </a:ext>
                </a:extLst>
              </p:cNvPr>
              <p:cNvSpPr/>
              <p:nvPr/>
            </p:nvSpPr>
            <p:spPr>
              <a:xfrm rot="17938202">
                <a:off x="2315666" y="3953860"/>
                <a:ext cx="65865" cy="45126"/>
              </a:xfrm>
              <a:custGeom>
                <a:avLst/>
                <a:gdLst>
                  <a:gd name="connsiteX0" fmla="*/ 0 w 20250"/>
                  <a:gd name="connsiteY0" fmla="*/ 0 h 13874"/>
                  <a:gd name="connsiteX1" fmla="*/ 20251 w 20250"/>
                  <a:gd name="connsiteY1" fmla="*/ 0 h 13874"/>
                  <a:gd name="connsiteX2" fmla="*/ 20251 w 20250"/>
                  <a:gd name="connsiteY2" fmla="*/ 13874 h 13874"/>
                  <a:gd name="connsiteX3" fmla="*/ 0 w 20250"/>
                  <a:gd name="connsiteY3" fmla="*/ 13874 h 13874"/>
                </a:gdLst>
                <a:ahLst/>
                <a:cxnLst>
                  <a:cxn ang="0">
                    <a:pos x="connsiteX0" y="connsiteY0"/>
                  </a:cxn>
                  <a:cxn ang="0">
                    <a:pos x="connsiteX1" y="connsiteY1"/>
                  </a:cxn>
                  <a:cxn ang="0">
                    <a:pos x="connsiteX2" y="connsiteY2"/>
                  </a:cxn>
                  <a:cxn ang="0">
                    <a:pos x="connsiteX3" y="connsiteY3"/>
                  </a:cxn>
                </a:cxnLst>
                <a:rect l="l" t="t" r="r" b="b"/>
                <a:pathLst>
                  <a:path w="20250" h="13874">
                    <a:moveTo>
                      <a:pt x="0" y="0"/>
                    </a:moveTo>
                    <a:lnTo>
                      <a:pt x="20251" y="0"/>
                    </a:lnTo>
                    <a:lnTo>
                      <a:pt x="20251" y="13874"/>
                    </a:lnTo>
                    <a:lnTo>
                      <a:pt x="0" y="13874"/>
                    </a:lnTo>
                    <a:close/>
                  </a:path>
                </a:pathLst>
              </a:custGeom>
              <a:solidFill>
                <a:srgbClr val="9765FE"/>
              </a:solidFill>
              <a:ln w="610" cap="flat">
                <a:noFill/>
                <a:prstDash val="solid"/>
                <a:miter/>
              </a:ln>
            </p:spPr>
            <p:txBody>
              <a:bodyPr rtlCol="0" anchor="ctr"/>
              <a:lstStyle/>
              <a:p>
                <a:endParaRPr lang="en-US"/>
              </a:p>
            </p:txBody>
          </p:sp>
          <p:sp>
            <p:nvSpPr>
              <p:cNvPr id="957" name="Freeform: Shape 956">
                <a:extLst>
                  <a:ext uri="{FF2B5EF4-FFF2-40B4-BE49-F238E27FC236}">
                    <a16:creationId xmlns:a16="http://schemas.microsoft.com/office/drawing/2014/main" id="{9E487D1C-3102-9FED-6938-5F48EBBBD943}"/>
                  </a:ext>
                </a:extLst>
              </p:cNvPr>
              <p:cNvSpPr/>
              <p:nvPr/>
            </p:nvSpPr>
            <p:spPr>
              <a:xfrm>
                <a:off x="2278554" y="3958840"/>
                <a:ext cx="107329" cy="78953"/>
              </a:xfrm>
              <a:custGeom>
                <a:avLst/>
                <a:gdLst>
                  <a:gd name="connsiteX0" fmla="*/ 1408 w 32998"/>
                  <a:gd name="connsiteY0" fmla="*/ 4712 h 24274"/>
                  <a:gd name="connsiteX1" fmla="*/ 6236 w 32998"/>
                  <a:gd name="connsiteY1" fmla="*/ 1591 h 24274"/>
                  <a:gd name="connsiteX2" fmla="*/ 25207 w 32998"/>
                  <a:gd name="connsiteY2" fmla="*/ 0 h 24274"/>
                  <a:gd name="connsiteX3" fmla="*/ 32461 w 32998"/>
                  <a:gd name="connsiteY3" fmla="*/ 16087 h 24274"/>
                  <a:gd name="connsiteX4" fmla="*/ 32236 w 32998"/>
                  <a:gd name="connsiteY4" fmla="*/ 21543 h 24274"/>
                  <a:gd name="connsiteX5" fmla="*/ 30724 w 32998"/>
                  <a:gd name="connsiteY5" fmla="*/ 24274 h 24274"/>
                  <a:gd name="connsiteX6" fmla="*/ 0 w 32998"/>
                  <a:gd name="connsiteY6" fmla="*/ 7260 h 24274"/>
                  <a:gd name="connsiteX7" fmla="*/ 1408 w 32998"/>
                  <a:gd name="connsiteY7" fmla="*/ 4712 h 24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98" h="24274">
                    <a:moveTo>
                      <a:pt x="1408" y="4712"/>
                    </a:moveTo>
                    <a:cubicBezTo>
                      <a:pt x="2396" y="2932"/>
                      <a:pt x="4206" y="1762"/>
                      <a:pt x="6236" y="1591"/>
                    </a:cubicBezTo>
                    <a:lnTo>
                      <a:pt x="25207" y="0"/>
                    </a:lnTo>
                    <a:lnTo>
                      <a:pt x="32461" y="16087"/>
                    </a:lnTo>
                    <a:cubicBezTo>
                      <a:pt x="33248" y="17843"/>
                      <a:pt x="33168" y="19861"/>
                      <a:pt x="32236" y="21543"/>
                    </a:cubicBezTo>
                    <a:lnTo>
                      <a:pt x="30724" y="24274"/>
                    </a:lnTo>
                    <a:lnTo>
                      <a:pt x="0" y="7260"/>
                    </a:lnTo>
                    <a:lnTo>
                      <a:pt x="1408" y="4712"/>
                    </a:lnTo>
                    <a:close/>
                  </a:path>
                </a:pathLst>
              </a:custGeom>
              <a:solidFill>
                <a:srgbClr val="9765FE"/>
              </a:solidFill>
              <a:ln w="610" cap="flat">
                <a:noFill/>
                <a:prstDash val="solid"/>
                <a:miter/>
              </a:ln>
            </p:spPr>
            <p:txBody>
              <a:bodyPr rtlCol="0" anchor="ctr"/>
              <a:lstStyle/>
              <a:p>
                <a:endParaRPr lang="en-US"/>
              </a:p>
            </p:txBody>
          </p:sp>
          <p:sp>
            <p:nvSpPr>
              <p:cNvPr id="958" name="Freeform: Shape 957">
                <a:extLst>
                  <a:ext uri="{FF2B5EF4-FFF2-40B4-BE49-F238E27FC236}">
                    <a16:creationId xmlns:a16="http://schemas.microsoft.com/office/drawing/2014/main" id="{935006FE-512A-9282-BCC5-F28A645E32F3}"/>
                  </a:ext>
                </a:extLst>
              </p:cNvPr>
              <p:cNvSpPr/>
              <p:nvPr/>
            </p:nvSpPr>
            <p:spPr>
              <a:xfrm>
                <a:off x="2324855" y="3906991"/>
                <a:ext cx="79311" cy="79311"/>
              </a:xfrm>
              <a:custGeom>
                <a:avLst/>
                <a:gdLst>
                  <a:gd name="connsiteX0" fmla="*/ 24384 w 24384"/>
                  <a:gd name="connsiteY0" fmla="*/ 12192 h 24384"/>
                  <a:gd name="connsiteX1" fmla="*/ 12192 w 24384"/>
                  <a:gd name="connsiteY1" fmla="*/ 24384 h 24384"/>
                  <a:gd name="connsiteX2" fmla="*/ 0 w 24384"/>
                  <a:gd name="connsiteY2" fmla="*/ 12192 h 24384"/>
                  <a:gd name="connsiteX3" fmla="*/ 12192 w 24384"/>
                  <a:gd name="connsiteY3" fmla="*/ 0 h 24384"/>
                  <a:gd name="connsiteX4" fmla="*/ 24384 w 24384"/>
                  <a:gd name="connsiteY4" fmla="*/ 12192 h 2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 h="24384">
                    <a:moveTo>
                      <a:pt x="24384" y="12192"/>
                    </a:moveTo>
                    <a:cubicBezTo>
                      <a:pt x="24384" y="18925"/>
                      <a:pt x="18926" y="24384"/>
                      <a:pt x="12192" y="24384"/>
                    </a:cubicBezTo>
                    <a:cubicBezTo>
                      <a:pt x="5458" y="24384"/>
                      <a:pt x="0" y="18925"/>
                      <a:pt x="0" y="12192"/>
                    </a:cubicBezTo>
                    <a:cubicBezTo>
                      <a:pt x="0" y="5459"/>
                      <a:pt x="5458" y="0"/>
                      <a:pt x="12192" y="0"/>
                    </a:cubicBezTo>
                    <a:cubicBezTo>
                      <a:pt x="18926" y="0"/>
                      <a:pt x="24384" y="5459"/>
                      <a:pt x="24384" y="12192"/>
                    </a:cubicBezTo>
                    <a:close/>
                  </a:path>
                </a:pathLst>
              </a:custGeom>
              <a:solidFill>
                <a:srgbClr val="001135"/>
              </a:solidFill>
              <a:ln w="610" cap="flat">
                <a:noFill/>
                <a:prstDash val="solid"/>
                <a:miter/>
              </a:ln>
            </p:spPr>
            <p:txBody>
              <a:bodyPr rtlCol="0" anchor="ctr"/>
              <a:lstStyle/>
              <a:p>
                <a:endParaRPr lang="en-US"/>
              </a:p>
            </p:txBody>
          </p:sp>
          <p:sp>
            <p:nvSpPr>
              <p:cNvPr id="959" name="Freeform: Shape 958">
                <a:extLst>
                  <a:ext uri="{FF2B5EF4-FFF2-40B4-BE49-F238E27FC236}">
                    <a16:creationId xmlns:a16="http://schemas.microsoft.com/office/drawing/2014/main" id="{D9BEE96A-49E7-3C04-A542-36FD400CC2C1}"/>
                  </a:ext>
                </a:extLst>
              </p:cNvPr>
              <p:cNvSpPr/>
              <p:nvPr/>
            </p:nvSpPr>
            <p:spPr>
              <a:xfrm>
                <a:off x="2398158" y="4251378"/>
                <a:ext cx="132487" cy="132488"/>
              </a:xfrm>
              <a:custGeom>
                <a:avLst/>
                <a:gdLst>
                  <a:gd name="connsiteX0" fmla="*/ 40733 w 40733"/>
                  <a:gd name="connsiteY0" fmla="*/ 20367 h 40733"/>
                  <a:gd name="connsiteX1" fmla="*/ 20367 w 40733"/>
                  <a:gd name="connsiteY1" fmla="*/ 40734 h 40733"/>
                  <a:gd name="connsiteX2" fmla="*/ 0 w 40733"/>
                  <a:gd name="connsiteY2" fmla="*/ 20367 h 40733"/>
                  <a:gd name="connsiteX3" fmla="*/ 20367 w 40733"/>
                  <a:gd name="connsiteY3" fmla="*/ 0 h 40733"/>
                  <a:gd name="connsiteX4" fmla="*/ 40733 w 40733"/>
                  <a:gd name="connsiteY4" fmla="*/ 20367 h 40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33" h="40733">
                    <a:moveTo>
                      <a:pt x="40733" y="20367"/>
                    </a:moveTo>
                    <a:cubicBezTo>
                      <a:pt x="40733" y="31615"/>
                      <a:pt x="31615" y="40734"/>
                      <a:pt x="20367" y="40734"/>
                    </a:cubicBezTo>
                    <a:cubicBezTo>
                      <a:pt x="9119" y="40734"/>
                      <a:pt x="0" y="31615"/>
                      <a:pt x="0" y="20367"/>
                    </a:cubicBezTo>
                    <a:cubicBezTo>
                      <a:pt x="0" y="9119"/>
                      <a:pt x="9118" y="0"/>
                      <a:pt x="20367" y="0"/>
                    </a:cubicBezTo>
                    <a:cubicBezTo>
                      <a:pt x="31615" y="0"/>
                      <a:pt x="40733" y="9118"/>
                      <a:pt x="40733" y="20367"/>
                    </a:cubicBezTo>
                    <a:close/>
                  </a:path>
                </a:pathLst>
              </a:custGeom>
              <a:solidFill>
                <a:srgbClr val="001135"/>
              </a:solidFill>
              <a:ln w="610" cap="flat">
                <a:noFill/>
                <a:prstDash val="solid"/>
                <a:miter/>
              </a:ln>
            </p:spPr>
            <p:txBody>
              <a:bodyPr rtlCol="0" anchor="ctr"/>
              <a:lstStyle/>
              <a:p>
                <a:endParaRPr lang="en-US"/>
              </a:p>
            </p:txBody>
          </p:sp>
          <p:sp>
            <p:nvSpPr>
              <p:cNvPr id="960" name="Freeform: Shape 959">
                <a:extLst>
                  <a:ext uri="{FF2B5EF4-FFF2-40B4-BE49-F238E27FC236}">
                    <a16:creationId xmlns:a16="http://schemas.microsoft.com/office/drawing/2014/main" id="{D46D458B-5FD6-6459-3EC6-34008A0A1B8F}"/>
                  </a:ext>
                </a:extLst>
              </p:cNvPr>
              <p:cNvSpPr/>
              <p:nvPr/>
            </p:nvSpPr>
            <p:spPr>
              <a:xfrm>
                <a:off x="3157620" y="3060899"/>
                <a:ext cx="174482" cy="931648"/>
              </a:xfrm>
              <a:custGeom>
                <a:avLst/>
                <a:gdLst>
                  <a:gd name="connsiteX0" fmla="*/ 53645 w 53644"/>
                  <a:gd name="connsiteY0" fmla="*/ 35314 h 482803"/>
                  <a:gd name="connsiteX1" fmla="*/ 18331 w 53644"/>
                  <a:gd name="connsiteY1" fmla="*/ 0 h 482803"/>
                  <a:gd name="connsiteX2" fmla="*/ 0 w 53644"/>
                  <a:gd name="connsiteY2" fmla="*/ 0 h 482803"/>
                  <a:gd name="connsiteX3" fmla="*/ 0 w 53644"/>
                  <a:gd name="connsiteY3" fmla="*/ 482803 h 482803"/>
                  <a:gd name="connsiteX4" fmla="*/ 53645 w 53644"/>
                  <a:gd name="connsiteY4" fmla="*/ 482803 h 482803"/>
                  <a:gd name="connsiteX5" fmla="*/ 53645 w 53644"/>
                  <a:gd name="connsiteY5" fmla="*/ 35314 h 48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644" h="482803">
                    <a:moveTo>
                      <a:pt x="53645" y="35314"/>
                    </a:moveTo>
                    <a:cubicBezTo>
                      <a:pt x="53645" y="15807"/>
                      <a:pt x="37838" y="0"/>
                      <a:pt x="18331" y="0"/>
                    </a:cubicBezTo>
                    <a:lnTo>
                      <a:pt x="0" y="0"/>
                    </a:lnTo>
                    <a:lnTo>
                      <a:pt x="0" y="482803"/>
                    </a:lnTo>
                    <a:lnTo>
                      <a:pt x="53645" y="482803"/>
                    </a:lnTo>
                    <a:lnTo>
                      <a:pt x="53645" y="35314"/>
                    </a:lnTo>
                    <a:close/>
                  </a:path>
                </a:pathLst>
              </a:custGeom>
              <a:solidFill>
                <a:srgbClr val="FDC6F9"/>
              </a:solidFill>
              <a:ln w="610" cap="flat">
                <a:noFill/>
                <a:prstDash val="solid"/>
                <a:miter/>
              </a:ln>
            </p:spPr>
            <p:txBody>
              <a:bodyPr rtlCol="0" anchor="ctr"/>
              <a:lstStyle/>
              <a:p>
                <a:endParaRPr lang="en-US"/>
              </a:p>
            </p:txBody>
          </p:sp>
          <p:sp>
            <p:nvSpPr>
              <p:cNvPr id="961" name="Freeform: Shape 960">
                <a:extLst>
                  <a:ext uri="{FF2B5EF4-FFF2-40B4-BE49-F238E27FC236}">
                    <a16:creationId xmlns:a16="http://schemas.microsoft.com/office/drawing/2014/main" id="{FA4C17EC-D196-BE5B-775A-124C57CF6F83}"/>
                  </a:ext>
                </a:extLst>
              </p:cNvPr>
              <p:cNvSpPr/>
              <p:nvPr/>
            </p:nvSpPr>
            <p:spPr>
              <a:xfrm>
                <a:off x="3328137" y="3283525"/>
                <a:ext cx="265690" cy="709021"/>
              </a:xfrm>
              <a:custGeom>
                <a:avLst/>
                <a:gdLst>
                  <a:gd name="connsiteX0" fmla="*/ 81686 w 81686"/>
                  <a:gd name="connsiteY0" fmla="*/ 0 h 335280"/>
                  <a:gd name="connsiteX1" fmla="*/ 0 w 81686"/>
                  <a:gd name="connsiteY1" fmla="*/ 0 h 335280"/>
                  <a:gd name="connsiteX2" fmla="*/ 0 w 81686"/>
                  <a:gd name="connsiteY2" fmla="*/ 335280 h 335280"/>
                  <a:gd name="connsiteX3" fmla="*/ 81686 w 81686"/>
                  <a:gd name="connsiteY3" fmla="*/ 335280 h 335280"/>
                  <a:gd name="connsiteX4" fmla="*/ 81686 w 81686"/>
                  <a:gd name="connsiteY4" fmla="*/ 0 h 335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686" h="335280">
                    <a:moveTo>
                      <a:pt x="81686" y="0"/>
                    </a:moveTo>
                    <a:lnTo>
                      <a:pt x="0" y="0"/>
                    </a:lnTo>
                    <a:lnTo>
                      <a:pt x="0" y="335280"/>
                    </a:lnTo>
                    <a:lnTo>
                      <a:pt x="81686" y="335280"/>
                    </a:lnTo>
                    <a:lnTo>
                      <a:pt x="81686" y="0"/>
                    </a:lnTo>
                    <a:close/>
                  </a:path>
                </a:pathLst>
              </a:custGeom>
              <a:solidFill>
                <a:srgbClr val="FDC6F9"/>
              </a:solidFill>
              <a:ln w="610" cap="flat">
                <a:noFill/>
                <a:prstDash val="solid"/>
                <a:miter/>
              </a:ln>
            </p:spPr>
            <p:txBody>
              <a:bodyPr rtlCol="0" anchor="ctr"/>
              <a:lstStyle/>
              <a:p>
                <a:endParaRPr lang="en-US"/>
              </a:p>
            </p:txBody>
          </p:sp>
          <p:sp>
            <p:nvSpPr>
              <p:cNvPr id="962" name="Freeform: Shape 961">
                <a:extLst>
                  <a:ext uri="{FF2B5EF4-FFF2-40B4-BE49-F238E27FC236}">
                    <a16:creationId xmlns:a16="http://schemas.microsoft.com/office/drawing/2014/main" id="{3572AF61-EF6F-5E2B-858C-8275788120E5}"/>
                  </a:ext>
                </a:extLst>
              </p:cNvPr>
              <p:cNvSpPr/>
              <p:nvPr/>
            </p:nvSpPr>
            <p:spPr>
              <a:xfrm>
                <a:off x="3593830" y="3375834"/>
                <a:ext cx="261726" cy="616706"/>
              </a:xfrm>
              <a:custGeom>
                <a:avLst/>
                <a:gdLst>
                  <a:gd name="connsiteX0" fmla="*/ 0 w 80467"/>
                  <a:gd name="connsiteY0" fmla="*/ 35314 h 241401"/>
                  <a:gd name="connsiteX1" fmla="*/ 35314 w 80467"/>
                  <a:gd name="connsiteY1" fmla="*/ 0 h 241401"/>
                  <a:gd name="connsiteX2" fmla="*/ 80467 w 80467"/>
                  <a:gd name="connsiteY2" fmla="*/ 0 h 241401"/>
                  <a:gd name="connsiteX3" fmla="*/ 80467 w 80467"/>
                  <a:gd name="connsiteY3" fmla="*/ 241402 h 241401"/>
                  <a:gd name="connsiteX4" fmla="*/ 0 w 80467"/>
                  <a:gd name="connsiteY4" fmla="*/ 241402 h 241401"/>
                  <a:gd name="connsiteX5" fmla="*/ 0 w 80467"/>
                  <a:gd name="connsiteY5" fmla="*/ 35314 h 24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467" h="241401">
                    <a:moveTo>
                      <a:pt x="0" y="35314"/>
                    </a:moveTo>
                    <a:cubicBezTo>
                      <a:pt x="0" y="15807"/>
                      <a:pt x="15807" y="0"/>
                      <a:pt x="35314" y="0"/>
                    </a:cubicBezTo>
                    <a:lnTo>
                      <a:pt x="80467" y="0"/>
                    </a:lnTo>
                    <a:lnTo>
                      <a:pt x="80467" y="241402"/>
                    </a:lnTo>
                    <a:lnTo>
                      <a:pt x="0" y="241402"/>
                    </a:lnTo>
                    <a:lnTo>
                      <a:pt x="0" y="35314"/>
                    </a:lnTo>
                    <a:close/>
                  </a:path>
                </a:pathLst>
              </a:custGeom>
              <a:solidFill>
                <a:srgbClr val="FDC6F9"/>
              </a:solidFill>
              <a:ln w="610" cap="flat">
                <a:noFill/>
                <a:prstDash val="solid"/>
                <a:miter/>
              </a:ln>
            </p:spPr>
            <p:txBody>
              <a:bodyPr rtlCol="0" anchor="ctr"/>
              <a:lstStyle/>
              <a:p>
                <a:endParaRPr lang="en-US"/>
              </a:p>
            </p:txBody>
          </p:sp>
          <p:sp>
            <p:nvSpPr>
              <p:cNvPr id="963" name="Freeform: Shape 962">
                <a:extLst>
                  <a:ext uri="{FF2B5EF4-FFF2-40B4-BE49-F238E27FC236}">
                    <a16:creationId xmlns:a16="http://schemas.microsoft.com/office/drawing/2014/main" id="{85876D8E-C470-8CB3-0404-A12BC154EAEC}"/>
                  </a:ext>
                </a:extLst>
              </p:cNvPr>
              <p:cNvSpPr/>
              <p:nvPr/>
            </p:nvSpPr>
            <p:spPr>
              <a:xfrm>
                <a:off x="3764880" y="3251978"/>
                <a:ext cx="3965" cy="176466"/>
              </a:xfrm>
              <a:custGeom>
                <a:avLst/>
                <a:gdLst>
                  <a:gd name="connsiteX0" fmla="*/ 1219 w 1219"/>
                  <a:gd name="connsiteY0" fmla="*/ 0 h 54254"/>
                  <a:gd name="connsiteX1" fmla="*/ 1219 w 1219"/>
                  <a:gd name="connsiteY1" fmla="*/ 54254 h 54254"/>
                  <a:gd name="connsiteX2" fmla="*/ 0 w 1219"/>
                  <a:gd name="connsiteY2" fmla="*/ 54254 h 54254"/>
                  <a:gd name="connsiteX3" fmla="*/ 0 w 1219"/>
                  <a:gd name="connsiteY3" fmla="*/ 0 h 54254"/>
                  <a:gd name="connsiteX4" fmla="*/ 1219 w 1219"/>
                  <a:gd name="connsiteY4" fmla="*/ 0 h 54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 h="54254">
                    <a:moveTo>
                      <a:pt x="1219" y="0"/>
                    </a:moveTo>
                    <a:lnTo>
                      <a:pt x="1219" y="54254"/>
                    </a:lnTo>
                    <a:lnTo>
                      <a:pt x="0" y="54254"/>
                    </a:lnTo>
                    <a:lnTo>
                      <a:pt x="0" y="0"/>
                    </a:lnTo>
                    <a:lnTo>
                      <a:pt x="1219" y="0"/>
                    </a:lnTo>
                    <a:close/>
                  </a:path>
                </a:pathLst>
              </a:custGeom>
              <a:solidFill>
                <a:srgbClr val="FDC6F9"/>
              </a:solidFill>
              <a:ln w="610" cap="flat">
                <a:noFill/>
                <a:prstDash val="solid"/>
                <a:miter/>
              </a:ln>
            </p:spPr>
            <p:txBody>
              <a:bodyPr rtlCol="0" anchor="ctr"/>
              <a:lstStyle/>
              <a:p>
                <a:endParaRPr lang="en-US"/>
              </a:p>
            </p:txBody>
          </p:sp>
          <p:sp>
            <p:nvSpPr>
              <p:cNvPr id="964" name="Freeform: Shape 963">
                <a:extLst>
                  <a:ext uri="{FF2B5EF4-FFF2-40B4-BE49-F238E27FC236}">
                    <a16:creationId xmlns:a16="http://schemas.microsoft.com/office/drawing/2014/main" id="{6E01E7F8-22C4-C649-9F56-9B9416F948A3}"/>
                  </a:ext>
                </a:extLst>
              </p:cNvPr>
              <p:cNvSpPr/>
              <p:nvPr/>
            </p:nvSpPr>
            <p:spPr>
              <a:xfrm>
                <a:off x="3915039" y="2980784"/>
                <a:ext cx="151125" cy="1011661"/>
              </a:xfrm>
              <a:custGeom>
                <a:avLst/>
                <a:gdLst>
                  <a:gd name="connsiteX0" fmla="*/ 46464 w 46463"/>
                  <a:gd name="connsiteY0" fmla="*/ 30480 h 418155"/>
                  <a:gd name="connsiteX1" fmla="*/ 15984 w 46463"/>
                  <a:gd name="connsiteY1" fmla="*/ 0 h 418155"/>
                  <a:gd name="connsiteX2" fmla="*/ 0 w 46463"/>
                  <a:gd name="connsiteY2" fmla="*/ 0 h 418155"/>
                  <a:gd name="connsiteX3" fmla="*/ 0 w 46463"/>
                  <a:gd name="connsiteY3" fmla="*/ 418155 h 418155"/>
                  <a:gd name="connsiteX4" fmla="*/ 46464 w 46463"/>
                  <a:gd name="connsiteY4" fmla="*/ 418155 h 418155"/>
                  <a:gd name="connsiteX5" fmla="*/ 46464 w 46463"/>
                  <a:gd name="connsiteY5" fmla="*/ 30480 h 41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63" h="418155">
                    <a:moveTo>
                      <a:pt x="46464" y="30480"/>
                    </a:moveTo>
                    <a:cubicBezTo>
                      <a:pt x="46464" y="13649"/>
                      <a:pt x="32815" y="0"/>
                      <a:pt x="15984" y="0"/>
                    </a:cubicBezTo>
                    <a:lnTo>
                      <a:pt x="0" y="0"/>
                    </a:lnTo>
                    <a:lnTo>
                      <a:pt x="0" y="418155"/>
                    </a:lnTo>
                    <a:lnTo>
                      <a:pt x="46464" y="418155"/>
                    </a:lnTo>
                    <a:lnTo>
                      <a:pt x="46464" y="30480"/>
                    </a:lnTo>
                    <a:close/>
                  </a:path>
                </a:pathLst>
              </a:custGeom>
              <a:solidFill>
                <a:srgbClr val="FDC6F9"/>
              </a:solidFill>
              <a:ln w="610" cap="flat">
                <a:noFill/>
                <a:prstDash val="solid"/>
                <a:miter/>
              </a:ln>
            </p:spPr>
            <p:txBody>
              <a:bodyPr rtlCol="0" anchor="ctr"/>
              <a:lstStyle/>
              <a:p>
                <a:endParaRPr lang="en-US"/>
              </a:p>
            </p:txBody>
          </p:sp>
          <p:sp>
            <p:nvSpPr>
              <p:cNvPr id="965" name="Freeform: Shape 964">
                <a:extLst>
                  <a:ext uri="{FF2B5EF4-FFF2-40B4-BE49-F238E27FC236}">
                    <a16:creationId xmlns:a16="http://schemas.microsoft.com/office/drawing/2014/main" id="{B851A1FB-DAB7-9E85-AD63-6B8006EAE4AE}"/>
                  </a:ext>
                </a:extLst>
              </p:cNvPr>
              <p:cNvSpPr/>
              <p:nvPr/>
            </p:nvSpPr>
            <p:spPr>
              <a:xfrm>
                <a:off x="925014" y="4387098"/>
                <a:ext cx="593798" cy="51570"/>
              </a:xfrm>
              <a:custGeom>
                <a:avLst/>
                <a:gdLst>
                  <a:gd name="connsiteX0" fmla="*/ 0 w 182562"/>
                  <a:gd name="connsiteY0" fmla="*/ 12192 h 15855"/>
                  <a:gd name="connsiteX1" fmla="*/ 12192 w 182562"/>
                  <a:gd name="connsiteY1" fmla="*/ 0 h 15855"/>
                  <a:gd name="connsiteX2" fmla="*/ 182563 w 182562"/>
                  <a:gd name="connsiteY2" fmla="*/ 0 h 15855"/>
                  <a:gd name="connsiteX3" fmla="*/ 182563 w 182562"/>
                  <a:gd name="connsiteY3" fmla="*/ 15856 h 15855"/>
                  <a:gd name="connsiteX4" fmla="*/ 0 w 182562"/>
                  <a:gd name="connsiteY4" fmla="*/ 15856 h 15855"/>
                  <a:gd name="connsiteX5" fmla="*/ 0 w 182562"/>
                  <a:gd name="connsiteY5" fmla="*/ 12192 h 1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562" h="15855">
                    <a:moveTo>
                      <a:pt x="0" y="12192"/>
                    </a:moveTo>
                    <a:cubicBezTo>
                      <a:pt x="0" y="5456"/>
                      <a:pt x="5456" y="0"/>
                      <a:pt x="12192" y="0"/>
                    </a:cubicBezTo>
                    <a:lnTo>
                      <a:pt x="182563" y="0"/>
                    </a:lnTo>
                    <a:lnTo>
                      <a:pt x="182563" y="15856"/>
                    </a:lnTo>
                    <a:lnTo>
                      <a:pt x="0" y="15856"/>
                    </a:lnTo>
                    <a:lnTo>
                      <a:pt x="0" y="12192"/>
                    </a:lnTo>
                    <a:close/>
                  </a:path>
                </a:pathLst>
              </a:custGeom>
              <a:solidFill>
                <a:srgbClr val="9765FE"/>
              </a:solidFill>
              <a:ln w="610" cap="flat">
                <a:noFill/>
                <a:prstDash val="solid"/>
                <a:miter/>
              </a:ln>
            </p:spPr>
            <p:txBody>
              <a:bodyPr rtlCol="0" anchor="ctr"/>
              <a:lstStyle/>
              <a:p>
                <a:endParaRPr lang="en-US"/>
              </a:p>
            </p:txBody>
          </p:sp>
          <p:sp>
            <p:nvSpPr>
              <p:cNvPr id="966" name="Freeform: Shape 965">
                <a:extLst>
                  <a:ext uri="{FF2B5EF4-FFF2-40B4-BE49-F238E27FC236}">
                    <a16:creationId xmlns:a16="http://schemas.microsoft.com/office/drawing/2014/main" id="{59A97954-CB40-9B0E-413B-796FA892E6F4}"/>
                  </a:ext>
                </a:extLst>
              </p:cNvPr>
              <p:cNvSpPr/>
              <p:nvPr/>
            </p:nvSpPr>
            <p:spPr>
              <a:xfrm>
                <a:off x="1159100" y="3857717"/>
                <a:ext cx="134670" cy="133024"/>
              </a:xfrm>
              <a:custGeom>
                <a:avLst/>
                <a:gdLst>
                  <a:gd name="connsiteX0" fmla="*/ 0 w 41404"/>
                  <a:gd name="connsiteY0" fmla="*/ 0 h 40898"/>
                  <a:gd name="connsiteX1" fmla="*/ 41404 w 41404"/>
                  <a:gd name="connsiteY1" fmla="*/ 0 h 40898"/>
                  <a:gd name="connsiteX2" fmla="*/ 41404 w 41404"/>
                  <a:gd name="connsiteY2" fmla="*/ 40898 h 40898"/>
                  <a:gd name="connsiteX3" fmla="*/ 0 w 41404"/>
                  <a:gd name="connsiteY3" fmla="*/ 40898 h 40898"/>
                </a:gdLst>
                <a:ahLst/>
                <a:cxnLst>
                  <a:cxn ang="0">
                    <a:pos x="connsiteX0" y="connsiteY0"/>
                  </a:cxn>
                  <a:cxn ang="0">
                    <a:pos x="connsiteX1" y="connsiteY1"/>
                  </a:cxn>
                  <a:cxn ang="0">
                    <a:pos x="connsiteX2" y="connsiteY2"/>
                  </a:cxn>
                  <a:cxn ang="0">
                    <a:pos x="connsiteX3" y="connsiteY3"/>
                  </a:cxn>
                </a:cxnLst>
                <a:rect l="l" t="t" r="r" b="b"/>
                <a:pathLst>
                  <a:path w="41404" h="40898">
                    <a:moveTo>
                      <a:pt x="0" y="0"/>
                    </a:moveTo>
                    <a:lnTo>
                      <a:pt x="41404" y="0"/>
                    </a:lnTo>
                    <a:lnTo>
                      <a:pt x="41404" y="40898"/>
                    </a:lnTo>
                    <a:lnTo>
                      <a:pt x="0" y="40898"/>
                    </a:lnTo>
                    <a:close/>
                  </a:path>
                </a:pathLst>
              </a:custGeom>
              <a:solidFill>
                <a:srgbClr val="001135"/>
              </a:solidFill>
              <a:ln w="610" cap="flat">
                <a:noFill/>
                <a:prstDash val="solid"/>
                <a:miter/>
              </a:ln>
            </p:spPr>
            <p:txBody>
              <a:bodyPr rtlCol="0" anchor="ctr"/>
              <a:lstStyle/>
              <a:p>
                <a:endParaRPr lang="en-US"/>
              </a:p>
            </p:txBody>
          </p:sp>
          <p:sp>
            <p:nvSpPr>
              <p:cNvPr id="967" name="Freeform: Shape 966">
                <a:extLst>
                  <a:ext uri="{FF2B5EF4-FFF2-40B4-BE49-F238E27FC236}">
                    <a16:creationId xmlns:a16="http://schemas.microsoft.com/office/drawing/2014/main" id="{9B854BF9-FDB5-96CC-6B61-487298834147}"/>
                  </a:ext>
                </a:extLst>
              </p:cNvPr>
              <p:cNvSpPr/>
              <p:nvPr/>
            </p:nvSpPr>
            <p:spPr>
              <a:xfrm>
                <a:off x="1159103" y="3990741"/>
                <a:ext cx="358822" cy="397703"/>
              </a:xfrm>
              <a:custGeom>
                <a:avLst/>
                <a:gdLst>
                  <a:gd name="connsiteX0" fmla="*/ 92031 w 110319"/>
                  <a:gd name="connsiteY0" fmla="*/ 0 h 122273"/>
                  <a:gd name="connsiteX1" fmla="*/ 110319 w 110319"/>
                  <a:gd name="connsiteY1" fmla="*/ 18288 h 122273"/>
                  <a:gd name="connsiteX2" fmla="*/ 110319 w 110319"/>
                  <a:gd name="connsiteY2" fmla="*/ 122274 h 122273"/>
                  <a:gd name="connsiteX3" fmla="*/ 65721 w 110319"/>
                  <a:gd name="connsiteY3" fmla="*/ 122274 h 122273"/>
                  <a:gd name="connsiteX4" fmla="*/ 65721 w 110319"/>
                  <a:gd name="connsiteY4" fmla="*/ 16770 h 122273"/>
                  <a:gd name="connsiteX5" fmla="*/ 53529 w 110319"/>
                  <a:gd name="connsiteY5" fmla="*/ 4578 h 122273"/>
                  <a:gd name="connsiteX6" fmla="*/ 4584 w 110319"/>
                  <a:gd name="connsiteY6" fmla="*/ 4578 h 122273"/>
                  <a:gd name="connsiteX7" fmla="*/ 0 w 110319"/>
                  <a:gd name="connsiteY7" fmla="*/ 0 h 122273"/>
                  <a:gd name="connsiteX8" fmla="*/ 92031 w 110319"/>
                  <a:gd name="connsiteY8" fmla="*/ 0 h 12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319" h="122273">
                    <a:moveTo>
                      <a:pt x="92031" y="0"/>
                    </a:moveTo>
                    <a:cubicBezTo>
                      <a:pt x="102132" y="0"/>
                      <a:pt x="110319" y="8187"/>
                      <a:pt x="110319" y="18288"/>
                    </a:cubicBezTo>
                    <a:lnTo>
                      <a:pt x="110319" y="122274"/>
                    </a:lnTo>
                    <a:lnTo>
                      <a:pt x="65721" y="122274"/>
                    </a:lnTo>
                    <a:lnTo>
                      <a:pt x="65721" y="16770"/>
                    </a:lnTo>
                    <a:cubicBezTo>
                      <a:pt x="65721" y="10040"/>
                      <a:pt x="60259" y="4578"/>
                      <a:pt x="53529" y="4578"/>
                    </a:cubicBezTo>
                    <a:lnTo>
                      <a:pt x="4584" y="4578"/>
                    </a:lnTo>
                    <a:cubicBezTo>
                      <a:pt x="2054" y="4578"/>
                      <a:pt x="0" y="2530"/>
                      <a:pt x="0" y="0"/>
                    </a:cubicBezTo>
                    <a:lnTo>
                      <a:pt x="92031" y="0"/>
                    </a:lnTo>
                    <a:close/>
                  </a:path>
                </a:pathLst>
              </a:custGeom>
              <a:solidFill>
                <a:srgbClr val="9765FE"/>
              </a:solidFill>
              <a:ln w="610" cap="flat">
                <a:noFill/>
                <a:prstDash val="solid"/>
                <a:miter/>
              </a:ln>
            </p:spPr>
            <p:txBody>
              <a:bodyPr rtlCol="0" anchor="ctr"/>
              <a:lstStyle/>
              <a:p>
                <a:endParaRPr lang="en-US"/>
              </a:p>
            </p:txBody>
          </p:sp>
          <p:sp>
            <p:nvSpPr>
              <p:cNvPr id="968" name="Freeform: Shape 967">
                <a:extLst>
                  <a:ext uri="{FF2B5EF4-FFF2-40B4-BE49-F238E27FC236}">
                    <a16:creationId xmlns:a16="http://schemas.microsoft.com/office/drawing/2014/main" id="{DC546F96-1C41-BC5A-6AF3-1C569EA9D4AB}"/>
                  </a:ext>
                </a:extLst>
              </p:cNvPr>
              <p:cNvSpPr/>
              <p:nvPr/>
            </p:nvSpPr>
            <p:spPr>
              <a:xfrm>
                <a:off x="1412164" y="4206111"/>
                <a:ext cx="341651" cy="180987"/>
              </a:xfrm>
              <a:custGeom>
                <a:avLst/>
                <a:gdLst>
                  <a:gd name="connsiteX0" fmla="*/ 18288 w 105040"/>
                  <a:gd name="connsiteY0" fmla="*/ 0 h 55644"/>
                  <a:gd name="connsiteX1" fmla="*/ 0 w 105040"/>
                  <a:gd name="connsiteY1" fmla="*/ 18288 h 55644"/>
                  <a:gd name="connsiteX2" fmla="*/ 0 w 105040"/>
                  <a:gd name="connsiteY2" fmla="*/ 55644 h 55644"/>
                  <a:gd name="connsiteX3" fmla="*/ 32790 w 105040"/>
                  <a:gd name="connsiteY3" fmla="*/ 55644 h 55644"/>
                  <a:gd name="connsiteX4" fmla="*/ 32790 w 105040"/>
                  <a:gd name="connsiteY4" fmla="*/ 16782 h 55644"/>
                  <a:gd name="connsiteX5" fmla="*/ 44982 w 105040"/>
                  <a:gd name="connsiteY5" fmla="*/ 4590 h 55644"/>
                  <a:gd name="connsiteX6" fmla="*/ 100450 w 105040"/>
                  <a:gd name="connsiteY6" fmla="*/ 4590 h 55644"/>
                  <a:gd name="connsiteX7" fmla="*/ 105040 w 105040"/>
                  <a:gd name="connsiteY7" fmla="*/ 0 h 55644"/>
                  <a:gd name="connsiteX8" fmla="*/ 18288 w 105040"/>
                  <a:gd name="connsiteY8" fmla="*/ 0 h 55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040" h="55644">
                    <a:moveTo>
                      <a:pt x="18288" y="0"/>
                    </a:moveTo>
                    <a:cubicBezTo>
                      <a:pt x="8193" y="0"/>
                      <a:pt x="0" y="8187"/>
                      <a:pt x="0" y="18288"/>
                    </a:cubicBezTo>
                    <a:lnTo>
                      <a:pt x="0" y="55644"/>
                    </a:lnTo>
                    <a:lnTo>
                      <a:pt x="32790" y="55644"/>
                    </a:lnTo>
                    <a:lnTo>
                      <a:pt x="32790" y="16782"/>
                    </a:lnTo>
                    <a:cubicBezTo>
                      <a:pt x="32790" y="10046"/>
                      <a:pt x="38252" y="4590"/>
                      <a:pt x="44982" y="4590"/>
                    </a:cubicBezTo>
                    <a:lnTo>
                      <a:pt x="100450" y="4590"/>
                    </a:lnTo>
                    <a:cubicBezTo>
                      <a:pt x="102986" y="4590"/>
                      <a:pt x="105040" y="2536"/>
                      <a:pt x="105040" y="0"/>
                    </a:cubicBezTo>
                    <a:lnTo>
                      <a:pt x="18288" y="0"/>
                    </a:lnTo>
                    <a:close/>
                  </a:path>
                </a:pathLst>
              </a:custGeom>
              <a:solidFill>
                <a:srgbClr val="9765FE"/>
              </a:solidFill>
              <a:ln w="610" cap="flat">
                <a:noFill/>
                <a:prstDash val="solid"/>
                <a:miter/>
              </a:ln>
            </p:spPr>
            <p:txBody>
              <a:bodyPr rtlCol="0" anchor="ctr"/>
              <a:lstStyle/>
              <a:p>
                <a:endParaRPr lang="en-US"/>
              </a:p>
            </p:txBody>
          </p:sp>
          <p:sp>
            <p:nvSpPr>
              <p:cNvPr id="969" name="Freeform: Shape 968">
                <a:extLst>
                  <a:ext uri="{FF2B5EF4-FFF2-40B4-BE49-F238E27FC236}">
                    <a16:creationId xmlns:a16="http://schemas.microsoft.com/office/drawing/2014/main" id="{94D95994-240B-1C9C-4202-11F7EE527D20}"/>
                  </a:ext>
                </a:extLst>
              </p:cNvPr>
              <p:cNvSpPr/>
              <p:nvPr/>
            </p:nvSpPr>
            <p:spPr>
              <a:xfrm>
                <a:off x="1619145" y="4067655"/>
                <a:ext cx="134670" cy="138456"/>
              </a:xfrm>
              <a:custGeom>
                <a:avLst/>
                <a:gdLst>
                  <a:gd name="connsiteX0" fmla="*/ 0 w 41404"/>
                  <a:gd name="connsiteY0" fmla="*/ 0 h 42568"/>
                  <a:gd name="connsiteX1" fmla="*/ 41404 w 41404"/>
                  <a:gd name="connsiteY1" fmla="*/ 0 h 42568"/>
                  <a:gd name="connsiteX2" fmla="*/ 41404 w 41404"/>
                  <a:gd name="connsiteY2" fmla="*/ 42568 h 42568"/>
                  <a:gd name="connsiteX3" fmla="*/ 0 w 41404"/>
                  <a:gd name="connsiteY3" fmla="*/ 42568 h 42568"/>
                </a:gdLst>
                <a:ahLst/>
                <a:cxnLst>
                  <a:cxn ang="0">
                    <a:pos x="connsiteX0" y="connsiteY0"/>
                  </a:cxn>
                  <a:cxn ang="0">
                    <a:pos x="connsiteX1" y="connsiteY1"/>
                  </a:cxn>
                  <a:cxn ang="0">
                    <a:pos x="connsiteX2" y="connsiteY2"/>
                  </a:cxn>
                  <a:cxn ang="0">
                    <a:pos x="connsiteX3" y="connsiteY3"/>
                  </a:cxn>
                </a:cxnLst>
                <a:rect l="l" t="t" r="r" b="b"/>
                <a:pathLst>
                  <a:path w="41404" h="42568">
                    <a:moveTo>
                      <a:pt x="0" y="0"/>
                    </a:moveTo>
                    <a:lnTo>
                      <a:pt x="41404" y="0"/>
                    </a:lnTo>
                    <a:lnTo>
                      <a:pt x="41404" y="42568"/>
                    </a:lnTo>
                    <a:lnTo>
                      <a:pt x="0" y="42568"/>
                    </a:lnTo>
                    <a:close/>
                  </a:path>
                </a:pathLst>
              </a:custGeom>
              <a:solidFill>
                <a:srgbClr val="001135"/>
              </a:solidFill>
              <a:ln w="610" cap="flat">
                <a:noFill/>
                <a:prstDash val="solid"/>
                <a:miter/>
              </a:ln>
            </p:spPr>
            <p:txBody>
              <a:bodyPr rtlCol="0" anchor="ctr"/>
              <a:lstStyle/>
              <a:p>
                <a:endParaRPr lang="en-US"/>
              </a:p>
            </p:txBody>
          </p:sp>
          <p:sp>
            <p:nvSpPr>
              <p:cNvPr id="970" name="Freeform: Shape 969">
                <a:extLst>
                  <a:ext uri="{FF2B5EF4-FFF2-40B4-BE49-F238E27FC236}">
                    <a16:creationId xmlns:a16="http://schemas.microsoft.com/office/drawing/2014/main" id="{80E36674-722F-7769-BA3F-98DD97E010DB}"/>
                  </a:ext>
                </a:extLst>
              </p:cNvPr>
              <p:cNvSpPr/>
              <p:nvPr/>
            </p:nvSpPr>
            <p:spPr>
              <a:xfrm>
                <a:off x="1159103" y="3927391"/>
                <a:ext cx="56943" cy="63347"/>
              </a:xfrm>
              <a:custGeom>
                <a:avLst/>
                <a:gdLst>
                  <a:gd name="connsiteX0" fmla="*/ 0 w 17507"/>
                  <a:gd name="connsiteY0" fmla="*/ 0 h 19476"/>
                  <a:gd name="connsiteX1" fmla="*/ 11412 w 17507"/>
                  <a:gd name="connsiteY1" fmla="*/ 0 h 19476"/>
                  <a:gd name="connsiteX2" fmla="*/ 17508 w 17507"/>
                  <a:gd name="connsiteY2" fmla="*/ 6096 h 19476"/>
                  <a:gd name="connsiteX3" fmla="*/ 17508 w 17507"/>
                  <a:gd name="connsiteY3" fmla="*/ 13381 h 19476"/>
                  <a:gd name="connsiteX4" fmla="*/ 11412 w 17507"/>
                  <a:gd name="connsiteY4" fmla="*/ 19477 h 19476"/>
                  <a:gd name="connsiteX5" fmla="*/ 0 w 17507"/>
                  <a:gd name="connsiteY5" fmla="*/ 19477 h 19476"/>
                  <a:gd name="connsiteX6" fmla="*/ 0 w 17507"/>
                  <a:gd name="connsiteY6" fmla="*/ 0 h 1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7" h="19476">
                    <a:moveTo>
                      <a:pt x="0" y="0"/>
                    </a:moveTo>
                    <a:lnTo>
                      <a:pt x="11412" y="0"/>
                    </a:lnTo>
                    <a:cubicBezTo>
                      <a:pt x="14777" y="0"/>
                      <a:pt x="17508" y="2731"/>
                      <a:pt x="17508" y="6096"/>
                    </a:cubicBezTo>
                    <a:lnTo>
                      <a:pt x="17508" y="13381"/>
                    </a:lnTo>
                    <a:cubicBezTo>
                      <a:pt x="17508" y="16746"/>
                      <a:pt x="14777" y="19477"/>
                      <a:pt x="11412" y="19477"/>
                    </a:cubicBezTo>
                    <a:lnTo>
                      <a:pt x="0" y="19477"/>
                    </a:lnTo>
                    <a:lnTo>
                      <a:pt x="0" y="0"/>
                    </a:lnTo>
                    <a:close/>
                  </a:path>
                </a:pathLst>
              </a:custGeom>
              <a:solidFill>
                <a:srgbClr val="FFFFFF"/>
              </a:solidFill>
              <a:ln w="610" cap="flat">
                <a:noFill/>
                <a:prstDash val="solid"/>
                <a:miter/>
              </a:ln>
            </p:spPr>
            <p:txBody>
              <a:bodyPr rtlCol="0" anchor="ctr"/>
              <a:lstStyle/>
              <a:p>
                <a:endParaRPr lang="en-US"/>
              </a:p>
            </p:txBody>
          </p:sp>
          <p:sp>
            <p:nvSpPr>
              <p:cNvPr id="971" name="Freeform: Shape 970">
                <a:extLst>
                  <a:ext uri="{FF2B5EF4-FFF2-40B4-BE49-F238E27FC236}">
                    <a16:creationId xmlns:a16="http://schemas.microsoft.com/office/drawing/2014/main" id="{BB641A7C-8EB9-5724-8674-460D5840D2A3}"/>
                  </a:ext>
                </a:extLst>
              </p:cNvPr>
              <p:cNvSpPr/>
              <p:nvPr/>
            </p:nvSpPr>
            <p:spPr>
              <a:xfrm>
                <a:off x="1398620" y="3966315"/>
                <a:ext cx="90373" cy="63328"/>
              </a:xfrm>
              <a:custGeom>
                <a:avLst/>
                <a:gdLst>
                  <a:gd name="connsiteX0" fmla="*/ 0 w 27785"/>
                  <a:gd name="connsiteY0" fmla="*/ 6096 h 19470"/>
                  <a:gd name="connsiteX1" fmla="*/ 6096 w 27785"/>
                  <a:gd name="connsiteY1" fmla="*/ 0 h 19470"/>
                  <a:gd name="connsiteX2" fmla="*/ 21690 w 27785"/>
                  <a:gd name="connsiteY2" fmla="*/ 0 h 19470"/>
                  <a:gd name="connsiteX3" fmla="*/ 27786 w 27785"/>
                  <a:gd name="connsiteY3" fmla="*/ 6096 h 19470"/>
                  <a:gd name="connsiteX4" fmla="*/ 27786 w 27785"/>
                  <a:gd name="connsiteY4" fmla="*/ 13375 h 19470"/>
                  <a:gd name="connsiteX5" fmla="*/ 21690 w 27785"/>
                  <a:gd name="connsiteY5" fmla="*/ 19471 h 19470"/>
                  <a:gd name="connsiteX6" fmla="*/ 6096 w 27785"/>
                  <a:gd name="connsiteY6" fmla="*/ 19471 h 19470"/>
                  <a:gd name="connsiteX7" fmla="*/ 0 w 27785"/>
                  <a:gd name="connsiteY7" fmla="*/ 13375 h 19470"/>
                  <a:gd name="connsiteX8" fmla="*/ 0 w 27785"/>
                  <a:gd name="connsiteY8" fmla="*/ 6096 h 1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85" h="19470">
                    <a:moveTo>
                      <a:pt x="0" y="6096"/>
                    </a:moveTo>
                    <a:cubicBezTo>
                      <a:pt x="0" y="2725"/>
                      <a:pt x="2725" y="0"/>
                      <a:pt x="6096" y="0"/>
                    </a:cubicBezTo>
                    <a:lnTo>
                      <a:pt x="21690" y="0"/>
                    </a:lnTo>
                    <a:cubicBezTo>
                      <a:pt x="25055" y="0"/>
                      <a:pt x="27786" y="2725"/>
                      <a:pt x="27786" y="6096"/>
                    </a:cubicBezTo>
                    <a:lnTo>
                      <a:pt x="27786" y="13375"/>
                    </a:lnTo>
                    <a:cubicBezTo>
                      <a:pt x="27786" y="16746"/>
                      <a:pt x="25055" y="19471"/>
                      <a:pt x="21690" y="19471"/>
                    </a:cubicBezTo>
                    <a:lnTo>
                      <a:pt x="6096" y="19471"/>
                    </a:lnTo>
                    <a:cubicBezTo>
                      <a:pt x="2725" y="19471"/>
                      <a:pt x="0" y="16746"/>
                      <a:pt x="0" y="13375"/>
                    </a:cubicBezTo>
                    <a:lnTo>
                      <a:pt x="0" y="6096"/>
                    </a:lnTo>
                    <a:close/>
                  </a:path>
                </a:pathLst>
              </a:custGeom>
              <a:solidFill>
                <a:srgbClr val="FFFFFF"/>
              </a:solidFill>
              <a:ln w="610" cap="flat">
                <a:noFill/>
                <a:prstDash val="solid"/>
                <a:miter/>
              </a:ln>
            </p:spPr>
            <p:txBody>
              <a:bodyPr rtlCol="0" anchor="ctr"/>
              <a:lstStyle/>
              <a:p>
                <a:endParaRPr lang="en-US"/>
              </a:p>
            </p:txBody>
          </p:sp>
          <p:sp>
            <p:nvSpPr>
              <p:cNvPr id="972" name="Freeform: Shape 971">
                <a:extLst>
                  <a:ext uri="{FF2B5EF4-FFF2-40B4-BE49-F238E27FC236}">
                    <a16:creationId xmlns:a16="http://schemas.microsoft.com/office/drawing/2014/main" id="{4FA39567-5364-C613-07E7-0FEF5E8F60EC}"/>
                  </a:ext>
                </a:extLst>
              </p:cNvPr>
              <p:cNvSpPr/>
              <p:nvPr/>
            </p:nvSpPr>
            <p:spPr>
              <a:xfrm>
                <a:off x="1401316" y="4269462"/>
                <a:ext cx="90393" cy="63328"/>
              </a:xfrm>
              <a:custGeom>
                <a:avLst/>
                <a:gdLst>
                  <a:gd name="connsiteX0" fmla="*/ 0 w 27791"/>
                  <a:gd name="connsiteY0" fmla="*/ 6096 h 19470"/>
                  <a:gd name="connsiteX1" fmla="*/ 6096 w 27791"/>
                  <a:gd name="connsiteY1" fmla="*/ 0 h 19470"/>
                  <a:gd name="connsiteX2" fmla="*/ 21696 w 27791"/>
                  <a:gd name="connsiteY2" fmla="*/ 0 h 19470"/>
                  <a:gd name="connsiteX3" fmla="*/ 27792 w 27791"/>
                  <a:gd name="connsiteY3" fmla="*/ 6096 h 19470"/>
                  <a:gd name="connsiteX4" fmla="*/ 27792 w 27791"/>
                  <a:gd name="connsiteY4" fmla="*/ 13375 h 19470"/>
                  <a:gd name="connsiteX5" fmla="*/ 21696 w 27791"/>
                  <a:gd name="connsiteY5" fmla="*/ 19471 h 19470"/>
                  <a:gd name="connsiteX6" fmla="*/ 6096 w 27791"/>
                  <a:gd name="connsiteY6" fmla="*/ 19471 h 19470"/>
                  <a:gd name="connsiteX7" fmla="*/ 0 w 27791"/>
                  <a:gd name="connsiteY7" fmla="*/ 13375 h 19470"/>
                  <a:gd name="connsiteX8" fmla="*/ 0 w 27791"/>
                  <a:gd name="connsiteY8" fmla="*/ 6096 h 19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91" h="19470">
                    <a:moveTo>
                      <a:pt x="0" y="6096"/>
                    </a:moveTo>
                    <a:cubicBezTo>
                      <a:pt x="0" y="2725"/>
                      <a:pt x="2731" y="0"/>
                      <a:pt x="6096" y="0"/>
                    </a:cubicBezTo>
                    <a:lnTo>
                      <a:pt x="21696" y="0"/>
                    </a:lnTo>
                    <a:cubicBezTo>
                      <a:pt x="25061" y="0"/>
                      <a:pt x="27792" y="2725"/>
                      <a:pt x="27792" y="6096"/>
                    </a:cubicBezTo>
                    <a:lnTo>
                      <a:pt x="27792" y="13375"/>
                    </a:lnTo>
                    <a:cubicBezTo>
                      <a:pt x="27792" y="16746"/>
                      <a:pt x="25061" y="19471"/>
                      <a:pt x="21696" y="19471"/>
                    </a:cubicBezTo>
                    <a:lnTo>
                      <a:pt x="6096" y="19471"/>
                    </a:lnTo>
                    <a:cubicBezTo>
                      <a:pt x="2731" y="19471"/>
                      <a:pt x="0" y="16746"/>
                      <a:pt x="0" y="13375"/>
                    </a:cubicBezTo>
                    <a:lnTo>
                      <a:pt x="0" y="6096"/>
                    </a:lnTo>
                    <a:close/>
                  </a:path>
                </a:pathLst>
              </a:custGeom>
              <a:solidFill>
                <a:srgbClr val="FFFFFF"/>
              </a:solidFill>
              <a:ln w="610" cap="flat">
                <a:noFill/>
                <a:prstDash val="solid"/>
                <a:miter/>
              </a:ln>
            </p:spPr>
            <p:txBody>
              <a:bodyPr rtlCol="0" anchor="ctr"/>
              <a:lstStyle/>
              <a:p>
                <a:endParaRPr lang="en-US"/>
              </a:p>
            </p:txBody>
          </p:sp>
          <p:sp>
            <p:nvSpPr>
              <p:cNvPr id="973" name="Freeform: Shape 972">
                <a:extLst>
                  <a:ext uri="{FF2B5EF4-FFF2-40B4-BE49-F238E27FC236}">
                    <a16:creationId xmlns:a16="http://schemas.microsoft.com/office/drawing/2014/main" id="{A766A968-0BB8-056C-8F01-FF8A23E8E596}"/>
                  </a:ext>
                </a:extLst>
              </p:cNvPr>
              <p:cNvSpPr/>
              <p:nvPr/>
            </p:nvSpPr>
            <p:spPr>
              <a:xfrm>
                <a:off x="1568525" y="4142761"/>
                <a:ext cx="90393" cy="63347"/>
              </a:xfrm>
              <a:custGeom>
                <a:avLst/>
                <a:gdLst>
                  <a:gd name="connsiteX0" fmla="*/ 0 w 27791"/>
                  <a:gd name="connsiteY0" fmla="*/ 6096 h 19476"/>
                  <a:gd name="connsiteX1" fmla="*/ 6096 w 27791"/>
                  <a:gd name="connsiteY1" fmla="*/ 0 h 19476"/>
                  <a:gd name="connsiteX2" fmla="*/ 21696 w 27791"/>
                  <a:gd name="connsiteY2" fmla="*/ 0 h 19476"/>
                  <a:gd name="connsiteX3" fmla="*/ 27792 w 27791"/>
                  <a:gd name="connsiteY3" fmla="*/ 6096 h 19476"/>
                  <a:gd name="connsiteX4" fmla="*/ 27792 w 27791"/>
                  <a:gd name="connsiteY4" fmla="*/ 13381 h 19476"/>
                  <a:gd name="connsiteX5" fmla="*/ 21696 w 27791"/>
                  <a:gd name="connsiteY5" fmla="*/ 19477 h 19476"/>
                  <a:gd name="connsiteX6" fmla="*/ 6096 w 27791"/>
                  <a:gd name="connsiteY6" fmla="*/ 19477 h 19476"/>
                  <a:gd name="connsiteX7" fmla="*/ 0 w 27791"/>
                  <a:gd name="connsiteY7" fmla="*/ 13381 h 19476"/>
                  <a:gd name="connsiteX8" fmla="*/ 0 w 27791"/>
                  <a:gd name="connsiteY8" fmla="*/ 6096 h 1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91" h="19476">
                    <a:moveTo>
                      <a:pt x="0" y="6096"/>
                    </a:moveTo>
                    <a:cubicBezTo>
                      <a:pt x="0" y="2731"/>
                      <a:pt x="2731" y="0"/>
                      <a:pt x="6096" y="0"/>
                    </a:cubicBezTo>
                    <a:lnTo>
                      <a:pt x="21696" y="0"/>
                    </a:lnTo>
                    <a:cubicBezTo>
                      <a:pt x="25061" y="0"/>
                      <a:pt x="27792" y="2731"/>
                      <a:pt x="27792" y="6096"/>
                    </a:cubicBezTo>
                    <a:lnTo>
                      <a:pt x="27792" y="13381"/>
                    </a:lnTo>
                    <a:cubicBezTo>
                      <a:pt x="27792" y="16746"/>
                      <a:pt x="25061" y="19477"/>
                      <a:pt x="21696" y="19477"/>
                    </a:cubicBezTo>
                    <a:lnTo>
                      <a:pt x="6096" y="19477"/>
                    </a:lnTo>
                    <a:cubicBezTo>
                      <a:pt x="2731" y="19477"/>
                      <a:pt x="0" y="16746"/>
                      <a:pt x="0" y="13381"/>
                    </a:cubicBezTo>
                    <a:lnTo>
                      <a:pt x="0" y="6096"/>
                    </a:lnTo>
                    <a:close/>
                  </a:path>
                </a:pathLst>
              </a:custGeom>
              <a:solidFill>
                <a:srgbClr val="FFFFFF"/>
              </a:solidFill>
              <a:ln w="610" cap="flat">
                <a:noFill/>
                <a:prstDash val="solid"/>
                <a:miter/>
              </a:ln>
            </p:spPr>
            <p:txBody>
              <a:bodyPr rtlCol="0" anchor="ctr"/>
              <a:lstStyle/>
              <a:p>
                <a:endParaRPr lang="en-US"/>
              </a:p>
            </p:txBody>
          </p:sp>
          <p:sp>
            <p:nvSpPr>
              <p:cNvPr id="974" name="Freeform: Shape 973">
                <a:extLst>
                  <a:ext uri="{FF2B5EF4-FFF2-40B4-BE49-F238E27FC236}">
                    <a16:creationId xmlns:a16="http://schemas.microsoft.com/office/drawing/2014/main" id="{CB351379-BDD3-BE3F-3BCE-F7653CA518A5}"/>
                  </a:ext>
                </a:extLst>
              </p:cNvPr>
              <p:cNvSpPr/>
              <p:nvPr/>
            </p:nvSpPr>
            <p:spPr>
              <a:xfrm>
                <a:off x="1074139" y="4323748"/>
                <a:ext cx="90393" cy="63347"/>
              </a:xfrm>
              <a:custGeom>
                <a:avLst/>
                <a:gdLst>
                  <a:gd name="connsiteX0" fmla="*/ 0 w 27791"/>
                  <a:gd name="connsiteY0" fmla="*/ 6096 h 19476"/>
                  <a:gd name="connsiteX1" fmla="*/ 6096 w 27791"/>
                  <a:gd name="connsiteY1" fmla="*/ 0 h 19476"/>
                  <a:gd name="connsiteX2" fmla="*/ 21696 w 27791"/>
                  <a:gd name="connsiteY2" fmla="*/ 0 h 19476"/>
                  <a:gd name="connsiteX3" fmla="*/ 27792 w 27791"/>
                  <a:gd name="connsiteY3" fmla="*/ 6096 h 19476"/>
                  <a:gd name="connsiteX4" fmla="*/ 27792 w 27791"/>
                  <a:gd name="connsiteY4" fmla="*/ 13381 h 19476"/>
                  <a:gd name="connsiteX5" fmla="*/ 21696 w 27791"/>
                  <a:gd name="connsiteY5" fmla="*/ 19477 h 19476"/>
                  <a:gd name="connsiteX6" fmla="*/ 6096 w 27791"/>
                  <a:gd name="connsiteY6" fmla="*/ 19477 h 19476"/>
                  <a:gd name="connsiteX7" fmla="*/ 0 w 27791"/>
                  <a:gd name="connsiteY7" fmla="*/ 13381 h 19476"/>
                  <a:gd name="connsiteX8" fmla="*/ 0 w 27791"/>
                  <a:gd name="connsiteY8" fmla="*/ 6096 h 1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791" h="19476">
                    <a:moveTo>
                      <a:pt x="0" y="6096"/>
                    </a:moveTo>
                    <a:cubicBezTo>
                      <a:pt x="0" y="2731"/>
                      <a:pt x="2731" y="0"/>
                      <a:pt x="6096" y="0"/>
                    </a:cubicBezTo>
                    <a:lnTo>
                      <a:pt x="21696" y="0"/>
                    </a:lnTo>
                    <a:cubicBezTo>
                      <a:pt x="25061" y="0"/>
                      <a:pt x="27792" y="2731"/>
                      <a:pt x="27792" y="6096"/>
                    </a:cubicBezTo>
                    <a:lnTo>
                      <a:pt x="27792" y="13381"/>
                    </a:lnTo>
                    <a:cubicBezTo>
                      <a:pt x="27792" y="16746"/>
                      <a:pt x="25061" y="19477"/>
                      <a:pt x="21696" y="19477"/>
                    </a:cubicBezTo>
                    <a:lnTo>
                      <a:pt x="6096" y="19477"/>
                    </a:lnTo>
                    <a:cubicBezTo>
                      <a:pt x="2731" y="19477"/>
                      <a:pt x="0" y="16746"/>
                      <a:pt x="0" y="13381"/>
                    </a:cubicBezTo>
                    <a:lnTo>
                      <a:pt x="0" y="6096"/>
                    </a:lnTo>
                    <a:close/>
                  </a:path>
                </a:pathLst>
              </a:custGeom>
              <a:solidFill>
                <a:srgbClr val="FFFFFF"/>
              </a:solidFill>
              <a:ln w="610" cap="flat">
                <a:noFill/>
                <a:prstDash val="solid"/>
                <a:miter/>
              </a:ln>
            </p:spPr>
            <p:txBody>
              <a:bodyPr rtlCol="0" anchor="ctr"/>
              <a:lstStyle/>
              <a:p>
                <a:endParaRPr lang="en-US"/>
              </a:p>
            </p:txBody>
          </p:sp>
          <p:sp>
            <p:nvSpPr>
              <p:cNvPr id="975" name="Freeform: Shape 974">
                <a:extLst>
                  <a:ext uri="{FF2B5EF4-FFF2-40B4-BE49-F238E27FC236}">
                    <a16:creationId xmlns:a16="http://schemas.microsoft.com/office/drawing/2014/main" id="{30C4AD33-D578-A68A-EA30-8E986AF9E37D}"/>
                  </a:ext>
                </a:extLst>
              </p:cNvPr>
              <p:cNvSpPr/>
              <p:nvPr/>
            </p:nvSpPr>
            <p:spPr>
              <a:xfrm>
                <a:off x="3209726" y="4140699"/>
                <a:ext cx="532809" cy="238089"/>
              </a:xfrm>
              <a:custGeom>
                <a:avLst/>
                <a:gdLst>
                  <a:gd name="connsiteX0" fmla="*/ 0 w 163811"/>
                  <a:gd name="connsiteY0" fmla="*/ 35351 h 73200"/>
                  <a:gd name="connsiteX1" fmla="*/ 16880 w 163811"/>
                  <a:gd name="connsiteY1" fmla="*/ 35351 h 73200"/>
                  <a:gd name="connsiteX2" fmla="*/ 16880 w 163811"/>
                  <a:gd name="connsiteY2" fmla="*/ 26591 h 73200"/>
                  <a:gd name="connsiteX3" fmla="*/ 44080 w 163811"/>
                  <a:gd name="connsiteY3" fmla="*/ 5944 h 73200"/>
                  <a:gd name="connsiteX4" fmla="*/ 54712 w 163811"/>
                  <a:gd name="connsiteY4" fmla="*/ 5944 h 73200"/>
                  <a:gd name="connsiteX5" fmla="*/ 54712 w 163811"/>
                  <a:gd name="connsiteY5" fmla="*/ 37850 h 73200"/>
                  <a:gd name="connsiteX6" fmla="*/ 84405 w 163811"/>
                  <a:gd name="connsiteY6" fmla="*/ 37850 h 73200"/>
                  <a:gd name="connsiteX7" fmla="*/ 140367 w 163811"/>
                  <a:gd name="connsiteY7" fmla="*/ 0 h 73200"/>
                  <a:gd name="connsiteX8" fmla="*/ 160404 w 163811"/>
                  <a:gd name="connsiteY8" fmla="*/ 7486 h 73200"/>
                  <a:gd name="connsiteX9" fmla="*/ 163812 w 163811"/>
                  <a:gd name="connsiteY9" fmla="*/ 12399 h 73200"/>
                  <a:gd name="connsiteX10" fmla="*/ 163812 w 163811"/>
                  <a:gd name="connsiteY10" fmla="*/ 73201 h 73200"/>
                  <a:gd name="connsiteX11" fmla="*/ 0 w 163811"/>
                  <a:gd name="connsiteY11" fmla="*/ 73201 h 73200"/>
                  <a:gd name="connsiteX12" fmla="*/ 0 w 163811"/>
                  <a:gd name="connsiteY12" fmla="*/ 35351 h 7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811" h="73200">
                    <a:moveTo>
                      <a:pt x="0" y="35351"/>
                    </a:moveTo>
                    <a:lnTo>
                      <a:pt x="16880" y="35351"/>
                    </a:lnTo>
                    <a:lnTo>
                      <a:pt x="16880" y="26591"/>
                    </a:lnTo>
                    <a:lnTo>
                      <a:pt x="44080" y="5944"/>
                    </a:lnTo>
                    <a:lnTo>
                      <a:pt x="54712" y="5944"/>
                    </a:lnTo>
                    <a:lnTo>
                      <a:pt x="54712" y="37850"/>
                    </a:lnTo>
                    <a:lnTo>
                      <a:pt x="84405" y="37850"/>
                    </a:lnTo>
                    <a:lnTo>
                      <a:pt x="140367" y="0"/>
                    </a:lnTo>
                    <a:lnTo>
                      <a:pt x="160404" y="7486"/>
                    </a:lnTo>
                    <a:cubicBezTo>
                      <a:pt x="162452" y="8254"/>
                      <a:pt x="163812" y="10211"/>
                      <a:pt x="163812" y="12399"/>
                    </a:cubicBezTo>
                    <a:lnTo>
                      <a:pt x="163812" y="73201"/>
                    </a:lnTo>
                    <a:lnTo>
                      <a:pt x="0" y="73201"/>
                    </a:lnTo>
                    <a:lnTo>
                      <a:pt x="0" y="35351"/>
                    </a:lnTo>
                    <a:close/>
                  </a:path>
                </a:pathLst>
              </a:custGeom>
              <a:solidFill>
                <a:srgbClr val="9765FE"/>
              </a:solidFill>
              <a:ln w="610" cap="flat">
                <a:noFill/>
                <a:prstDash val="solid"/>
                <a:miter/>
              </a:ln>
            </p:spPr>
            <p:txBody>
              <a:bodyPr rtlCol="0" anchor="ctr"/>
              <a:lstStyle/>
              <a:p>
                <a:endParaRPr lang="en-US"/>
              </a:p>
            </p:txBody>
          </p:sp>
          <p:sp>
            <p:nvSpPr>
              <p:cNvPr id="976" name="Freeform: Shape 975">
                <a:extLst>
                  <a:ext uri="{FF2B5EF4-FFF2-40B4-BE49-F238E27FC236}">
                    <a16:creationId xmlns:a16="http://schemas.microsoft.com/office/drawing/2014/main" id="{3A4D1D2F-3E13-F005-1DAF-BD32F5BB730C}"/>
                  </a:ext>
                </a:extLst>
              </p:cNvPr>
              <p:cNvSpPr/>
              <p:nvPr/>
            </p:nvSpPr>
            <p:spPr>
              <a:xfrm>
                <a:off x="3559509" y="4261766"/>
                <a:ext cx="170835" cy="170953"/>
              </a:xfrm>
              <a:custGeom>
                <a:avLst/>
                <a:gdLst>
                  <a:gd name="connsiteX0" fmla="*/ 52523 w 52523"/>
                  <a:gd name="connsiteY0" fmla="*/ 26280 h 52559"/>
                  <a:gd name="connsiteX1" fmla="*/ 26262 w 52523"/>
                  <a:gd name="connsiteY1" fmla="*/ 52560 h 52559"/>
                  <a:gd name="connsiteX2" fmla="*/ 0 w 52523"/>
                  <a:gd name="connsiteY2" fmla="*/ 26280 h 52559"/>
                  <a:gd name="connsiteX3" fmla="*/ 26262 w 52523"/>
                  <a:gd name="connsiteY3" fmla="*/ 0 h 52559"/>
                  <a:gd name="connsiteX4" fmla="*/ 52523 w 52523"/>
                  <a:gd name="connsiteY4" fmla="*/ 26280 h 5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23" h="52559">
                    <a:moveTo>
                      <a:pt x="52523" y="26280"/>
                    </a:moveTo>
                    <a:cubicBezTo>
                      <a:pt x="52523" y="40794"/>
                      <a:pt x="40765" y="52560"/>
                      <a:pt x="26262" y="52560"/>
                    </a:cubicBezTo>
                    <a:cubicBezTo>
                      <a:pt x="11758" y="52560"/>
                      <a:pt x="0" y="40794"/>
                      <a:pt x="0" y="26280"/>
                    </a:cubicBezTo>
                    <a:cubicBezTo>
                      <a:pt x="0" y="11766"/>
                      <a:pt x="11758" y="0"/>
                      <a:pt x="26262" y="0"/>
                    </a:cubicBezTo>
                    <a:cubicBezTo>
                      <a:pt x="40765" y="0"/>
                      <a:pt x="52523" y="11766"/>
                      <a:pt x="52523" y="26280"/>
                    </a:cubicBezTo>
                    <a:close/>
                  </a:path>
                </a:pathLst>
              </a:custGeom>
              <a:solidFill>
                <a:srgbClr val="FDC6F9"/>
              </a:solidFill>
              <a:ln w="610" cap="flat">
                <a:noFill/>
                <a:prstDash val="solid"/>
                <a:miter/>
              </a:ln>
            </p:spPr>
            <p:txBody>
              <a:bodyPr rtlCol="0" anchor="ctr"/>
              <a:lstStyle/>
              <a:p>
                <a:endParaRPr lang="en-US"/>
              </a:p>
            </p:txBody>
          </p:sp>
          <p:sp>
            <p:nvSpPr>
              <p:cNvPr id="977" name="Freeform: Shape 976">
                <a:extLst>
                  <a:ext uri="{FF2B5EF4-FFF2-40B4-BE49-F238E27FC236}">
                    <a16:creationId xmlns:a16="http://schemas.microsoft.com/office/drawing/2014/main" id="{05F5B3A9-BACC-BAFE-2AE7-1216F6089D71}"/>
                  </a:ext>
                </a:extLst>
              </p:cNvPr>
              <p:cNvSpPr/>
              <p:nvPr/>
            </p:nvSpPr>
            <p:spPr>
              <a:xfrm>
                <a:off x="3223963" y="4261766"/>
                <a:ext cx="170835" cy="170953"/>
              </a:xfrm>
              <a:custGeom>
                <a:avLst/>
                <a:gdLst>
                  <a:gd name="connsiteX0" fmla="*/ 52523 w 52523"/>
                  <a:gd name="connsiteY0" fmla="*/ 26280 h 52559"/>
                  <a:gd name="connsiteX1" fmla="*/ 26262 w 52523"/>
                  <a:gd name="connsiteY1" fmla="*/ 52560 h 52559"/>
                  <a:gd name="connsiteX2" fmla="*/ 0 w 52523"/>
                  <a:gd name="connsiteY2" fmla="*/ 26280 h 52559"/>
                  <a:gd name="connsiteX3" fmla="*/ 26262 w 52523"/>
                  <a:gd name="connsiteY3" fmla="*/ 0 h 52559"/>
                  <a:gd name="connsiteX4" fmla="*/ 52523 w 52523"/>
                  <a:gd name="connsiteY4" fmla="*/ 26280 h 52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23" h="52559">
                    <a:moveTo>
                      <a:pt x="52523" y="26280"/>
                    </a:moveTo>
                    <a:cubicBezTo>
                      <a:pt x="52523" y="40794"/>
                      <a:pt x="40765" y="52560"/>
                      <a:pt x="26262" y="52560"/>
                    </a:cubicBezTo>
                    <a:cubicBezTo>
                      <a:pt x="11758" y="52560"/>
                      <a:pt x="0" y="40794"/>
                      <a:pt x="0" y="26280"/>
                    </a:cubicBezTo>
                    <a:cubicBezTo>
                      <a:pt x="0" y="11766"/>
                      <a:pt x="11758" y="0"/>
                      <a:pt x="26262" y="0"/>
                    </a:cubicBezTo>
                    <a:cubicBezTo>
                      <a:pt x="40765" y="0"/>
                      <a:pt x="52523" y="11766"/>
                      <a:pt x="52523" y="26280"/>
                    </a:cubicBezTo>
                    <a:close/>
                  </a:path>
                </a:pathLst>
              </a:custGeom>
              <a:solidFill>
                <a:srgbClr val="FDC6F9"/>
              </a:solidFill>
              <a:ln w="610" cap="flat">
                <a:noFill/>
                <a:prstDash val="solid"/>
                <a:miter/>
              </a:ln>
            </p:spPr>
            <p:txBody>
              <a:bodyPr rtlCol="0" anchor="ctr"/>
              <a:lstStyle/>
              <a:p>
                <a:endParaRPr lang="en-US"/>
              </a:p>
            </p:txBody>
          </p:sp>
          <p:sp>
            <p:nvSpPr>
              <p:cNvPr id="978" name="Freeform: Shape 977">
                <a:extLst>
                  <a:ext uri="{FF2B5EF4-FFF2-40B4-BE49-F238E27FC236}">
                    <a16:creationId xmlns:a16="http://schemas.microsoft.com/office/drawing/2014/main" id="{5B610D8B-AE76-98D3-021A-EAAE94311BF8}"/>
                  </a:ext>
                </a:extLst>
              </p:cNvPr>
              <p:cNvSpPr/>
              <p:nvPr/>
            </p:nvSpPr>
            <p:spPr>
              <a:xfrm>
                <a:off x="3349038" y="3891424"/>
                <a:ext cx="316229" cy="374425"/>
              </a:xfrm>
              <a:custGeom>
                <a:avLst/>
                <a:gdLst>
                  <a:gd name="connsiteX0" fmla="*/ 18075 w 97224"/>
                  <a:gd name="connsiteY0" fmla="*/ 19129 h 115116"/>
                  <a:gd name="connsiteX1" fmla="*/ 0 w 97224"/>
                  <a:gd name="connsiteY1" fmla="*/ 83521 h 115116"/>
                  <a:gd name="connsiteX2" fmla="*/ 11564 w 97224"/>
                  <a:gd name="connsiteY2" fmla="*/ 83521 h 115116"/>
                  <a:gd name="connsiteX3" fmla="*/ 11564 w 97224"/>
                  <a:gd name="connsiteY3" fmla="*/ 115117 h 115116"/>
                  <a:gd name="connsiteX4" fmla="*/ 42203 w 97224"/>
                  <a:gd name="connsiteY4" fmla="*/ 115117 h 115116"/>
                  <a:gd name="connsiteX5" fmla="*/ 97225 w 97224"/>
                  <a:gd name="connsiteY5" fmla="*/ 76956 h 115116"/>
                  <a:gd name="connsiteX6" fmla="*/ 91909 w 97224"/>
                  <a:gd name="connsiteY6" fmla="*/ 0 h 115116"/>
                  <a:gd name="connsiteX7" fmla="*/ 43318 w 97224"/>
                  <a:gd name="connsiteY7" fmla="*/ 0 h 115116"/>
                  <a:gd name="connsiteX8" fmla="*/ 18075 w 97224"/>
                  <a:gd name="connsiteY8" fmla="*/ 19129 h 11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24" h="115116">
                    <a:moveTo>
                      <a:pt x="18075" y="19129"/>
                    </a:moveTo>
                    <a:lnTo>
                      <a:pt x="0" y="83521"/>
                    </a:lnTo>
                    <a:lnTo>
                      <a:pt x="11564" y="83521"/>
                    </a:lnTo>
                    <a:lnTo>
                      <a:pt x="11564" y="115117"/>
                    </a:lnTo>
                    <a:lnTo>
                      <a:pt x="42203" y="115117"/>
                    </a:lnTo>
                    <a:lnTo>
                      <a:pt x="97225" y="76956"/>
                    </a:lnTo>
                    <a:lnTo>
                      <a:pt x="91909" y="0"/>
                    </a:lnTo>
                    <a:lnTo>
                      <a:pt x="43318" y="0"/>
                    </a:lnTo>
                    <a:cubicBezTo>
                      <a:pt x="31565" y="0"/>
                      <a:pt x="21251" y="7821"/>
                      <a:pt x="18075" y="19129"/>
                    </a:cubicBezTo>
                    <a:close/>
                  </a:path>
                </a:pathLst>
              </a:custGeom>
              <a:solidFill>
                <a:srgbClr val="001135"/>
              </a:solidFill>
              <a:ln w="610" cap="flat">
                <a:noFill/>
                <a:prstDash val="solid"/>
                <a:miter/>
              </a:ln>
            </p:spPr>
            <p:txBody>
              <a:bodyPr rtlCol="0" anchor="ctr"/>
              <a:lstStyle/>
              <a:p>
                <a:endParaRPr lang="en-US"/>
              </a:p>
            </p:txBody>
          </p:sp>
          <p:sp>
            <p:nvSpPr>
              <p:cNvPr id="979" name="Freeform: Shape 978">
                <a:extLst>
                  <a:ext uri="{FF2B5EF4-FFF2-40B4-BE49-F238E27FC236}">
                    <a16:creationId xmlns:a16="http://schemas.microsoft.com/office/drawing/2014/main" id="{CDCC5D30-CB5D-EEB8-6E8D-9D05760F3555}"/>
                  </a:ext>
                </a:extLst>
              </p:cNvPr>
              <p:cNvSpPr/>
              <p:nvPr/>
            </p:nvSpPr>
            <p:spPr>
              <a:xfrm>
                <a:off x="3209726" y="3814097"/>
                <a:ext cx="54900" cy="441584"/>
              </a:xfrm>
              <a:custGeom>
                <a:avLst/>
                <a:gdLst>
                  <a:gd name="connsiteX0" fmla="*/ 0 w 16879"/>
                  <a:gd name="connsiteY0" fmla="*/ 0 h 135764"/>
                  <a:gd name="connsiteX1" fmla="*/ 16880 w 16879"/>
                  <a:gd name="connsiteY1" fmla="*/ 0 h 135764"/>
                  <a:gd name="connsiteX2" fmla="*/ 16880 w 16879"/>
                  <a:gd name="connsiteY2" fmla="*/ 135764 h 135764"/>
                  <a:gd name="connsiteX3" fmla="*/ 0 w 16879"/>
                  <a:gd name="connsiteY3" fmla="*/ 135764 h 135764"/>
                </a:gdLst>
                <a:ahLst/>
                <a:cxnLst>
                  <a:cxn ang="0">
                    <a:pos x="connsiteX0" y="connsiteY0"/>
                  </a:cxn>
                  <a:cxn ang="0">
                    <a:pos x="connsiteX1" y="connsiteY1"/>
                  </a:cxn>
                  <a:cxn ang="0">
                    <a:pos x="connsiteX2" y="connsiteY2"/>
                  </a:cxn>
                  <a:cxn ang="0">
                    <a:pos x="connsiteX3" y="connsiteY3"/>
                  </a:cxn>
                </a:cxnLst>
                <a:rect l="l" t="t" r="r" b="b"/>
                <a:pathLst>
                  <a:path w="16879" h="135764">
                    <a:moveTo>
                      <a:pt x="0" y="0"/>
                    </a:moveTo>
                    <a:lnTo>
                      <a:pt x="16880" y="0"/>
                    </a:lnTo>
                    <a:lnTo>
                      <a:pt x="16880" y="135764"/>
                    </a:lnTo>
                    <a:lnTo>
                      <a:pt x="0" y="135764"/>
                    </a:lnTo>
                    <a:close/>
                  </a:path>
                </a:pathLst>
              </a:custGeom>
              <a:solidFill>
                <a:srgbClr val="001135"/>
              </a:solidFill>
              <a:ln w="610" cap="flat">
                <a:noFill/>
                <a:prstDash val="solid"/>
                <a:miter/>
              </a:ln>
            </p:spPr>
            <p:txBody>
              <a:bodyPr rtlCol="0" anchor="ctr"/>
              <a:lstStyle/>
              <a:p>
                <a:endParaRPr lang="en-US"/>
              </a:p>
            </p:txBody>
          </p:sp>
          <p:sp>
            <p:nvSpPr>
              <p:cNvPr id="980" name="Freeform: Shape 979">
                <a:extLst>
                  <a:ext uri="{FF2B5EF4-FFF2-40B4-BE49-F238E27FC236}">
                    <a16:creationId xmlns:a16="http://schemas.microsoft.com/office/drawing/2014/main" id="{152EFF2D-B45D-EBA2-023A-A9A07556F727}"/>
                  </a:ext>
                </a:extLst>
              </p:cNvPr>
              <p:cNvSpPr/>
              <p:nvPr/>
            </p:nvSpPr>
            <p:spPr>
              <a:xfrm>
                <a:off x="3264630" y="3814097"/>
                <a:ext cx="14233" cy="154654"/>
              </a:xfrm>
              <a:custGeom>
                <a:avLst/>
                <a:gdLst>
                  <a:gd name="connsiteX0" fmla="*/ 0 w 4376"/>
                  <a:gd name="connsiteY0" fmla="*/ 0 h 47548"/>
                  <a:gd name="connsiteX1" fmla="*/ 4377 w 4376"/>
                  <a:gd name="connsiteY1" fmla="*/ 0 h 47548"/>
                  <a:gd name="connsiteX2" fmla="*/ 4377 w 4376"/>
                  <a:gd name="connsiteY2" fmla="*/ 47549 h 47548"/>
                  <a:gd name="connsiteX3" fmla="*/ 0 w 4376"/>
                  <a:gd name="connsiteY3" fmla="*/ 47549 h 47548"/>
                </a:gdLst>
                <a:ahLst/>
                <a:cxnLst>
                  <a:cxn ang="0">
                    <a:pos x="connsiteX0" y="connsiteY0"/>
                  </a:cxn>
                  <a:cxn ang="0">
                    <a:pos x="connsiteX1" y="connsiteY1"/>
                  </a:cxn>
                  <a:cxn ang="0">
                    <a:pos x="connsiteX2" y="connsiteY2"/>
                  </a:cxn>
                  <a:cxn ang="0">
                    <a:pos x="connsiteX3" y="connsiteY3"/>
                  </a:cxn>
                </a:cxnLst>
                <a:rect l="l" t="t" r="r" b="b"/>
                <a:pathLst>
                  <a:path w="4376" h="47548">
                    <a:moveTo>
                      <a:pt x="0" y="0"/>
                    </a:moveTo>
                    <a:lnTo>
                      <a:pt x="4377" y="0"/>
                    </a:lnTo>
                    <a:lnTo>
                      <a:pt x="4377" y="47549"/>
                    </a:lnTo>
                    <a:lnTo>
                      <a:pt x="0" y="47549"/>
                    </a:lnTo>
                    <a:close/>
                  </a:path>
                </a:pathLst>
              </a:custGeom>
              <a:solidFill>
                <a:srgbClr val="001135"/>
              </a:solidFill>
              <a:ln w="610" cap="flat">
                <a:noFill/>
                <a:prstDash val="solid"/>
                <a:miter/>
              </a:ln>
            </p:spPr>
            <p:txBody>
              <a:bodyPr rtlCol="0" anchor="ctr"/>
              <a:lstStyle/>
              <a:p>
                <a:endParaRPr lang="en-US"/>
              </a:p>
            </p:txBody>
          </p:sp>
          <p:sp>
            <p:nvSpPr>
              <p:cNvPr id="981" name="Freeform: Shape 980">
                <a:extLst>
                  <a:ext uri="{FF2B5EF4-FFF2-40B4-BE49-F238E27FC236}">
                    <a16:creationId xmlns:a16="http://schemas.microsoft.com/office/drawing/2014/main" id="{77DD6444-B1F6-9980-4D3A-4EDD3236A6D1}"/>
                  </a:ext>
                </a:extLst>
              </p:cNvPr>
              <p:cNvSpPr/>
              <p:nvPr/>
            </p:nvSpPr>
            <p:spPr>
              <a:xfrm>
                <a:off x="2870118" y="4237359"/>
                <a:ext cx="378253" cy="18319"/>
              </a:xfrm>
              <a:custGeom>
                <a:avLst/>
                <a:gdLst>
                  <a:gd name="connsiteX0" fmla="*/ 0 w 116293"/>
                  <a:gd name="connsiteY0" fmla="*/ 0 h 5632"/>
                  <a:gd name="connsiteX1" fmla="*/ 116293 w 116293"/>
                  <a:gd name="connsiteY1" fmla="*/ 0 h 5632"/>
                  <a:gd name="connsiteX2" fmla="*/ 116293 w 116293"/>
                  <a:gd name="connsiteY2" fmla="*/ 5633 h 5632"/>
                  <a:gd name="connsiteX3" fmla="*/ 0 w 116293"/>
                  <a:gd name="connsiteY3" fmla="*/ 5633 h 5632"/>
                </a:gdLst>
                <a:ahLst/>
                <a:cxnLst>
                  <a:cxn ang="0">
                    <a:pos x="connsiteX0" y="connsiteY0"/>
                  </a:cxn>
                  <a:cxn ang="0">
                    <a:pos x="connsiteX1" y="connsiteY1"/>
                  </a:cxn>
                  <a:cxn ang="0">
                    <a:pos x="connsiteX2" y="connsiteY2"/>
                  </a:cxn>
                  <a:cxn ang="0">
                    <a:pos x="connsiteX3" y="connsiteY3"/>
                  </a:cxn>
                </a:cxnLst>
                <a:rect l="l" t="t" r="r" b="b"/>
                <a:pathLst>
                  <a:path w="116293" h="5632">
                    <a:moveTo>
                      <a:pt x="0" y="0"/>
                    </a:moveTo>
                    <a:lnTo>
                      <a:pt x="116293" y="0"/>
                    </a:lnTo>
                    <a:lnTo>
                      <a:pt x="116293" y="5633"/>
                    </a:lnTo>
                    <a:lnTo>
                      <a:pt x="0" y="5633"/>
                    </a:lnTo>
                    <a:close/>
                  </a:path>
                </a:pathLst>
              </a:custGeom>
              <a:solidFill>
                <a:srgbClr val="001135"/>
              </a:solidFill>
              <a:ln w="610" cap="flat">
                <a:noFill/>
                <a:prstDash val="solid"/>
                <a:miter/>
              </a:ln>
            </p:spPr>
            <p:txBody>
              <a:bodyPr rtlCol="0" anchor="ctr"/>
              <a:lstStyle/>
              <a:p>
                <a:endParaRPr lang="en-US"/>
              </a:p>
            </p:txBody>
          </p:sp>
          <p:sp>
            <p:nvSpPr>
              <p:cNvPr id="982" name="Freeform: Shape 981">
                <a:extLst>
                  <a:ext uri="{FF2B5EF4-FFF2-40B4-BE49-F238E27FC236}">
                    <a16:creationId xmlns:a16="http://schemas.microsoft.com/office/drawing/2014/main" id="{725A0F4F-920A-9FCC-3CB0-21DC2AC73F3A}"/>
                  </a:ext>
                </a:extLst>
              </p:cNvPr>
              <p:cNvSpPr/>
              <p:nvPr/>
            </p:nvSpPr>
            <p:spPr>
              <a:xfrm>
                <a:off x="2910785" y="4054232"/>
                <a:ext cx="246061" cy="183147"/>
              </a:xfrm>
              <a:custGeom>
                <a:avLst/>
                <a:gdLst>
                  <a:gd name="connsiteX0" fmla="*/ 0 w 75651"/>
                  <a:gd name="connsiteY0" fmla="*/ 0 h 56308"/>
                  <a:gd name="connsiteX1" fmla="*/ 75651 w 75651"/>
                  <a:gd name="connsiteY1" fmla="*/ 0 h 56308"/>
                  <a:gd name="connsiteX2" fmla="*/ 75651 w 75651"/>
                  <a:gd name="connsiteY2" fmla="*/ 56309 h 56308"/>
                  <a:gd name="connsiteX3" fmla="*/ 0 w 75651"/>
                  <a:gd name="connsiteY3" fmla="*/ 56309 h 56308"/>
                </a:gdLst>
                <a:ahLst/>
                <a:cxnLst>
                  <a:cxn ang="0">
                    <a:pos x="connsiteX0" y="connsiteY0"/>
                  </a:cxn>
                  <a:cxn ang="0">
                    <a:pos x="connsiteX1" y="connsiteY1"/>
                  </a:cxn>
                  <a:cxn ang="0">
                    <a:pos x="connsiteX2" y="connsiteY2"/>
                  </a:cxn>
                  <a:cxn ang="0">
                    <a:pos x="connsiteX3" y="connsiteY3"/>
                  </a:cxn>
                </a:cxnLst>
                <a:rect l="l" t="t" r="r" b="b"/>
                <a:pathLst>
                  <a:path w="75651" h="56308">
                    <a:moveTo>
                      <a:pt x="0" y="0"/>
                    </a:moveTo>
                    <a:lnTo>
                      <a:pt x="75651" y="0"/>
                    </a:lnTo>
                    <a:lnTo>
                      <a:pt x="75651" y="56309"/>
                    </a:lnTo>
                    <a:lnTo>
                      <a:pt x="0" y="56309"/>
                    </a:lnTo>
                    <a:close/>
                  </a:path>
                </a:pathLst>
              </a:custGeom>
              <a:solidFill>
                <a:srgbClr val="9765FE"/>
              </a:solidFill>
              <a:ln w="610" cap="flat">
                <a:noFill/>
                <a:prstDash val="solid"/>
                <a:miter/>
              </a:ln>
            </p:spPr>
            <p:txBody>
              <a:bodyPr rtlCol="0" anchor="ctr"/>
              <a:lstStyle/>
              <a:p>
                <a:endParaRPr lang="en-US"/>
              </a:p>
            </p:txBody>
          </p:sp>
          <p:sp>
            <p:nvSpPr>
              <p:cNvPr id="983" name="Freeform: Shape 982">
                <a:extLst>
                  <a:ext uri="{FF2B5EF4-FFF2-40B4-BE49-F238E27FC236}">
                    <a16:creationId xmlns:a16="http://schemas.microsoft.com/office/drawing/2014/main" id="{1D6B6970-0BC3-D8E9-00D3-7A5B36E07CA4}"/>
                  </a:ext>
                </a:extLst>
              </p:cNvPr>
              <p:cNvSpPr/>
              <p:nvPr/>
            </p:nvSpPr>
            <p:spPr>
              <a:xfrm>
                <a:off x="2910785" y="3871082"/>
                <a:ext cx="246061" cy="183147"/>
              </a:xfrm>
              <a:custGeom>
                <a:avLst/>
                <a:gdLst>
                  <a:gd name="connsiteX0" fmla="*/ 0 w 75651"/>
                  <a:gd name="connsiteY0" fmla="*/ 0 h 56308"/>
                  <a:gd name="connsiteX1" fmla="*/ 75651 w 75651"/>
                  <a:gd name="connsiteY1" fmla="*/ 0 h 56308"/>
                  <a:gd name="connsiteX2" fmla="*/ 75651 w 75651"/>
                  <a:gd name="connsiteY2" fmla="*/ 56309 h 56308"/>
                  <a:gd name="connsiteX3" fmla="*/ 0 w 75651"/>
                  <a:gd name="connsiteY3" fmla="*/ 56309 h 56308"/>
                </a:gdLst>
                <a:ahLst/>
                <a:cxnLst>
                  <a:cxn ang="0">
                    <a:pos x="connsiteX0" y="connsiteY0"/>
                  </a:cxn>
                  <a:cxn ang="0">
                    <a:pos x="connsiteX1" y="connsiteY1"/>
                  </a:cxn>
                  <a:cxn ang="0">
                    <a:pos x="connsiteX2" y="connsiteY2"/>
                  </a:cxn>
                  <a:cxn ang="0">
                    <a:pos x="connsiteX3" y="connsiteY3"/>
                  </a:cxn>
                </a:cxnLst>
                <a:rect l="l" t="t" r="r" b="b"/>
                <a:pathLst>
                  <a:path w="75651" h="56308">
                    <a:moveTo>
                      <a:pt x="0" y="0"/>
                    </a:moveTo>
                    <a:lnTo>
                      <a:pt x="75651" y="0"/>
                    </a:lnTo>
                    <a:lnTo>
                      <a:pt x="75651" y="56309"/>
                    </a:lnTo>
                    <a:lnTo>
                      <a:pt x="0" y="56309"/>
                    </a:lnTo>
                    <a:close/>
                  </a:path>
                </a:pathLst>
              </a:custGeom>
              <a:solidFill>
                <a:srgbClr val="FDC6F9"/>
              </a:solidFill>
              <a:ln w="610" cap="flat">
                <a:noFill/>
                <a:prstDash val="solid"/>
                <a:miter/>
              </a:ln>
            </p:spPr>
            <p:txBody>
              <a:bodyPr rtlCol="0" anchor="ctr"/>
              <a:lstStyle/>
              <a:p>
                <a:endParaRPr lang="en-US"/>
              </a:p>
            </p:txBody>
          </p:sp>
          <p:sp>
            <p:nvSpPr>
              <p:cNvPr id="984" name="Freeform: Shape 983">
                <a:extLst>
                  <a:ext uri="{FF2B5EF4-FFF2-40B4-BE49-F238E27FC236}">
                    <a16:creationId xmlns:a16="http://schemas.microsoft.com/office/drawing/2014/main" id="{66BCE91C-772C-3D69-E67E-DD02299F37A8}"/>
                  </a:ext>
                </a:extLst>
              </p:cNvPr>
              <p:cNvSpPr/>
              <p:nvPr/>
            </p:nvSpPr>
            <p:spPr>
              <a:xfrm>
                <a:off x="3707957" y="4190567"/>
                <a:ext cx="34578" cy="75284"/>
              </a:xfrm>
              <a:custGeom>
                <a:avLst/>
                <a:gdLst>
                  <a:gd name="connsiteX0" fmla="*/ 0 w 10631"/>
                  <a:gd name="connsiteY0" fmla="*/ 0 h 23146"/>
                  <a:gd name="connsiteX1" fmla="*/ 10631 w 10631"/>
                  <a:gd name="connsiteY1" fmla="*/ 0 h 23146"/>
                  <a:gd name="connsiteX2" fmla="*/ 10631 w 10631"/>
                  <a:gd name="connsiteY2" fmla="*/ 23146 h 23146"/>
                  <a:gd name="connsiteX3" fmla="*/ 0 w 10631"/>
                  <a:gd name="connsiteY3" fmla="*/ 12521 h 23146"/>
                  <a:gd name="connsiteX4" fmla="*/ 0 w 10631"/>
                  <a:gd name="connsiteY4" fmla="*/ 0 h 231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1" h="23146">
                    <a:moveTo>
                      <a:pt x="0" y="0"/>
                    </a:moveTo>
                    <a:lnTo>
                      <a:pt x="10631" y="0"/>
                    </a:lnTo>
                    <a:lnTo>
                      <a:pt x="10631" y="23146"/>
                    </a:lnTo>
                    <a:cubicBezTo>
                      <a:pt x="4761" y="23146"/>
                      <a:pt x="0" y="18392"/>
                      <a:pt x="0" y="12521"/>
                    </a:cubicBezTo>
                    <a:lnTo>
                      <a:pt x="0" y="0"/>
                    </a:lnTo>
                    <a:close/>
                  </a:path>
                </a:pathLst>
              </a:custGeom>
              <a:solidFill>
                <a:srgbClr val="FDC6F9"/>
              </a:solidFill>
              <a:ln w="610" cap="flat">
                <a:noFill/>
                <a:prstDash val="solid"/>
                <a:miter/>
              </a:ln>
            </p:spPr>
            <p:txBody>
              <a:bodyPr rtlCol="0" anchor="ctr"/>
              <a:lstStyle/>
              <a:p>
                <a:endParaRPr lang="en-US"/>
              </a:p>
            </p:txBody>
          </p:sp>
        </p:grpSp>
        <p:grpSp>
          <p:nvGrpSpPr>
            <p:cNvPr id="987" name="Group 986">
              <a:extLst>
                <a:ext uri="{FF2B5EF4-FFF2-40B4-BE49-F238E27FC236}">
                  <a16:creationId xmlns:a16="http://schemas.microsoft.com/office/drawing/2014/main" id="{1058C506-4D12-0DA6-CB48-487A3833F113}"/>
                </a:ext>
              </a:extLst>
            </p:cNvPr>
            <p:cNvGrpSpPr/>
            <p:nvPr/>
          </p:nvGrpSpPr>
          <p:grpSpPr>
            <a:xfrm>
              <a:off x="2448328" y="3665958"/>
              <a:ext cx="232626" cy="180799"/>
              <a:chOff x="1199659" y="2270382"/>
              <a:chExt cx="232626" cy="180799"/>
            </a:xfrm>
          </p:grpSpPr>
          <p:grpSp>
            <p:nvGrpSpPr>
              <p:cNvPr id="988" name="Group 987">
                <a:extLst>
                  <a:ext uri="{FF2B5EF4-FFF2-40B4-BE49-F238E27FC236}">
                    <a16:creationId xmlns:a16="http://schemas.microsoft.com/office/drawing/2014/main" id="{A2EAB911-7073-D442-1D1A-BAF7454E3DFE}"/>
                  </a:ext>
                </a:extLst>
              </p:cNvPr>
              <p:cNvGrpSpPr>
                <a:grpSpLocks noChangeAspect="1"/>
              </p:cNvGrpSpPr>
              <p:nvPr/>
            </p:nvGrpSpPr>
            <p:grpSpPr>
              <a:xfrm>
                <a:off x="1199659" y="2348701"/>
                <a:ext cx="148458" cy="102480"/>
                <a:chOff x="1144089" y="2212882"/>
                <a:chExt cx="274961" cy="189805"/>
              </a:xfrm>
            </p:grpSpPr>
            <p:sp>
              <p:nvSpPr>
                <p:cNvPr id="993" name="Freeform: Shape 992">
                  <a:extLst>
                    <a:ext uri="{FF2B5EF4-FFF2-40B4-BE49-F238E27FC236}">
                      <a16:creationId xmlns:a16="http://schemas.microsoft.com/office/drawing/2014/main" id="{3A7E9960-2C3B-B7BE-B0CD-F16279E80099}"/>
                    </a:ext>
                  </a:extLst>
                </p:cNvPr>
                <p:cNvSpPr/>
                <p:nvPr/>
              </p:nvSpPr>
              <p:spPr>
                <a:xfrm>
                  <a:off x="1144089" y="2212882"/>
                  <a:ext cx="274961" cy="189805"/>
                </a:xfrm>
                <a:custGeom>
                  <a:avLst/>
                  <a:gdLst>
                    <a:gd name="connsiteX0" fmla="*/ 188096 w 274961"/>
                    <a:gd name="connsiteY0" fmla="*/ 57113 h 189805"/>
                    <a:gd name="connsiteX1" fmla="*/ 137481 w 274961"/>
                    <a:gd name="connsiteY1" fmla="*/ 57113 h 189805"/>
                    <a:gd name="connsiteX2" fmla="*/ 29069 w 274961"/>
                    <a:gd name="connsiteY2" fmla="*/ 57113 h 189805"/>
                    <a:gd name="connsiteX3" fmla="*/ 0 w 274961"/>
                    <a:gd name="connsiteY3" fmla="*/ 88576 h 189805"/>
                    <a:gd name="connsiteX4" fmla="*/ 0 w 274961"/>
                    <a:gd name="connsiteY4" fmla="*/ 158343 h 189805"/>
                    <a:gd name="connsiteX5" fmla="*/ 29069 w 274961"/>
                    <a:gd name="connsiteY5" fmla="*/ 189806 h 189805"/>
                    <a:gd name="connsiteX6" fmla="*/ 245893 w 274961"/>
                    <a:gd name="connsiteY6" fmla="*/ 189806 h 189805"/>
                    <a:gd name="connsiteX7" fmla="*/ 274962 w 274961"/>
                    <a:gd name="connsiteY7" fmla="*/ 158343 h 189805"/>
                    <a:gd name="connsiteX8" fmla="*/ 274962 w 274961"/>
                    <a:gd name="connsiteY8" fmla="*/ 88234 h 189805"/>
                    <a:gd name="connsiteX9" fmla="*/ 242473 w 274961"/>
                    <a:gd name="connsiteY9" fmla="*/ 56771 h 189805"/>
                    <a:gd name="connsiteX10" fmla="*/ 242473 w 274961"/>
                    <a:gd name="connsiteY10" fmla="*/ 0 h 18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961" h="189805">
                      <a:moveTo>
                        <a:pt x="188096" y="57113"/>
                      </a:moveTo>
                      <a:lnTo>
                        <a:pt x="137481" y="57113"/>
                      </a:lnTo>
                      <a:lnTo>
                        <a:pt x="29069" y="57113"/>
                      </a:lnTo>
                      <a:cubicBezTo>
                        <a:pt x="12996" y="57113"/>
                        <a:pt x="0" y="71134"/>
                        <a:pt x="0" y="88576"/>
                      </a:cubicBezTo>
                      <a:lnTo>
                        <a:pt x="0" y="158343"/>
                      </a:lnTo>
                      <a:cubicBezTo>
                        <a:pt x="0" y="175442"/>
                        <a:pt x="12996" y="189806"/>
                        <a:pt x="29069" y="189806"/>
                      </a:cubicBezTo>
                      <a:lnTo>
                        <a:pt x="245893" y="189806"/>
                      </a:lnTo>
                      <a:cubicBezTo>
                        <a:pt x="261966" y="189806"/>
                        <a:pt x="274962" y="175784"/>
                        <a:pt x="274962" y="158343"/>
                      </a:cubicBezTo>
                      <a:lnTo>
                        <a:pt x="274962" y="88234"/>
                      </a:lnTo>
                      <a:cubicBezTo>
                        <a:pt x="274962" y="69424"/>
                        <a:pt x="260598" y="56771"/>
                        <a:pt x="242473" y="56771"/>
                      </a:cubicBezTo>
                      <a:lnTo>
                        <a:pt x="242473" y="0"/>
                      </a:lnTo>
                    </a:path>
                  </a:pathLst>
                </a:custGeom>
                <a:noFill/>
                <a:ln w="6350" cap="rnd">
                  <a:solidFill>
                    <a:schemeClr val="tx2"/>
                  </a:solidFill>
                  <a:prstDash val="solid"/>
                  <a:round/>
                </a:ln>
              </p:spPr>
              <p:txBody>
                <a:bodyPr rtlCol="0" anchor="ctr"/>
                <a:lstStyle/>
                <a:p>
                  <a:endParaRPr lang="en-US"/>
                </a:p>
              </p:txBody>
            </p:sp>
            <p:sp>
              <p:nvSpPr>
                <p:cNvPr id="994" name="Freeform: Shape 993">
                  <a:extLst>
                    <a:ext uri="{FF2B5EF4-FFF2-40B4-BE49-F238E27FC236}">
                      <a16:creationId xmlns:a16="http://schemas.microsoft.com/office/drawing/2014/main" id="{A6922FC8-149C-D8B7-75AA-25918556AE3F}"/>
                    </a:ext>
                  </a:extLst>
                </p:cNvPr>
                <p:cNvSpPr/>
                <p:nvPr/>
              </p:nvSpPr>
              <p:spPr>
                <a:xfrm>
                  <a:off x="1347575"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sp>
              <p:nvSpPr>
                <p:cNvPr id="995" name="Freeform: Shape 994">
                  <a:extLst>
                    <a:ext uri="{FF2B5EF4-FFF2-40B4-BE49-F238E27FC236}">
                      <a16:creationId xmlns:a16="http://schemas.microsoft.com/office/drawing/2014/main" id="{0AE616FE-18B1-C838-F6A5-21F25E5266E6}"/>
                    </a:ext>
                  </a:extLst>
                </p:cNvPr>
                <p:cNvSpPr/>
                <p:nvPr/>
              </p:nvSpPr>
              <p:spPr>
                <a:xfrm>
                  <a:off x="1278834"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grpSp>
          <p:grpSp>
            <p:nvGrpSpPr>
              <p:cNvPr id="989" name="Group 988">
                <a:extLst>
                  <a:ext uri="{FF2B5EF4-FFF2-40B4-BE49-F238E27FC236}">
                    <a16:creationId xmlns:a16="http://schemas.microsoft.com/office/drawing/2014/main" id="{52CA5ACF-416A-927B-07ED-F51C754F5F0A}"/>
                  </a:ext>
                </a:extLst>
              </p:cNvPr>
              <p:cNvGrpSpPr>
                <a:grpSpLocks noChangeAspect="1"/>
              </p:cNvGrpSpPr>
              <p:nvPr/>
            </p:nvGrpSpPr>
            <p:grpSpPr>
              <a:xfrm rot="376636">
                <a:off x="1358931" y="2270382"/>
                <a:ext cx="73354" cy="72000"/>
                <a:chOff x="4574431" y="1172888"/>
                <a:chExt cx="111147" cy="109095"/>
              </a:xfrm>
            </p:grpSpPr>
            <p:sp>
              <p:nvSpPr>
                <p:cNvPr id="990" name="Freeform: Shape 989">
                  <a:extLst>
                    <a:ext uri="{FF2B5EF4-FFF2-40B4-BE49-F238E27FC236}">
                      <a16:creationId xmlns:a16="http://schemas.microsoft.com/office/drawing/2014/main" id="{29E6E6D2-B397-40DD-FDE4-5A708AAC3AE1}"/>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accent1"/>
                  </a:solidFill>
                  <a:prstDash val="solid"/>
                  <a:round/>
                </a:ln>
              </p:spPr>
              <p:txBody>
                <a:bodyPr rtlCol="0" anchor="ctr"/>
                <a:lstStyle/>
                <a:p>
                  <a:endParaRPr lang="en-US"/>
                </a:p>
              </p:txBody>
            </p:sp>
            <p:sp>
              <p:nvSpPr>
                <p:cNvPr id="991" name="Freeform: Shape 990">
                  <a:extLst>
                    <a:ext uri="{FF2B5EF4-FFF2-40B4-BE49-F238E27FC236}">
                      <a16:creationId xmlns:a16="http://schemas.microsoft.com/office/drawing/2014/main" id="{2CDB8182-1CE0-B2B9-075F-07F2D177F902}"/>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accent1"/>
                  </a:solidFill>
                  <a:prstDash val="solid"/>
                  <a:round/>
                </a:ln>
              </p:spPr>
              <p:txBody>
                <a:bodyPr rtlCol="0" anchor="ctr"/>
                <a:lstStyle/>
                <a:p>
                  <a:endParaRPr lang="en-US"/>
                </a:p>
              </p:txBody>
            </p:sp>
            <p:sp>
              <p:nvSpPr>
                <p:cNvPr id="992" name="Freeform: Shape 991">
                  <a:extLst>
                    <a:ext uri="{FF2B5EF4-FFF2-40B4-BE49-F238E27FC236}">
                      <a16:creationId xmlns:a16="http://schemas.microsoft.com/office/drawing/2014/main" id="{13270322-DB69-A824-CD4D-BB16BCF9EC19}"/>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accent1"/>
                  </a:solidFill>
                  <a:prstDash val="solid"/>
                  <a:miter/>
                </a:ln>
              </p:spPr>
              <p:txBody>
                <a:bodyPr rtlCol="0" anchor="ctr"/>
                <a:lstStyle/>
                <a:p>
                  <a:endParaRPr lang="en-US"/>
                </a:p>
              </p:txBody>
            </p:sp>
          </p:grpSp>
        </p:grpSp>
        <p:grpSp>
          <p:nvGrpSpPr>
            <p:cNvPr id="996" name="Group 995">
              <a:extLst>
                <a:ext uri="{FF2B5EF4-FFF2-40B4-BE49-F238E27FC236}">
                  <a16:creationId xmlns:a16="http://schemas.microsoft.com/office/drawing/2014/main" id="{D8D81BAE-C4BF-8D28-1E54-496A4F6996A7}"/>
                </a:ext>
              </a:extLst>
            </p:cNvPr>
            <p:cNvGrpSpPr>
              <a:grpSpLocks noChangeAspect="1"/>
            </p:cNvGrpSpPr>
            <p:nvPr/>
          </p:nvGrpSpPr>
          <p:grpSpPr>
            <a:xfrm>
              <a:off x="3683473" y="3769275"/>
              <a:ext cx="111147" cy="109095"/>
              <a:chOff x="4574431" y="1172888"/>
              <a:chExt cx="111147" cy="109095"/>
            </a:xfrm>
          </p:grpSpPr>
          <p:sp>
            <p:nvSpPr>
              <p:cNvPr id="997" name="Freeform: Shape 996">
                <a:extLst>
                  <a:ext uri="{FF2B5EF4-FFF2-40B4-BE49-F238E27FC236}">
                    <a16:creationId xmlns:a16="http://schemas.microsoft.com/office/drawing/2014/main" id="{85AC224E-6DD1-C26A-F79E-9C3571951DED}"/>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3652" cap="rnd">
                <a:solidFill>
                  <a:schemeClr val="accent1"/>
                </a:solidFill>
                <a:prstDash val="solid"/>
                <a:round/>
              </a:ln>
            </p:spPr>
            <p:txBody>
              <a:bodyPr rtlCol="0" anchor="ctr"/>
              <a:lstStyle/>
              <a:p>
                <a:endParaRPr lang="en-US"/>
              </a:p>
            </p:txBody>
          </p:sp>
          <p:sp>
            <p:nvSpPr>
              <p:cNvPr id="998" name="Freeform: Shape 997">
                <a:extLst>
                  <a:ext uri="{FF2B5EF4-FFF2-40B4-BE49-F238E27FC236}">
                    <a16:creationId xmlns:a16="http://schemas.microsoft.com/office/drawing/2014/main" id="{EE9928FE-D7C5-C5C2-7EC0-C631FF9F7778}"/>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3652" cap="rnd">
                <a:solidFill>
                  <a:schemeClr val="accent1"/>
                </a:solidFill>
                <a:prstDash val="solid"/>
                <a:round/>
              </a:ln>
            </p:spPr>
            <p:txBody>
              <a:bodyPr rtlCol="0" anchor="ctr"/>
              <a:lstStyle/>
              <a:p>
                <a:endParaRPr lang="en-US"/>
              </a:p>
            </p:txBody>
          </p:sp>
          <p:sp>
            <p:nvSpPr>
              <p:cNvPr id="999" name="Freeform: Shape 998">
                <a:extLst>
                  <a:ext uri="{FF2B5EF4-FFF2-40B4-BE49-F238E27FC236}">
                    <a16:creationId xmlns:a16="http://schemas.microsoft.com/office/drawing/2014/main" id="{8ADA47D1-F7DA-35BE-8305-EBF25F15EC6F}"/>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3652" cap="flat">
                <a:solidFill>
                  <a:schemeClr val="accent1"/>
                </a:solidFill>
                <a:prstDash val="solid"/>
                <a:miter/>
              </a:ln>
            </p:spPr>
            <p:txBody>
              <a:bodyPr rtlCol="0" anchor="ctr"/>
              <a:lstStyle/>
              <a:p>
                <a:endParaRPr lang="en-US"/>
              </a:p>
            </p:txBody>
          </p:sp>
        </p:grpSp>
        <p:grpSp>
          <p:nvGrpSpPr>
            <p:cNvPr id="1000" name="Group 999">
              <a:extLst>
                <a:ext uri="{FF2B5EF4-FFF2-40B4-BE49-F238E27FC236}">
                  <a16:creationId xmlns:a16="http://schemas.microsoft.com/office/drawing/2014/main" id="{285AF9FC-42AC-A278-759A-78EA19B9358A}"/>
                </a:ext>
              </a:extLst>
            </p:cNvPr>
            <p:cNvGrpSpPr>
              <a:grpSpLocks noChangeAspect="1"/>
            </p:cNvGrpSpPr>
            <p:nvPr/>
          </p:nvGrpSpPr>
          <p:grpSpPr>
            <a:xfrm rot="13715048">
              <a:off x="2811442" y="4175092"/>
              <a:ext cx="111147" cy="109095"/>
              <a:chOff x="4574431" y="1172888"/>
              <a:chExt cx="111147" cy="109095"/>
            </a:xfrm>
          </p:grpSpPr>
          <p:sp>
            <p:nvSpPr>
              <p:cNvPr id="1001" name="Freeform: Shape 1000">
                <a:extLst>
                  <a:ext uri="{FF2B5EF4-FFF2-40B4-BE49-F238E27FC236}">
                    <a16:creationId xmlns:a16="http://schemas.microsoft.com/office/drawing/2014/main" id="{38E94DC3-DFFD-85D1-0FF6-648C22E7F8AE}"/>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3652" cap="rnd">
                <a:solidFill>
                  <a:schemeClr val="bg1"/>
                </a:solidFill>
                <a:prstDash val="solid"/>
                <a:round/>
              </a:ln>
            </p:spPr>
            <p:txBody>
              <a:bodyPr rtlCol="0" anchor="ctr"/>
              <a:lstStyle/>
              <a:p>
                <a:endParaRPr lang="en-US"/>
              </a:p>
            </p:txBody>
          </p:sp>
          <p:sp>
            <p:nvSpPr>
              <p:cNvPr id="1002" name="Freeform: Shape 1001">
                <a:extLst>
                  <a:ext uri="{FF2B5EF4-FFF2-40B4-BE49-F238E27FC236}">
                    <a16:creationId xmlns:a16="http://schemas.microsoft.com/office/drawing/2014/main" id="{6D991B3E-889B-4E88-12D0-CC82DF899AD8}"/>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3652" cap="rnd">
                <a:solidFill>
                  <a:schemeClr val="bg1"/>
                </a:solidFill>
                <a:prstDash val="solid"/>
                <a:round/>
              </a:ln>
            </p:spPr>
            <p:txBody>
              <a:bodyPr rtlCol="0" anchor="ctr"/>
              <a:lstStyle/>
              <a:p>
                <a:endParaRPr lang="en-US"/>
              </a:p>
            </p:txBody>
          </p:sp>
          <p:sp>
            <p:nvSpPr>
              <p:cNvPr id="1003" name="Freeform: Shape 1002">
                <a:extLst>
                  <a:ext uri="{FF2B5EF4-FFF2-40B4-BE49-F238E27FC236}">
                    <a16:creationId xmlns:a16="http://schemas.microsoft.com/office/drawing/2014/main" id="{167C2820-2809-AF34-E2F7-66448C6F54B4}"/>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3652" cap="flat">
                <a:solidFill>
                  <a:schemeClr val="bg1"/>
                </a:solidFill>
                <a:prstDash val="solid"/>
                <a:miter/>
              </a:ln>
            </p:spPr>
            <p:txBody>
              <a:bodyPr rtlCol="0" anchor="ctr"/>
              <a:lstStyle/>
              <a:p>
                <a:endParaRPr lang="en-US"/>
              </a:p>
            </p:txBody>
          </p:sp>
        </p:grpSp>
        <p:grpSp>
          <p:nvGrpSpPr>
            <p:cNvPr id="1004" name="Group 1003">
              <a:extLst>
                <a:ext uri="{FF2B5EF4-FFF2-40B4-BE49-F238E27FC236}">
                  <a16:creationId xmlns:a16="http://schemas.microsoft.com/office/drawing/2014/main" id="{30692FFF-84D1-EC59-CF1A-413EEF3F2284}"/>
                </a:ext>
              </a:extLst>
            </p:cNvPr>
            <p:cNvGrpSpPr>
              <a:grpSpLocks noChangeAspect="1"/>
            </p:cNvGrpSpPr>
            <p:nvPr/>
          </p:nvGrpSpPr>
          <p:grpSpPr>
            <a:xfrm>
              <a:off x="2679757" y="3995625"/>
              <a:ext cx="73354" cy="72000"/>
              <a:chOff x="4574431" y="1172888"/>
              <a:chExt cx="111147" cy="109095"/>
            </a:xfrm>
          </p:grpSpPr>
          <p:sp>
            <p:nvSpPr>
              <p:cNvPr id="1005" name="Freeform: Shape 1004">
                <a:extLst>
                  <a:ext uri="{FF2B5EF4-FFF2-40B4-BE49-F238E27FC236}">
                    <a16:creationId xmlns:a16="http://schemas.microsoft.com/office/drawing/2014/main" id="{7522E34A-4D79-CF9D-0966-08F03D7F6FB5}"/>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06" name="Freeform: Shape 1005">
                <a:extLst>
                  <a:ext uri="{FF2B5EF4-FFF2-40B4-BE49-F238E27FC236}">
                    <a16:creationId xmlns:a16="http://schemas.microsoft.com/office/drawing/2014/main" id="{C3DDB540-4B05-E32A-695F-6405856DB4A0}"/>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07" name="Freeform: Shape 1006">
                <a:extLst>
                  <a:ext uri="{FF2B5EF4-FFF2-40B4-BE49-F238E27FC236}">
                    <a16:creationId xmlns:a16="http://schemas.microsoft.com/office/drawing/2014/main" id="{4EC759EB-4640-1E15-DD2D-36866F2A12F3}"/>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nvGrpSpPr>
            <p:cNvPr id="1008" name="Group 1007">
              <a:extLst>
                <a:ext uri="{FF2B5EF4-FFF2-40B4-BE49-F238E27FC236}">
                  <a16:creationId xmlns:a16="http://schemas.microsoft.com/office/drawing/2014/main" id="{1BA9099C-5B6C-36F4-5A80-B2BC124E8DDA}"/>
                </a:ext>
              </a:extLst>
            </p:cNvPr>
            <p:cNvGrpSpPr>
              <a:grpSpLocks noChangeAspect="1"/>
            </p:cNvGrpSpPr>
            <p:nvPr/>
          </p:nvGrpSpPr>
          <p:grpSpPr>
            <a:xfrm rot="15491124">
              <a:off x="2230630" y="3835081"/>
              <a:ext cx="73354" cy="72000"/>
              <a:chOff x="4574431" y="1172888"/>
              <a:chExt cx="111147" cy="109095"/>
            </a:xfrm>
          </p:grpSpPr>
          <p:sp>
            <p:nvSpPr>
              <p:cNvPr id="1009" name="Freeform: Shape 1008">
                <a:extLst>
                  <a:ext uri="{FF2B5EF4-FFF2-40B4-BE49-F238E27FC236}">
                    <a16:creationId xmlns:a16="http://schemas.microsoft.com/office/drawing/2014/main" id="{5CB99723-47A8-DFDA-A212-E6B94AF9FC9A}"/>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10" name="Freeform: Shape 1009">
                <a:extLst>
                  <a:ext uri="{FF2B5EF4-FFF2-40B4-BE49-F238E27FC236}">
                    <a16:creationId xmlns:a16="http://schemas.microsoft.com/office/drawing/2014/main" id="{C80B6095-CDD3-8BF4-AED6-BFC932F70F7B}"/>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11" name="Freeform: Shape 1010">
                <a:extLst>
                  <a:ext uri="{FF2B5EF4-FFF2-40B4-BE49-F238E27FC236}">
                    <a16:creationId xmlns:a16="http://schemas.microsoft.com/office/drawing/2014/main" id="{0DE77481-63B7-F16C-4292-A57DB317B343}"/>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nvGrpSpPr>
            <p:cNvPr id="1012" name="Group 1011">
              <a:extLst>
                <a:ext uri="{FF2B5EF4-FFF2-40B4-BE49-F238E27FC236}">
                  <a16:creationId xmlns:a16="http://schemas.microsoft.com/office/drawing/2014/main" id="{FF10DA82-E3D5-5FCC-3CD6-D5A699DF77E8}"/>
                </a:ext>
              </a:extLst>
            </p:cNvPr>
            <p:cNvGrpSpPr>
              <a:grpSpLocks noChangeAspect="1"/>
            </p:cNvGrpSpPr>
            <p:nvPr/>
          </p:nvGrpSpPr>
          <p:grpSpPr>
            <a:xfrm rot="19291633">
              <a:off x="1407464" y="3835082"/>
              <a:ext cx="73354" cy="72000"/>
              <a:chOff x="4574431" y="1172888"/>
              <a:chExt cx="111147" cy="109095"/>
            </a:xfrm>
          </p:grpSpPr>
          <p:sp>
            <p:nvSpPr>
              <p:cNvPr id="1013" name="Freeform: Shape 1012">
                <a:extLst>
                  <a:ext uri="{FF2B5EF4-FFF2-40B4-BE49-F238E27FC236}">
                    <a16:creationId xmlns:a16="http://schemas.microsoft.com/office/drawing/2014/main" id="{ABE2956E-45A4-3500-5114-65D9048D0745}"/>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14" name="Freeform: Shape 1013">
                <a:extLst>
                  <a:ext uri="{FF2B5EF4-FFF2-40B4-BE49-F238E27FC236}">
                    <a16:creationId xmlns:a16="http://schemas.microsoft.com/office/drawing/2014/main" id="{CF075C44-8EE6-6522-5AB4-2698A41E735E}"/>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15" name="Freeform: Shape 1014">
                <a:extLst>
                  <a:ext uri="{FF2B5EF4-FFF2-40B4-BE49-F238E27FC236}">
                    <a16:creationId xmlns:a16="http://schemas.microsoft.com/office/drawing/2014/main" id="{63A12D8C-31C4-D4EA-2FB6-27BC375B04EE}"/>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nvGrpSpPr>
            <p:cNvPr id="1016" name="Group 1015">
              <a:extLst>
                <a:ext uri="{FF2B5EF4-FFF2-40B4-BE49-F238E27FC236}">
                  <a16:creationId xmlns:a16="http://schemas.microsoft.com/office/drawing/2014/main" id="{96229D4A-B180-8B2A-91C7-29AFB05E490F}"/>
                </a:ext>
              </a:extLst>
            </p:cNvPr>
            <p:cNvGrpSpPr>
              <a:grpSpLocks noChangeAspect="1"/>
            </p:cNvGrpSpPr>
            <p:nvPr/>
          </p:nvGrpSpPr>
          <p:grpSpPr>
            <a:xfrm rot="19291633">
              <a:off x="950280" y="3936420"/>
              <a:ext cx="73354" cy="72000"/>
              <a:chOff x="4574431" y="1172888"/>
              <a:chExt cx="111147" cy="109095"/>
            </a:xfrm>
          </p:grpSpPr>
          <p:sp>
            <p:nvSpPr>
              <p:cNvPr id="1017" name="Freeform: Shape 1016">
                <a:extLst>
                  <a:ext uri="{FF2B5EF4-FFF2-40B4-BE49-F238E27FC236}">
                    <a16:creationId xmlns:a16="http://schemas.microsoft.com/office/drawing/2014/main" id="{414EC0F3-53DF-177C-9AB4-BA4B1BD5FB4C}"/>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18" name="Freeform: Shape 1017">
                <a:extLst>
                  <a:ext uri="{FF2B5EF4-FFF2-40B4-BE49-F238E27FC236}">
                    <a16:creationId xmlns:a16="http://schemas.microsoft.com/office/drawing/2014/main" id="{8EA160DE-7FD5-206F-518B-3039CE0CA0D5}"/>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19" name="Freeform: Shape 1018">
                <a:extLst>
                  <a:ext uri="{FF2B5EF4-FFF2-40B4-BE49-F238E27FC236}">
                    <a16:creationId xmlns:a16="http://schemas.microsoft.com/office/drawing/2014/main" id="{CACF3EDB-F578-CD83-A0F6-40708728C63B}"/>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nvGrpSpPr>
            <p:cNvPr id="1020" name="Group 1019">
              <a:extLst>
                <a:ext uri="{FF2B5EF4-FFF2-40B4-BE49-F238E27FC236}">
                  <a16:creationId xmlns:a16="http://schemas.microsoft.com/office/drawing/2014/main" id="{0F9A5AE5-AB17-061B-97C7-5EFA736E7D25}"/>
                </a:ext>
              </a:extLst>
            </p:cNvPr>
            <p:cNvGrpSpPr/>
            <p:nvPr/>
          </p:nvGrpSpPr>
          <p:grpSpPr>
            <a:xfrm>
              <a:off x="564700" y="3665958"/>
              <a:ext cx="232626" cy="180799"/>
              <a:chOff x="1199659" y="2270382"/>
              <a:chExt cx="232626" cy="180799"/>
            </a:xfrm>
          </p:grpSpPr>
          <p:grpSp>
            <p:nvGrpSpPr>
              <p:cNvPr id="1021" name="Group 1020">
                <a:extLst>
                  <a:ext uri="{FF2B5EF4-FFF2-40B4-BE49-F238E27FC236}">
                    <a16:creationId xmlns:a16="http://schemas.microsoft.com/office/drawing/2014/main" id="{94B999D9-8C5F-D265-57E5-42A71F55A821}"/>
                  </a:ext>
                </a:extLst>
              </p:cNvPr>
              <p:cNvGrpSpPr>
                <a:grpSpLocks noChangeAspect="1"/>
              </p:cNvGrpSpPr>
              <p:nvPr/>
            </p:nvGrpSpPr>
            <p:grpSpPr>
              <a:xfrm>
                <a:off x="1199659" y="2348701"/>
                <a:ext cx="148458" cy="102480"/>
                <a:chOff x="1144089" y="2212882"/>
                <a:chExt cx="274961" cy="189805"/>
              </a:xfrm>
            </p:grpSpPr>
            <p:sp>
              <p:nvSpPr>
                <p:cNvPr id="1026" name="Freeform: Shape 1025">
                  <a:extLst>
                    <a:ext uri="{FF2B5EF4-FFF2-40B4-BE49-F238E27FC236}">
                      <a16:creationId xmlns:a16="http://schemas.microsoft.com/office/drawing/2014/main" id="{20606007-A777-FE8D-8BDF-D5EE96FA909C}"/>
                    </a:ext>
                  </a:extLst>
                </p:cNvPr>
                <p:cNvSpPr/>
                <p:nvPr/>
              </p:nvSpPr>
              <p:spPr>
                <a:xfrm>
                  <a:off x="1144089" y="2212882"/>
                  <a:ext cx="274961" cy="189805"/>
                </a:xfrm>
                <a:custGeom>
                  <a:avLst/>
                  <a:gdLst>
                    <a:gd name="connsiteX0" fmla="*/ 188096 w 274961"/>
                    <a:gd name="connsiteY0" fmla="*/ 57113 h 189805"/>
                    <a:gd name="connsiteX1" fmla="*/ 137481 w 274961"/>
                    <a:gd name="connsiteY1" fmla="*/ 57113 h 189805"/>
                    <a:gd name="connsiteX2" fmla="*/ 29069 w 274961"/>
                    <a:gd name="connsiteY2" fmla="*/ 57113 h 189805"/>
                    <a:gd name="connsiteX3" fmla="*/ 0 w 274961"/>
                    <a:gd name="connsiteY3" fmla="*/ 88576 h 189805"/>
                    <a:gd name="connsiteX4" fmla="*/ 0 w 274961"/>
                    <a:gd name="connsiteY4" fmla="*/ 158343 h 189805"/>
                    <a:gd name="connsiteX5" fmla="*/ 29069 w 274961"/>
                    <a:gd name="connsiteY5" fmla="*/ 189806 h 189805"/>
                    <a:gd name="connsiteX6" fmla="*/ 245893 w 274961"/>
                    <a:gd name="connsiteY6" fmla="*/ 189806 h 189805"/>
                    <a:gd name="connsiteX7" fmla="*/ 274962 w 274961"/>
                    <a:gd name="connsiteY7" fmla="*/ 158343 h 189805"/>
                    <a:gd name="connsiteX8" fmla="*/ 274962 w 274961"/>
                    <a:gd name="connsiteY8" fmla="*/ 88234 h 189805"/>
                    <a:gd name="connsiteX9" fmla="*/ 242473 w 274961"/>
                    <a:gd name="connsiteY9" fmla="*/ 56771 h 189805"/>
                    <a:gd name="connsiteX10" fmla="*/ 242473 w 274961"/>
                    <a:gd name="connsiteY10" fmla="*/ 0 h 18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961" h="189805">
                      <a:moveTo>
                        <a:pt x="188096" y="57113"/>
                      </a:moveTo>
                      <a:lnTo>
                        <a:pt x="137481" y="57113"/>
                      </a:lnTo>
                      <a:lnTo>
                        <a:pt x="29069" y="57113"/>
                      </a:lnTo>
                      <a:cubicBezTo>
                        <a:pt x="12996" y="57113"/>
                        <a:pt x="0" y="71134"/>
                        <a:pt x="0" y="88576"/>
                      </a:cubicBezTo>
                      <a:lnTo>
                        <a:pt x="0" y="158343"/>
                      </a:lnTo>
                      <a:cubicBezTo>
                        <a:pt x="0" y="175442"/>
                        <a:pt x="12996" y="189806"/>
                        <a:pt x="29069" y="189806"/>
                      </a:cubicBezTo>
                      <a:lnTo>
                        <a:pt x="245893" y="189806"/>
                      </a:lnTo>
                      <a:cubicBezTo>
                        <a:pt x="261966" y="189806"/>
                        <a:pt x="274962" y="175784"/>
                        <a:pt x="274962" y="158343"/>
                      </a:cubicBezTo>
                      <a:lnTo>
                        <a:pt x="274962" y="88234"/>
                      </a:lnTo>
                      <a:cubicBezTo>
                        <a:pt x="274962" y="69424"/>
                        <a:pt x="260598" y="56771"/>
                        <a:pt x="242473" y="56771"/>
                      </a:cubicBezTo>
                      <a:lnTo>
                        <a:pt x="242473" y="0"/>
                      </a:lnTo>
                    </a:path>
                  </a:pathLst>
                </a:custGeom>
                <a:noFill/>
                <a:ln w="6350" cap="rnd">
                  <a:solidFill>
                    <a:schemeClr val="tx2"/>
                  </a:solidFill>
                  <a:prstDash val="solid"/>
                  <a:round/>
                </a:ln>
              </p:spPr>
              <p:txBody>
                <a:bodyPr rtlCol="0" anchor="ctr"/>
                <a:lstStyle/>
                <a:p>
                  <a:endParaRPr lang="en-US"/>
                </a:p>
              </p:txBody>
            </p:sp>
            <p:sp>
              <p:nvSpPr>
                <p:cNvPr id="1027" name="Freeform: Shape 1026">
                  <a:extLst>
                    <a:ext uri="{FF2B5EF4-FFF2-40B4-BE49-F238E27FC236}">
                      <a16:creationId xmlns:a16="http://schemas.microsoft.com/office/drawing/2014/main" id="{F83E0D69-451A-99D8-A042-706FDED4B910}"/>
                    </a:ext>
                  </a:extLst>
                </p:cNvPr>
                <p:cNvSpPr/>
                <p:nvPr/>
              </p:nvSpPr>
              <p:spPr>
                <a:xfrm>
                  <a:off x="1347575"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sp>
              <p:nvSpPr>
                <p:cNvPr id="1028" name="Freeform: Shape 1027">
                  <a:extLst>
                    <a:ext uri="{FF2B5EF4-FFF2-40B4-BE49-F238E27FC236}">
                      <a16:creationId xmlns:a16="http://schemas.microsoft.com/office/drawing/2014/main" id="{8E87D880-F337-6454-9F36-49A3E6D4F828}"/>
                    </a:ext>
                  </a:extLst>
                </p:cNvPr>
                <p:cNvSpPr/>
                <p:nvPr/>
              </p:nvSpPr>
              <p:spPr>
                <a:xfrm>
                  <a:off x="1278834"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grpSp>
          <p:grpSp>
            <p:nvGrpSpPr>
              <p:cNvPr id="1022" name="Group 1021">
                <a:extLst>
                  <a:ext uri="{FF2B5EF4-FFF2-40B4-BE49-F238E27FC236}">
                    <a16:creationId xmlns:a16="http://schemas.microsoft.com/office/drawing/2014/main" id="{23BE55C5-32DC-973B-3B09-E92D5EAD21B1}"/>
                  </a:ext>
                </a:extLst>
              </p:cNvPr>
              <p:cNvGrpSpPr>
                <a:grpSpLocks noChangeAspect="1"/>
              </p:cNvGrpSpPr>
              <p:nvPr/>
            </p:nvGrpSpPr>
            <p:grpSpPr>
              <a:xfrm rot="376636">
                <a:off x="1358931" y="2270382"/>
                <a:ext cx="73354" cy="72000"/>
                <a:chOff x="4574431" y="1172888"/>
                <a:chExt cx="111147" cy="109095"/>
              </a:xfrm>
            </p:grpSpPr>
            <p:sp>
              <p:nvSpPr>
                <p:cNvPr id="1023" name="Freeform: Shape 1022">
                  <a:extLst>
                    <a:ext uri="{FF2B5EF4-FFF2-40B4-BE49-F238E27FC236}">
                      <a16:creationId xmlns:a16="http://schemas.microsoft.com/office/drawing/2014/main" id="{A2B5C1DB-CA55-C055-7230-8DCA18FA4F56}"/>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accent1"/>
                  </a:solidFill>
                  <a:prstDash val="solid"/>
                  <a:round/>
                </a:ln>
              </p:spPr>
              <p:txBody>
                <a:bodyPr rtlCol="0" anchor="ctr"/>
                <a:lstStyle/>
                <a:p>
                  <a:endParaRPr lang="en-US"/>
                </a:p>
              </p:txBody>
            </p:sp>
            <p:sp>
              <p:nvSpPr>
                <p:cNvPr id="1024" name="Freeform: Shape 1023">
                  <a:extLst>
                    <a:ext uri="{FF2B5EF4-FFF2-40B4-BE49-F238E27FC236}">
                      <a16:creationId xmlns:a16="http://schemas.microsoft.com/office/drawing/2014/main" id="{A4EED08A-6C56-31F2-BFC1-10080F0335A9}"/>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accent1"/>
                  </a:solidFill>
                  <a:prstDash val="solid"/>
                  <a:round/>
                </a:ln>
              </p:spPr>
              <p:txBody>
                <a:bodyPr rtlCol="0" anchor="ctr"/>
                <a:lstStyle/>
                <a:p>
                  <a:endParaRPr lang="en-US"/>
                </a:p>
              </p:txBody>
            </p:sp>
            <p:sp>
              <p:nvSpPr>
                <p:cNvPr id="1025" name="Freeform: Shape 1024">
                  <a:extLst>
                    <a:ext uri="{FF2B5EF4-FFF2-40B4-BE49-F238E27FC236}">
                      <a16:creationId xmlns:a16="http://schemas.microsoft.com/office/drawing/2014/main" id="{251FAF7C-B02B-D8AB-ACF3-B064D2A32035}"/>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accent1"/>
                  </a:solidFill>
                  <a:prstDash val="solid"/>
                  <a:miter/>
                </a:ln>
              </p:spPr>
              <p:txBody>
                <a:bodyPr rtlCol="0" anchor="ctr"/>
                <a:lstStyle/>
                <a:p>
                  <a:endParaRPr lang="en-US"/>
                </a:p>
              </p:txBody>
            </p:sp>
          </p:grpSp>
        </p:grpSp>
        <p:grpSp>
          <p:nvGrpSpPr>
            <p:cNvPr id="1081" name="Group 1080">
              <a:extLst>
                <a:ext uri="{FF2B5EF4-FFF2-40B4-BE49-F238E27FC236}">
                  <a16:creationId xmlns:a16="http://schemas.microsoft.com/office/drawing/2014/main" id="{55DCAF63-BCA3-D277-1A5F-98D416C9D07E}"/>
                </a:ext>
              </a:extLst>
            </p:cNvPr>
            <p:cNvGrpSpPr/>
            <p:nvPr/>
          </p:nvGrpSpPr>
          <p:grpSpPr>
            <a:xfrm>
              <a:off x="3241426" y="3345924"/>
              <a:ext cx="232626" cy="180799"/>
              <a:chOff x="1199659" y="2270382"/>
              <a:chExt cx="232626" cy="180799"/>
            </a:xfrm>
          </p:grpSpPr>
          <p:grpSp>
            <p:nvGrpSpPr>
              <p:cNvPr id="1082" name="Group 1081">
                <a:extLst>
                  <a:ext uri="{FF2B5EF4-FFF2-40B4-BE49-F238E27FC236}">
                    <a16:creationId xmlns:a16="http://schemas.microsoft.com/office/drawing/2014/main" id="{BE3C9F1F-C71D-D4BC-A005-CAC73459D933}"/>
                  </a:ext>
                </a:extLst>
              </p:cNvPr>
              <p:cNvGrpSpPr>
                <a:grpSpLocks noChangeAspect="1"/>
              </p:cNvGrpSpPr>
              <p:nvPr/>
            </p:nvGrpSpPr>
            <p:grpSpPr>
              <a:xfrm>
                <a:off x="1199659" y="2348701"/>
                <a:ext cx="148458" cy="102480"/>
                <a:chOff x="1144089" y="2212882"/>
                <a:chExt cx="274961" cy="189805"/>
              </a:xfrm>
            </p:grpSpPr>
            <p:sp>
              <p:nvSpPr>
                <p:cNvPr id="1087" name="Freeform: Shape 1086">
                  <a:extLst>
                    <a:ext uri="{FF2B5EF4-FFF2-40B4-BE49-F238E27FC236}">
                      <a16:creationId xmlns:a16="http://schemas.microsoft.com/office/drawing/2014/main" id="{73BB56A1-C428-6B28-F21F-CCEDF6CF5B4F}"/>
                    </a:ext>
                  </a:extLst>
                </p:cNvPr>
                <p:cNvSpPr/>
                <p:nvPr/>
              </p:nvSpPr>
              <p:spPr>
                <a:xfrm>
                  <a:off x="1144089" y="2212882"/>
                  <a:ext cx="274961" cy="189805"/>
                </a:xfrm>
                <a:custGeom>
                  <a:avLst/>
                  <a:gdLst>
                    <a:gd name="connsiteX0" fmla="*/ 188096 w 274961"/>
                    <a:gd name="connsiteY0" fmla="*/ 57113 h 189805"/>
                    <a:gd name="connsiteX1" fmla="*/ 137481 w 274961"/>
                    <a:gd name="connsiteY1" fmla="*/ 57113 h 189805"/>
                    <a:gd name="connsiteX2" fmla="*/ 29069 w 274961"/>
                    <a:gd name="connsiteY2" fmla="*/ 57113 h 189805"/>
                    <a:gd name="connsiteX3" fmla="*/ 0 w 274961"/>
                    <a:gd name="connsiteY3" fmla="*/ 88576 h 189805"/>
                    <a:gd name="connsiteX4" fmla="*/ 0 w 274961"/>
                    <a:gd name="connsiteY4" fmla="*/ 158343 h 189805"/>
                    <a:gd name="connsiteX5" fmla="*/ 29069 w 274961"/>
                    <a:gd name="connsiteY5" fmla="*/ 189806 h 189805"/>
                    <a:gd name="connsiteX6" fmla="*/ 245893 w 274961"/>
                    <a:gd name="connsiteY6" fmla="*/ 189806 h 189805"/>
                    <a:gd name="connsiteX7" fmla="*/ 274962 w 274961"/>
                    <a:gd name="connsiteY7" fmla="*/ 158343 h 189805"/>
                    <a:gd name="connsiteX8" fmla="*/ 274962 w 274961"/>
                    <a:gd name="connsiteY8" fmla="*/ 88234 h 189805"/>
                    <a:gd name="connsiteX9" fmla="*/ 242473 w 274961"/>
                    <a:gd name="connsiteY9" fmla="*/ 56771 h 189805"/>
                    <a:gd name="connsiteX10" fmla="*/ 242473 w 274961"/>
                    <a:gd name="connsiteY10" fmla="*/ 0 h 18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961" h="189805">
                      <a:moveTo>
                        <a:pt x="188096" y="57113"/>
                      </a:moveTo>
                      <a:lnTo>
                        <a:pt x="137481" y="57113"/>
                      </a:lnTo>
                      <a:lnTo>
                        <a:pt x="29069" y="57113"/>
                      </a:lnTo>
                      <a:cubicBezTo>
                        <a:pt x="12996" y="57113"/>
                        <a:pt x="0" y="71134"/>
                        <a:pt x="0" y="88576"/>
                      </a:cubicBezTo>
                      <a:lnTo>
                        <a:pt x="0" y="158343"/>
                      </a:lnTo>
                      <a:cubicBezTo>
                        <a:pt x="0" y="175442"/>
                        <a:pt x="12996" y="189806"/>
                        <a:pt x="29069" y="189806"/>
                      </a:cubicBezTo>
                      <a:lnTo>
                        <a:pt x="245893" y="189806"/>
                      </a:lnTo>
                      <a:cubicBezTo>
                        <a:pt x="261966" y="189806"/>
                        <a:pt x="274962" y="175784"/>
                        <a:pt x="274962" y="158343"/>
                      </a:cubicBezTo>
                      <a:lnTo>
                        <a:pt x="274962" y="88234"/>
                      </a:lnTo>
                      <a:cubicBezTo>
                        <a:pt x="274962" y="69424"/>
                        <a:pt x="260598" y="56771"/>
                        <a:pt x="242473" y="56771"/>
                      </a:cubicBezTo>
                      <a:lnTo>
                        <a:pt x="242473" y="0"/>
                      </a:lnTo>
                    </a:path>
                  </a:pathLst>
                </a:custGeom>
                <a:noFill/>
                <a:ln w="6350" cap="rnd">
                  <a:solidFill>
                    <a:schemeClr val="tx2"/>
                  </a:solidFill>
                  <a:prstDash val="solid"/>
                  <a:round/>
                </a:ln>
              </p:spPr>
              <p:txBody>
                <a:bodyPr rtlCol="0" anchor="ctr"/>
                <a:lstStyle/>
                <a:p>
                  <a:endParaRPr lang="en-US"/>
                </a:p>
              </p:txBody>
            </p:sp>
            <p:sp>
              <p:nvSpPr>
                <p:cNvPr id="1088" name="Freeform: Shape 1087">
                  <a:extLst>
                    <a:ext uri="{FF2B5EF4-FFF2-40B4-BE49-F238E27FC236}">
                      <a16:creationId xmlns:a16="http://schemas.microsoft.com/office/drawing/2014/main" id="{A94D8123-F57F-0FEB-9170-0A5198CFFC9E}"/>
                    </a:ext>
                  </a:extLst>
                </p:cNvPr>
                <p:cNvSpPr/>
                <p:nvPr/>
              </p:nvSpPr>
              <p:spPr>
                <a:xfrm>
                  <a:off x="1347575"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sp>
              <p:nvSpPr>
                <p:cNvPr id="1089" name="Freeform: Shape 1088">
                  <a:extLst>
                    <a:ext uri="{FF2B5EF4-FFF2-40B4-BE49-F238E27FC236}">
                      <a16:creationId xmlns:a16="http://schemas.microsoft.com/office/drawing/2014/main" id="{0793E502-6289-EB49-7B56-258C8406BF8E}"/>
                    </a:ext>
                  </a:extLst>
                </p:cNvPr>
                <p:cNvSpPr/>
                <p:nvPr/>
              </p:nvSpPr>
              <p:spPr>
                <a:xfrm>
                  <a:off x="1278834" y="2325740"/>
                  <a:ext cx="20519" cy="20519"/>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noFill/>
                <a:ln w="6350" cap="flat">
                  <a:solidFill>
                    <a:schemeClr val="tx2"/>
                  </a:solidFill>
                  <a:prstDash val="solid"/>
                  <a:miter/>
                </a:ln>
              </p:spPr>
              <p:txBody>
                <a:bodyPr rtlCol="0" anchor="ctr"/>
                <a:lstStyle/>
                <a:p>
                  <a:endParaRPr lang="en-US"/>
                </a:p>
              </p:txBody>
            </p:sp>
          </p:grpSp>
          <p:grpSp>
            <p:nvGrpSpPr>
              <p:cNvPr id="1083" name="Group 1082">
                <a:extLst>
                  <a:ext uri="{FF2B5EF4-FFF2-40B4-BE49-F238E27FC236}">
                    <a16:creationId xmlns:a16="http://schemas.microsoft.com/office/drawing/2014/main" id="{2E8413C4-1A0C-98AF-32AE-63AD6A856244}"/>
                  </a:ext>
                </a:extLst>
              </p:cNvPr>
              <p:cNvGrpSpPr>
                <a:grpSpLocks noChangeAspect="1"/>
              </p:cNvGrpSpPr>
              <p:nvPr/>
            </p:nvGrpSpPr>
            <p:grpSpPr>
              <a:xfrm rot="376636">
                <a:off x="1358931" y="2270382"/>
                <a:ext cx="73354" cy="72000"/>
                <a:chOff x="4574431" y="1172888"/>
                <a:chExt cx="111147" cy="109095"/>
              </a:xfrm>
            </p:grpSpPr>
            <p:sp>
              <p:nvSpPr>
                <p:cNvPr id="1084" name="Freeform: Shape 1083">
                  <a:extLst>
                    <a:ext uri="{FF2B5EF4-FFF2-40B4-BE49-F238E27FC236}">
                      <a16:creationId xmlns:a16="http://schemas.microsoft.com/office/drawing/2014/main" id="{9E135523-3161-4C22-158D-8A3D657F929C}"/>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9525" cap="rnd">
                  <a:solidFill>
                    <a:schemeClr val="accent1"/>
                  </a:solidFill>
                  <a:prstDash val="solid"/>
                  <a:round/>
                </a:ln>
              </p:spPr>
              <p:txBody>
                <a:bodyPr rtlCol="0" anchor="ctr"/>
                <a:lstStyle/>
                <a:p>
                  <a:endParaRPr lang="en-US"/>
                </a:p>
              </p:txBody>
            </p:sp>
            <p:sp>
              <p:nvSpPr>
                <p:cNvPr id="1085" name="Freeform: Shape 1084">
                  <a:extLst>
                    <a:ext uri="{FF2B5EF4-FFF2-40B4-BE49-F238E27FC236}">
                      <a16:creationId xmlns:a16="http://schemas.microsoft.com/office/drawing/2014/main" id="{F4A3591A-0D4F-01CD-6E11-6596C64A4EC9}"/>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9525" cap="rnd">
                  <a:solidFill>
                    <a:schemeClr val="accent1"/>
                  </a:solidFill>
                  <a:prstDash val="solid"/>
                  <a:round/>
                </a:ln>
              </p:spPr>
              <p:txBody>
                <a:bodyPr rtlCol="0" anchor="ctr"/>
                <a:lstStyle/>
                <a:p>
                  <a:endParaRPr lang="en-US"/>
                </a:p>
              </p:txBody>
            </p:sp>
            <p:sp>
              <p:nvSpPr>
                <p:cNvPr id="1086" name="Freeform: Shape 1085">
                  <a:extLst>
                    <a:ext uri="{FF2B5EF4-FFF2-40B4-BE49-F238E27FC236}">
                      <a16:creationId xmlns:a16="http://schemas.microsoft.com/office/drawing/2014/main" id="{F79592C5-6B75-A76C-388B-457ECB75EFFC}"/>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9525" cap="flat">
                  <a:solidFill>
                    <a:schemeClr val="accent1"/>
                  </a:solidFill>
                  <a:prstDash val="solid"/>
                  <a:miter/>
                </a:ln>
              </p:spPr>
              <p:txBody>
                <a:bodyPr rtlCol="0" anchor="ctr"/>
                <a:lstStyle/>
                <a:p>
                  <a:endParaRPr lang="en-US"/>
                </a:p>
              </p:txBody>
            </p:sp>
          </p:grpSp>
        </p:grpSp>
        <p:grpSp>
          <p:nvGrpSpPr>
            <p:cNvPr id="1090" name="Group 1089">
              <a:extLst>
                <a:ext uri="{FF2B5EF4-FFF2-40B4-BE49-F238E27FC236}">
                  <a16:creationId xmlns:a16="http://schemas.microsoft.com/office/drawing/2014/main" id="{5AEEC318-1FDD-E2B1-C976-B0E4B5C0789D}"/>
                </a:ext>
              </a:extLst>
            </p:cNvPr>
            <p:cNvGrpSpPr>
              <a:grpSpLocks noChangeAspect="1"/>
            </p:cNvGrpSpPr>
            <p:nvPr/>
          </p:nvGrpSpPr>
          <p:grpSpPr>
            <a:xfrm rot="19291633">
              <a:off x="1250617" y="4291784"/>
              <a:ext cx="73354" cy="72000"/>
              <a:chOff x="4574431" y="1172888"/>
              <a:chExt cx="111147" cy="109095"/>
            </a:xfrm>
          </p:grpSpPr>
          <p:sp>
            <p:nvSpPr>
              <p:cNvPr id="1091" name="Freeform: Shape 1090">
                <a:extLst>
                  <a:ext uri="{FF2B5EF4-FFF2-40B4-BE49-F238E27FC236}">
                    <a16:creationId xmlns:a16="http://schemas.microsoft.com/office/drawing/2014/main" id="{9F02E563-0571-B5D5-0ADA-E4BBC33784F7}"/>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92" name="Freeform: Shape 1091">
                <a:extLst>
                  <a:ext uri="{FF2B5EF4-FFF2-40B4-BE49-F238E27FC236}">
                    <a16:creationId xmlns:a16="http://schemas.microsoft.com/office/drawing/2014/main" id="{A0359EF9-CAD9-26C9-5293-ED4A5142853C}"/>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93" name="Freeform: Shape 1092">
                <a:extLst>
                  <a:ext uri="{FF2B5EF4-FFF2-40B4-BE49-F238E27FC236}">
                    <a16:creationId xmlns:a16="http://schemas.microsoft.com/office/drawing/2014/main" id="{AD392071-1E8B-6593-69A5-FB39AC0D84CE}"/>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nvGrpSpPr>
            <p:cNvPr id="1094" name="Group 1093">
              <a:extLst>
                <a:ext uri="{FF2B5EF4-FFF2-40B4-BE49-F238E27FC236}">
                  <a16:creationId xmlns:a16="http://schemas.microsoft.com/office/drawing/2014/main" id="{22ED77A0-F19D-6E18-3843-606744967C09}"/>
                </a:ext>
              </a:extLst>
            </p:cNvPr>
            <p:cNvGrpSpPr>
              <a:grpSpLocks noChangeAspect="1"/>
            </p:cNvGrpSpPr>
            <p:nvPr/>
          </p:nvGrpSpPr>
          <p:grpSpPr>
            <a:xfrm rot="15491124">
              <a:off x="2306430" y="4234808"/>
              <a:ext cx="73354" cy="72000"/>
              <a:chOff x="4574431" y="1172888"/>
              <a:chExt cx="111147" cy="109095"/>
            </a:xfrm>
          </p:grpSpPr>
          <p:sp>
            <p:nvSpPr>
              <p:cNvPr id="1095" name="Freeform: Shape 1094">
                <a:extLst>
                  <a:ext uri="{FF2B5EF4-FFF2-40B4-BE49-F238E27FC236}">
                    <a16:creationId xmlns:a16="http://schemas.microsoft.com/office/drawing/2014/main" id="{1C8D22E1-0802-5F09-F597-2D77D31868FB}"/>
                  </a:ext>
                </a:extLst>
              </p:cNvPr>
              <p:cNvSpPr/>
              <p:nvPr/>
            </p:nvSpPr>
            <p:spPr>
              <a:xfrm>
                <a:off x="4578877" y="1172888"/>
                <a:ext cx="106701" cy="106701"/>
              </a:xfrm>
              <a:custGeom>
                <a:avLst/>
                <a:gdLst>
                  <a:gd name="connsiteX0" fmla="*/ 0 w 106701"/>
                  <a:gd name="connsiteY0" fmla="*/ 0 h 106701"/>
                  <a:gd name="connsiteX1" fmla="*/ 106702 w 106701"/>
                  <a:gd name="connsiteY1" fmla="*/ 106702 h 106701"/>
                </a:gdLst>
                <a:ahLst/>
                <a:cxnLst>
                  <a:cxn ang="0">
                    <a:pos x="connsiteX0" y="connsiteY0"/>
                  </a:cxn>
                  <a:cxn ang="0">
                    <a:pos x="connsiteX1" y="connsiteY1"/>
                  </a:cxn>
                </a:cxnLst>
                <a:rect l="l" t="t" r="r" b="b"/>
                <a:pathLst>
                  <a:path w="106701" h="106701">
                    <a:moveTo>
                      <a:pt x="0" y="0"/>
                    </a:moveTo>
                    <a:cubicBezTo>
                      <a:pt x="58823" y="0"/>
                      <a:pt x="106702" y="47879"/>
                      <a:pt x="106702" y="106702"/>
                    </a:cubicBezTo>
                  </a:path>
                </a:pathLst>
              </a:custGeom>
              <a:noFill/>
              <a:ln w="12700" cap="rnd">
                <a:solidFill>
                  <a:schemeClr val="accent1"/>
                </a:solidFill>
                <a:prstDash val="solid"/>
                <a:round/>
              </a:ln>
            </p:spPr>
            <p:txBody>
              <a:bodyPr rtlCol="0" anchor="ctr"/>
              <a:lstStyle/>
              <a:p>
                <a:endParaRPr lang="en-US"/>
              </a:p>
            </p:txBody>
          </p:sp>
          <p:sp>
            <p:nvSpPr>
              <p:cNvPr id="1096" name="Freeform: Shape 1095">
                <a:extLst>
                  <a:ext uri="{FF2B5EF4-FFF2-40B4-BE49-F238E27FC236}">
                    <a16:creationId xmlns:a16="http://schemas.microsoft.com/office/drawing/2014/main" id="{48002DE0-701F-D2B6-4D55-2B6BA18F819D}"/>
                  </a:ext>
                </a:extLst>
              </p:cNvPr>
              <p:cNvSpPr/>
              <p:nvPr/>
            </p:nvSpPr>
            <p:spPr>
              <a:xfrm>
                <a:off x="4578877" y="1226239"/>
                <a:ext cx="53350" cy="53350"/>
              </a:xfrm>
              <a:custGeom>
                <a:avLst/>
                <a:gdLst>
                  <a:gd name="connsiteX0" fmla="*/ 0 w 53350"/>
                  <a:gd name="connsiteY0" fmla="*/ 0 h 53350"/>
                  <a:gd name="connsiteX1" fmla="*/ 53351 w 53350"/>
                  <a:gd name="connsiteY1" fmla="*/ 53351 h 53350"/>
                </a:gdLst>
                <a:ahLst/>
                <a:cxnLst>
                  <a:cxn ang="0">
                    <a:pos x="connsiteX0" y="connsiteY0"/>
                  </a:cxn>
                  <a:cxn ang="0">
                    <a:pos x="connsiteX1" y="connsiteY1"/>
                  </a:cxn>
                </a:cxnLst>
                <a:rect l="l" t="t" r="r" b="b"/>
                <a:pathLst>
                  <a:path w="53350" h="53350">
                    <a:moveTo>
                      <a:pt x="0" y="0"/>
                    </a:moveTo>
                    <a:cubicBezTo>
                      <a:pt x="29411" y="0"/>
                      <a:pt x="53351" y="23939"/>
                      <a:pt x="53351" y="53351"/>
                    </a:cubicBezTo>
                  </a:path>
                </a:pathLst>
              </a:custGeom>
              <a:noFill/>
              <a:ln w="12700" cap="rnd">
                <a:solidFill>
                  <a:schemeClr val="accent1"/>
                </a:solidFill>
                <a:prstDash val="solid"/>
                <a:round/>
              </a:ln>
            </p:spPr>
            <p:txBody>
              <a:bodyPr rtlCol="0" anchor="ctr"/>
              <a:lstStyle/>
              <a:p>
                <a:endParaRPr lang="en-US"/>
              </a:p>
            </p:txBody>
          </p:sp>
          <p:sp>
            <p:nvSpPr>
              <p:cNvPr id="1097" name="Freeform: Shape 1096">
                <a:extLst>
                  <a:ext uri="{FF2B5EF4-FFF2-40B4-BE49-F238E27FC236}">
                    <a16:creationId xmlns:a16="http://schemas.microsoft.com/office/drawing/2014/main" id="{84D3588A-E63B-10F7-99E9-F3A771492788}"/>
                  </a:ext>
                </a:extLst>
              </p:cNvPr>
              <p:cNvSpPr/>
              <p:nvPr/>
            </p:nvSpPr>
            <p:spPr>
              <a:xfrm>
                <a:off x="4574431" y="1271724"/>
                <a:ext cx="10259" cy="10259"/>
              </a:xfrm>
              <a:custGeom>
                <a:avLst/>
                <a:gdLst>
                  <a:gd name="connsiteX0" fmla="*/ 10260 w 10259"/>
                  <a:gd name="connsiteY0" fmla="*/ 5130 h 10259"/>
                  <a:gd name="connsiteX1" fmla="*/ 5130 w 10259"/>
                  <a:gd name="connsiteY1" fmla="*/ 10260 h 10259"/>
                  <a:gd name="connsiteX2" fmla="*/ 0 w 10259"/>
                  <a:gd name="connsiteY2" fmla="*/ 5130 h 10259"/>
                  <a:gd name="connsiteX3" fmla="*/ 5130 w 10259"/>
                  <a:gd name="connsiteY3" fmla="*/ 0 h 10259"/>
                  <a:gd name="connsiteX4" fmla="*/ 10260 w 10259"/>
                  <a:gd name="connsiteY4" fmla="*/ 5130 h 10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9" h="10259">
                    <a:moveTo>
                      <a:pt x="10260" y="5130"/>
                    </a:moveTo>
                    <a:cubicBezTo>
                      <a:pt x="10260" y="7963"/>
                      <a:pt x="7963" y="10260"/>
                      <a:pt x="5130" y="10260"/>
                    </a:cubicBezTo>
                    <a:cubicBezTo>
                      <a:pt x="2297" y="10260"/>
                      <a:pt x="0" y="7963"/>
                      <a:pt x="0" y="5130"/>
                    </a:cubicBezTo>
                    <a:cubicBezTo>
                      <a:pt x="0" y="2297"/>
                      <a:pt x="2297" y="0"/>
                      <a:pt x="5130" y="0"/>
                    </a:cubicBezTo>
                    <a:cubicBezTo>
                      <a:pt x="7963" y="0"/>
                      <a:pt x="10260" y="2297"/>
                      <a:pt x="10260" y="5130"/>
                    </a:cubicBezTo>
                    <a:close/>
                  </a:path>
                </a:pathLst>
              </a:custGeom>
              <a:solidFill>
                <a:srgbClr val="001135"/>
              </a:solidFill>
              <a:ln w="12700" cap="flat">
                <a:solidFill>
                  <a:schemeClr val="accent1"/>
                </a:solidFill>
                <a:prstDash val="solid"/>
                <a:miter/>
              </a:ln>
            </p:spPr>
            <p:txBody>
              <a:bodyPr rtlCol="0" anchor="ctr"/>
              <a:lstStyle/>
              <a:p>
                <a:endParaRPr lang="en-US"/>
              </a:p>
            </p:txBody>
          </p:sp>
        </p:grpSp>
      </p:grpSp>
    </p:spTree>
    <p:extLst>
      <p:ext uri="{BB962C8B-B14F-4D97-AF65-F5344CB8AC3E}">
        <p14:creationId xmlns:p14="http://schemas.microsoft.com/office/powerpoint/2010/main" val="22557729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7224FB-AE59-4BC7-BF5D-33F8C9564737}"/>
              </a:ext>
            </a:extLst>
          </p:cNvPr>
          <p:cNvSpPr>
            <a:spLocks noGrp="1"/>
          </p:cNvSpPr>
          <p:nvPr>
            <p:ph type="body" sz="quarter" idx="12"/>
          </p:nvPr>
        </p:nvSpPr>
        <p:spPr/>
        <p:txBody>
          <a:bodyPr/>
          <a:lstStyle/>
          <a:p>
            <a:r>
              <a:rPr lang="en-US" dirty="0"/>
              <a:t>Cognitive, automated and specialized architectures</a:t>
            </a:r>
          </a:p>
        </p:txBody>
      </p:sp>
      <p:sp>
        <p:nvSpPr>
          <p:cNvPr id="4" name="Footer Placeholder 3">
            <a:extLst>
              <a:ext uri="{FF2B5EF4-FFF2-40B4-BE49-F238E27FC236}">
                <a16:creationId xmlns:a16="http://schemas.microsoft.com/office/drawing/2014/main" id="{98CE328E-E6A6-46FE-B125-3D2FF3E637AE}"/>
              </a:ext>
            </a:extLst>
          </p:cNvPr>
          <p:cNvSpPr>
            <a:spLocks noGrp="1"/>
          </p:cNvSpPr>
          <p:nvPr>
            <p:ph type="ftr" sz="quarter" idx="3"/>
          </p:nvPr>
        </p:nvSpPr>
        <p:spPr/>
        <p:txBody>
          <a:bodyPr/>
          <a:lstStyle/>
          <a:p>
            <a:r>
              <a:rPr lang="en-US"/>
              <a:t>Public</a:t>
            </a:r>
            <a:endParaRPr lang="en-US" dirty="0"/>
          </a:p>
        </p:txBody>
      </p:sp>
      <p:pic>
        <p:nvPicPr>
          <p:cNvPr id="6" name="Picture 5" descr="Graphical user interface&#10;&#10;Description automatically generated">
            <a:extLst>
              <a:ext uri="{FF2B5EF4-FFF2-40B4-BE49-F238E27FC236}">
                <a16:creationId xmlns:a16="http://schemas.microsoft.com/office/drawing/2014/main" id="{A76577CA-4993-48C3-A8A1-DBAFD995CA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9183" y="901094"/>
            <a:ext cx="7921042" cy="3772776"/>
          </a:xfrm>
          <a:prstGeom prst="rect">
            <a:avLst/>
          </a:prstGeom>
        </p:spPr>
      </p:pic>
      <p:grpSp>
        <p:nvGrpSpPr>
          <p:cNvPr id="7" name="Group 6">
            <a:extLst>
              <a:ext uri="{FF2B5EF4-FFF2-40B4-BE49-F238E27FC236}">
                <a16:creationId xmlns:a16="http://schemas.microsoft.com/office/drawing/2014/main" id="{1B0F3886-1FB6-4960-A37B-3B5A211CBAD0}"/>
              </a:ext>
            </a:extLst>
          </p:cNvPr>
          <p:cNvGrpSpPr>
            <a:grpSpLocks noChangeAspect="1"/>
          </p:cNvGrpSpPr>
          <p:nvPr/>
        </p:nvGrpSpPr>
        <p:grpSpPr>
          <a:xfrm>
            <a:off x="7998188" y="155196"/>
            <a:ext cx="902786" cy="881780"/>
            <a:chOff x="7998188" y="155196"/>
            <a:chExt cx="902786" cy="881780"/>
          </a:xfrm>
        </p:grpSpPr>
        <p:sp>
          <p:nvSpPr>
            <p:cNvPr id="8" name="Hexagon 7">
              <a:extLst>
                <a:ext uri="{FF2B5EF4-FFF2-40B4-BE49-F238E27FC236}">
                  <a16:creationId xmlns:a16="http://schemas.microsoft.com/office/drawing/2014/main" id="{C6E69EAE-D4E3-41A7-9B3B-68F2CD98921A}"/>
                </a:ext>
              </a:extLst>
            </p:cNvPr>
            <p:cNvSpPr/>
            <p:nvPr/>
          </p:nvSpPr>
          <p:spPr>
            <a:xfrm>
              <a:off x="7998188" y="307501"/>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9" name="Hexagon 8">
              <a:extLst>
                <a:ext uri="{FF2B5EF4-FFF2-40B4-BE49-F238E27FC236}">
                  <a16:creationId xmlns:a16="http://schemas.microsoft.com/office/drawing/2014/main" id="{D4F61A8D-05A8-4A4A-A4BA-95AEDA1573C3}"/>
                </a:ext>
              </a:extLst>
            </p:cNvPr>
            <p:cNvSpPr/>
            <p:nvPr/>
          </p:nvSpPr>
          <p:spPr>
            <a:xfrm>
              <a:off x="8278959" y="15519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grpSp>
          <p:nvGrpSpPr>
            <p:cNvPr id="10" name="Group 9">
              <a:extLst>
                <a:ext uri="{FF2B5EF4-FFF2-40B4-BE49-F238E27FC236}">
                  <a16:creationId xmlns:a16="http://schemas.microsoft.com/office/drawing/2014/main" id="{73033797-57E6-4EE4-B1D8-518450BF1FD4}"/>
                </a:ext>
              </a:extLst>
            </p:cNvPr>
            <p:cNvGrpSpPr/>
            <p:nvPr/>
          </p:nvGrpSpPr>
          <p:grpSpPr>
            <a:xfrm>
              <a:off x="8280536" y="455170"/>
              <a:ext cx="334041" cy="286633"/>
              <a:chOff x="3708538" y="2148352"/>
              <a:chExt cx="1338549" cy="1160199"/>
            </a:xfrm>
          </p:grpSpPr>
          <p:sp>
            <p:nvSpPr>
              <p:cNvPr id="41" name="Hexagon 40">
                <a:extLst>
                  <a:ext uri="{FF2B5EF4-FFF2-40B4-BE49-F238E27FC236}">
                    <a16:creationId xmlns:a16="http://schemas.microsoft.com/office/drawing/2014/main" id="{D29DB051-F0FC-4FE5-9809-82BB2088F2AE}"/>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42" name="Rectangle 41">
                <a:extLst>
                  <a:ext uri="{FF2B5EF4-FFF2-40B4-BE49-F238E27FC236}">
                    <a16:creationId xmlns:a16="http://schemas.microsoft.com/office/drawing/2014/main" id="{D43F75E7-201B-454A-B718-519E80814FB6}"/>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rPr>
                  <a:t>6G</a:t>
                </a:r>
              </a:p>
            </p:txBody>
          </p:sp>
        </p:grpSp>
        <p:sp>
          <p:nvSpPr>
            <p:cNvPr id="11" name="Hexagon 10">
              <a:extLst>
                <a:ext uri="{FF2B5EF4-FFF2-40B4-BE49-F238E27FC236}">
                  <a16:creationId xmlns:a16="http://schemas.microsoft.com/office/drawing/2014/main" id="{09FAD49F-B758-493A-8B94-07C0F01D4838}"/>
                </a:ext>
              </a:extLst>
            </p:cNvPr>
            <p:cNvSpPr/>
            <p:nvPr/>
          </p:nvSpPr>
          <p:spPr>
            <a:xfrm>
              <a:off x="8564393" y="309353"/>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12" name="Hexagon 11">
              <a:extLst>
                <a:ext uri="{FF2B5EF4-FFF2-40B4-BE49-F238E27FC236}">
                  <a16:creationId xmlns:a16="http://schemas.microsoft.com/office/drawing/2014/main" id="{FF761671-36D0-4B0E-909F-D6471C5676E8}"/>
                </a:ext>
              </a:extLst>
            </p:cNvPr>
            <p:cNvSpPr/>
            <p:nvPr/>
          </p:nvSpPr>
          <p:spPr>
            <a:xfrm>
              <a:off x="8566933"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13" name="Hexagon 12">
              <a:extLst>
                <a:ext uri="{FF2B5EF4-FFF2-40B4-BE49-F238E27FC236}">
                  <a16:creationId xmlns:a16="http://schemas.microsoft.com/office/drawing/2014/main" id="{FBF2338F-D9DE-4606-BB80-C99DC8C10938}"/>
                </a:ext>
              </a:extLst>
            </p:cNvPr>
            <p:cNvSpPr/>
            <p:nvPr/>
          </p:nvSpPr>
          <p:spPr>
            <a:xfrm>
              <a:off x="8278959" y="75681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sp>
          <p:nvSpPr>
            <p:cNvPr id="14" name="Hexagon 13">
              <a:extLst>
                <a:ext uri="{FF2B5EF4-FFF2-40B4-BE49-F238E27FC236}">
                  <a16:creationId xmlns:a16="http://schemas.microsoft.com/office/drawing/2014/main" id="{AFBE2D61-50FC-49D8-834C-F4002BA2D0A1}"/>
                </a:ext>
              </a:extLst>
            </p:cNvPr>
            <p:cNvSpPr/>
            <p:nvPr/>
          </p:nvSpPr>
          <p:spPr>
            <a:xfrm>
              <a:off x="7998188" y="604778"/>
              <a:ext cx="334041" cy="280160"/>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ea typeface="+mn-ea"/>
                <a:cs typeface="+mn-cs"/>
              </a:endParaRPr>
            </a:p>
          </p:txBody>
        </p:sp>
        <p:pic>
          <p:nvPicPr>
            <p:cNvPr id="15" name="Graphic 14">
              <a:extLst>
                <a:ext uri="{FF2B5EF4-FFF2-40B4-BE49-F238E27FC236}">
                  <a16:creationId xmlns:a16="http://schemas.microsoft.com/office/drawing/2014/main" id="{6C4D3DBB-544D-46C3-AE95-33F7D7C4BD44}"/>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61736" y="220952"/>
              <a:ext cx="173149" cy="133797"/>
            </a:xfrm>
            <a:prstGeom prst="rect">
              <a:avLst/>
            </a:prstGeom>
          </p:spPr>
        </p:pic>
        <p:pic>
          <p:nvPicPr>
            <p:cNvPr id="16" name="Graphic 15">
              <a:extLst>
                <a:ext uri="{FF2B5EF4-FFF2-40B4-BE49-F238E27FC236}">
                  <a16:creationId xmlns:a16="http://schemas.microsoft.com/office/drawing/2014/main" id="{80415968-0806-4A9E-B15C-76A4FF7898E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44555" y="621751"/>
              <a:ext cx="242008" cy="242008"/>
            </a:xfrm>
            <a:prstGeom prst="rect">
              <a:avLst/>
            </a:prstGeom>
          </p:spPr>
        </p:pic>
        <p:grpSp>
          <p:nvGrpSpPr>
            <p:cNvPr id="17" name="Group 16">
              <a:extLst>
                <a:ext uri="{FF2B5EF4-FFF2-40B4-BE49-F238E27FC236}">
                  <a16:creationId xmlns:a16="http://schemas.microsoft.com/office/drawing/2014/main" id="{526BDF37-1B84-4825-AC6A-D9BD9425D654}"/>
                </a:ext>
              </a:extLst>
            </p:cNvPr>
            <p:cNvGrpSpPr>
              <a:grpSpLocks noChangeAspect="1"/>
            </p:cNvGrpSpPr>
            <p:nvPr/>
          </p:nvGrpSpPr>
          <p:grpSpPr>
            <a:xfrm>
              <a:off x="8365046" y="808317"/>
              <a:ext cx="165022" cy="166305"/>
              <a:chOff x="6477861" y="3605373"/>
              <a:chExt cx="428667" cy="432000"/>
            </a:xfrm>
          </p:grpSpPr>
          <p:sp>
            <p:nvSpPr>
              <p:cNvPr id="34" name="Freeform: Shape 33">
                <a:extLst>
                  <a:ext uri="{FF2B5EF4-FFF2-40B4-BE49-F238E27FC236}">
                    <a16:creationId xmlns:a16="http://schemas.microsoft.com/office/drawing/2014/main" id="{6142C8B7-58BB-410D-AFAA-69A4266F0392}"/>
                  </a:ext>
                </a:extLst>
              </p:cNvPr>
              <p:cNvSpPr/>
              <p:nvPr/>
            </p:nvSpPr>
            <p:spPr>
              <a:xfrm>
                <a:off x="6499528" y="3629373"/>
                <a:ext cx="384000" cy="384000"/>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solidFill>
                <a:schemeClr val="accent2"/>
              </a:solidFill>
              <a:ln w="6350" cap="rnd">
                <a:solidFill>
                  <a:schemeClr val="bg1"/>
                </a:solidFill>
                <a:prstDash val="solid"/>
                <a:round/>
              </a:ln>
            </p:spPr>
            <p:txBody>
              <a:bodyPr rtlCol="0" anchor="ctr"/>
              <a:lstStyle/>
              <a:p>
                <a:endParaRPr lang="en-US" sz="700"/>
              </a:p>
            </p:txBody>
          </p:sp>
          <p:sp>
            <p:nvSpPr>
              <p:cNvPr id="35" name="Freeform: Shape 34">
                <a:extLst>
                  <a:ext uri="{FF2B5EF4-FFF2-40B4-BE49-F238E27FC236}">
                    <a16:creationId xmlns:a16="http://schemas.microsoft.com/office/drawing/2014/main" id="{A6CA387D-3C63-4AC9-8126-9E5AA38F8D16}"/>
                  </a:ext>
                </a:extLst>
              </p:cNvPr>
              <p:cNvSpPr/>
              <p:nvPr/>
            </p:nvSpPr>
            <p:spPr>
              <a:xfrm>
                <a:off x="6667194" y="3605373"/>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36" name="Freeform: Shape 35">
                <a:extLst>
                  <a:ext uri="{FF2B5EF4-FFF2-40B4-BE49-F238E27FC236}">
                    <a16:creationId xmlns:a16="http://schemas.microsoft.com/office/drawing/2014/main" id="{0E197360-3BE1-43FF-99A5-1F65A31B9406}"/>
                  </a:ext>
                </a:extLst>
              </p:cNvPr>
              <p:cNvSpPr/>
              <p:nvPr/>
            </p:nvSpPr>
            <p:spPr>
              <a:xfrm>
                <a:off x="6667194" y="3988706"/>
                <a:ext cx="47333" cy="48667"/>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37" name="Freeform: Shape 36">
                <a:extLst>
                  <a:ext uri="{FF2B5EF4-FFF2-40B4-BE49-F238E27FC236}">
                    <a16:creationId xmlns:a16="http://schemas.microsoft.com/office/drawing/2014/main" id="{A79CC90A-5D5A-4424-8B9B-DBCE227E3BC0}"/>
                  </a:ext>
                </a:extLst>
              </p:cNvPr>
              <p:cNvSpPr/>
              <p:nvPr/>
            </p:nvSpPr>
            <p:spPr>
              <a:xfrm>
                <a:off x="6732528"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38" name="Freeform: Shape 37">
                <a:extLst>
                  <a:ext uri="{FF2B5EF4-FFF2-40B4-BE49-F238E27FC236}">
                    <a16:creationId xmlns:a16="http://schemas.microsoft.com/office/drawing/2014/main" id="{7F18361A-FACC-4CD3-BF17-85479202E161}"/>
                  </a:ext>
                </a:extLst>
              </p:cNvPr>
              <p:cNvSpPr/>
              <p:nvPr/>
            </p:nvSpPr>
            <p:spPr>
              <a:xfrm>
                <a:off x="6601194"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39" name="Freeform: Shape 38">
                <a:extLst>
                  <a:ext uri="{FF2B5EF4-FFF2-40B4-BE49-F238E27FC236}">
                    <a16:creationId xmlns:a16="http://schemas.microsoft.com/office/drawing/2014/main" id="{892CC7FE-F33E-422D-8F10-99D2DA8F1809}"/>
                  </a:ext>
                </a:extLst>
              </p:cNvPr>
              <p:cNvSpPr/>
              <p:nvPr/>
            </p:nvSpPr>
            <p:spPr>
              <a:xfrm>
                <a:off x="6859195"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sp>
            <p:nvSpPr>
              <p:cNvPr id="40" name="Freeform: Shape 39">
                <a:extLst>
                  <a:ext uri="{FF2B5EF4-FFF2-40B4-BE49-F238E27FC236}">
                    <a16:creationId xmlns:a16="http://schemas.microsoft.com/office/drawing/2014/main" id="{1D8CE689-3BAF-49C8-BE82-C1616C5AD738}"/>
                  </a:ext>
                </a:extLst>
              </p:cNvPr>
              <p:cNvSpPr/>
              <p:nvPr/>
            </p:nvSpPr>
            <p:spPr>
              <a:xfrm>
                <a:off x="6477861" y="3797706"/>
                <a:ext cx="47333" cy="48666"/>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endParaRPr lang="en-US" sz="700"/>
              </a:p>
            </p:txBody>
          </p:sp>
        </p:grpSp>
        <p:sp>
          <p:nvSpPr>
            <p:cNvPr id="18" name="Freeform: Shape 17">
              <a:extLst>
                <a:ext uri="{FF2B5EF4-FFF2-40B4-BE49-F238E27FC236}">
                  <a16:creationId xmlns:a16="http://schemas.microsoft.com/office/drawing/2014/main" id="{957C81FF-9D1C-4BDE-B627-7208B055D55F}"/>
                </a:ext>
              </a:extLst>
            </p:cNvPr>
            <p:cNvSpPr>
              <a:spLocks noChangeAspect="1"/>
            </p:cNvSpPr>
            <p:nvPr/>
          </p:nvSpPr>
          <p:spPr>
            <a:xfrm>
              <a:off x="8104643" y="385407"/>
              <a:ext cx="128139" cy="142628"/>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6350" cap="rnd">
              <a:solidFill>
                <a:schemeClr val="bg1"/>
              </a:solidFill>
              <a:prstDash val="solid"/>
              <a:round/>
            </a:ln>
          </p:spPr>
          <p:txBody>
            <a:bodyPr rtlCol="0" anchor="ctr"/>
            <a:lstStyle/>
            <a:p>
              <a:endParaRPr lang="en-US" sz="700"/>
            </a:p>
          </p:txBody>
        </p:sp>
        <p:grpSp>
          <p:nvGrpSpPr>
            <p:cNvPr id="19" name="Group 18">
              <a:extLst>
                <a:ext uri="{FF2B5EF4-FFF2-40B4-BE49-F238E27FC236}">
                  <a16:creationId xmlns:a16="http://schemas.microsoft.com/office/drawing/2014/main" id="{0EDB7C08-A860-46B7-911A-C8BEBA8F1550}"/>
                </a:ext>
              </a:extLst>
            </p:cNvPr>
            <p:cNvGrpSpPr>
              <a:grpSpLocks noChangeAspect="1"/>
            </p:cNvGrpSpPr>
            <p:nvPr/>
          </p:nvGrpSpPr>
          <p:grpSpPr>
            <a:xfrm>
              <a:off x="8664411" y="385784"/>
              <a:ext cx="131786" cy="131293"/>
              <a:chOff x="7644836" y="1910200"/>
              <a:chExt cx="325217" cy="324000"/>
            </a:xfrm>
          </p:grpSpPr>
          <p:sp>
            <p:nvSpPr>
              <p:cNvPr id="30" name="Freeform: Shape 29">
                <a:extLst>
                  <a:ext uri="{FF2B5EF4-FFF2-40B4-BE49-F238E27FC236}">
                    <a16:creationId xmlns:a16="http://schemas.microsoft.com/office/drawing/2014/main" id="{9FDC3459-7B7C-4A5D-9DA7-1BA7C5CC71A1}"/>
                  </a:ext>
                </a:extLst>
              </p:cNvPr>
              <p:cNvSpPr/>
              <p:nvPr/>
            </p:nvSpPr>
            <p:spPr>
              <a:xfrm>
                <a:off x="7845967" y="1910200"/>
                <a:ext cx="124084" cy="124084"/>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6350" cap="rnd">
                <a:solidFill>
                  <a:schemeClr val="bg1"/>
                </a:solidFill>
                <a:prstDash val="solid"/>
                <a:round/>
              </a:ln>
            </p:spPr>
            <p:txBody>
              <a:bodyPr rtlCol="0" anchor="ctr"/>
              <a:lstStyle/>
              <a:p>
                <a:endParaRPr lang="en-US" sz="700"/>
              </a:p>
            </p:txBody>
          </p:sp>
          <p:sp>
            <p:nvSpPr>
              <p:cNvPr id="31" name="Freeform: Shape 30">
                <a:extLst>
                  <a:ext uri="{FF2B5EF4-FFF2-40B4-BE49-F238E27FC236}">
                    <a16:creationId xmlns:a16="http://schemas.microsoft.com/office/drawing/2014/main" id="{977E7798-9577-4194-8E53-2988FCF927AC}"/>
                  </a:ext>
                </a:extLst>
              </p:cNvPr>
              <p:cNvSpPr/>
              <p:nvPr/>
            </p:nvSpPr>
            <p:spPr>
              <a:xfrm>
                <a:off x="7645647" y="1910200"/>
                <a:ext cx="162203" cy="210202"/>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6350" cap="rnd">
                <a:solidFill>
                  <a:schemeClr val="bg1"/>
                </a:solidFill>
                <a:prstDash val="solid"/>
                <a:round/>
              </a:ln>
            </p:spPr>
            <p:txBody>
              <a:bodyPr rtlCol="0" anchor="ctr"/>
              <a:lstStyle/>
              <a:p>
                <a:endParaRPr lang="en-US" sz="700"/>
              </a:p>
            </p:txBody>
          </p:sp>
          <p:sp>
            <p:nvSpPr>
              <p:cNvPr id="32" name="Freeform: Shape 31">
                <a:extLst>
                  <a:ext uri="{FF2B5EF4-FFF2-40B4-BE49-F238E27FC236}">
                    <a16:creationId xmlns:a16="http://schemas.microsoft.com/office/drawing/2014/main" id="{9E054C3E-41AE-4ED8-A63E-355DAB3116FC}"/>
                  </a:ext>
                </a:extLst>
              </p:cNvPr>
              <p:cNvSpPr/>
              <p:nvPr/>
            </p:nvSpPr>
            <p:spPr>
              <a:xfrm>
                <a:off x="7644836" y="2072403"/>
                <a:ext cx="210607" cy="161797"/>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6350" cap="rnd">
                <a:solidFill>
                  <a:schemeClr val="bg1"/>
                </a:solidFill>
                <a:prstDash val="solid"/>
                <a:round/>
              </a:ln>
            </p:spPr>
            <p:txBody>
              <a:bodyPr rtlCol="0" anchor="ctr"/>
              <a:lstStyle/>
              <a:p>
                <a:endParaRPr lang="en-US" sz="700"/>
              </a:p>
            </p:txBody>
          </p:sp>
          <p:sp>
            <p:nvSpPr>
              <p:cNvPr id="33" name="Freeform: Shape 32">
                <a:extLst>
                  <a:ext uri="{FF2B5EF4-FFF2-40B4-BE49-F238E27FC236}">
                    <a16:creationId xmlns:a16="http://schemas.microsoft.com/office/drawing/2014/main" id="{F8B938AA-164F-48A6-95CF-231A76976E05}"/>
                  </a:ext>
                </a:extLst>
              </p:cNvPr>
              <p:cNvSpPr/>
              <p:nvPr/>
            </p:nvSpPr>
            <p:spPr>
              <a:xfrm>
                <a:off x="7807850" y="2024402"/>
                <a:ext cx="162203" cy="209391"/>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6350" cap="rnd">
                <a:solidFill>
                  <a:schemeClr val="bg1"/>
                </a:solidFill>
                <a:prstDash val="solid"/>
                <a:round/>
              </a:ln>
            </p:spPr>
            <p:txBody>
              <a:bodyPr rtlCol="0" anchor="ctr"/>
              <a:lstStyle/>
              <a:p>
                <a:endParaRPr lang="en-US" sz="700"/>
              </a:p>
            </p:txBody>
          </p:sp>
        </p:grpSp>
        <p:grpSp>
          <p:nvGrpSpPr>
            <p:cNvPr id="20" name="Group 19">
              <a:extLst>
                <a:ext uri="{FF2B5EF4-FFF2-40B4-BE49-F238E27FC236}">
                  <a16:creationId xmlns:a16="http://schemas.microsoft.com/office/drawing/2014/main" id="{DD5FD149-6F5A-4B26-A37D-A76DF66873F3}"/>
                </a:ext>
              </a:extLst>
            </p:cNvPr>
            <p:cNvGrpSpPr>
              <a:grpSpLocks noChangeAspect="1"/>
            </p:cNvGrpSpPr>
            <p:nvPr/>
          </p:nvGrpSpPr>
          <p:grpSpPr>
            <a:xfrm>
              <a:off x="8641332" y="690364"/>
              <a:ext cx="194246" cy="107818"/>
              <a:chOff x="7555416" y="3035519"/>
              <a:chExt cx="518864" cy="288000"/>
            </a:xfrm>
          </p:grpSpPr>
          <p:sp>
            <p:nvSpPr>
              <p:cNvPr id="21" name="Freeform: Shape 20">
                <a:extLst>
                  <a:ext uri="{FF2B5EF4-FFF2-40B4-BE49-F238E27FC236}">
                    <a16:creationId xmlns:a16="http://schemas.microsoft.com/office/drawing/2014/main" id="{A564257E-82FA-4BA3-8C59-BAAEE4EE1092}"/>
                  </a:ext>
                </a:extLst>
              </p:cNvPr>
              <p:cNvSpPr/>
              <p:nvPr/>
            </p:nvSpPr>
            <p:spPr>
              <a:xfrm>
                <a:off x="7795032" y="3159702"/>
                <a:ext cx="39632" cy="39632"/>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6350" cap="flat">
                <a:solidFill>
                  <a:schemeClr val="bg1"/>
                </a:solidFill>
                <a:prstDash val="solid"/>
                <a:miter/>
              </a:ln>
            </p:spPr>
            <p:txBody>
              <a:bodyPr rtlCol="0" anchor="ctr"/>
              <a:lstStyle/>
              <a:p>
                <a:endParaRPr lang="en-US" sz="700"/>
              </a:p>
            </p:txBody>
          </p:sp>
          <p:grpSp>
            <p:nvGrpSpPr>
              <p:cNvPr id="22" name="Graphic 28">
                <a:extLst>
                  <a:ext uri="{FF2B5EF4-FFF2-40B4-BE49-F238E27FC236}">
                    <a16:creationId xmlns:a16="http://schemas.microsoft.com/office/drawing/2014/main" id="{A376C379-412C-4418-8EC9-C38B9BE6984E}"/>
                  </a:ext>
                </a:extLst>
              </p:cNvPr>
              <p:cNvGrpSpPr/>
              <p:nvPr/>
            </p:nvGrpSpPr>
            <p:grpSpPr>
              <a:xfrm>
                <a:off x="7900060" y="3036180"/>
                <a:ext cx="174220" cy="287339"/>
                <a:chOff x="5573768" y="3664511"/>
                <a:chExt cx="90200" cy="148766"/>
              </a:xfrm>
              <a:noFill/>
            </p:grpSpPr>
            <p:sp>
              <p:nvSpPr>
                <p:cNvPr id="27" name="Freeform: Shape 26">
                  <a:extLst>
                    <a:ext uri="{FF2B5EF4-FFF2-40B4-BE49-F238E27FC236}">
                      <a16:creationId xmlns:a16="http://schemas.microsoft.com/office/drawing/2014/main" id="{632389B1-454E-4667-844F-AF01D142B7CB}"/>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6350" cap="flat">
                  <a:solidFill>
                    <a:schemeClr val="bg1"/>
                  </a:solidFill>
                  <a:prstDash val="solid"/>
                  <a:miter/>
                </a:ln>
              </p:spPr>
              <p:txBody>
                <a:bodyPr rtlCol="0" anchor="ctr"/>
                <a:lstStyle/>
                <a:p>
                  <a:endParaRPr lang="en-US" sz="700"/>
                </a:p>
              </p:txBody>
            </p:sp>
            <p:sp>
              <p:nvSpPr>
                <p:cNvPr id="28" name="Freeform: Shape 27">
                  <a:extLst>
                    <a:ext uri="{FF2B5EF4-FFF2-40B4-BE49-F238E27FC236}">
                      <a16:creationId xmlns:a16="http://schemas.microsoft.com/office/drawing/2014/main" id="{719C0780-3287-4462-9CC9-63BB313DA8A6}"/>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6350" cap="flat">
                  <a:solidFill>
                    <a:schemeClr val="bg1"/>
                  </a:solidFill>
                  <a:prstDash val="solid"/>
                  <a:miter/>
                </a:ln>
              </p:spPr>
              <p:txBody>
                <a:bodyPr rtlCol="0" anchor="ctr"/>
                <a:lstStyle/>
                <a:p>
                  <a:endParaRPr lang="en-US" sz="700"/>
                </a:p>
              </p:txBody>
            </p:sp>
            <p:sp>
              <p:nvSpPr>
                <p:cNvPr id="29" name="Freeform: Shape 28">
                  <a:extLst>
                    <a:ext uri="{FF2B5EF4-FFF2-40B4-BE49-F238E27FC236}">
                      <a16:creationId xmlns:a16="http://schemas.microsoft.com/office/drawing/2014/main" id="{5C1D982F-8EA4-4A98-BC21-C38B66526C03}"/>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6350" cap="flat">
                  <a:solidFill>
                    <a:schemeClr val="bg1"/>
                  </a:solidFill>
                  <a:prstDash val="solid"/>
                  <a:miter/>
                </a:ln>
              </p:spPr>
              <p:txBody>
                <a:bodyPr rtlCol="0" anchor="ctr"/>
                <a:lstStyle/>
                <a:p>
                  <a:endParaRPr lang="en-US" sz="700"/>
                </a:p>
              </p:txBody>
            </p:sp>
          </p:grpSp>
          <p:grpSp>
            <p:nvGrpSpPr>
              <p:cNvPr id="23" name="Graphic 28">
                <a:extLst>
                  <a:ext uri="{FF2B5EF4-FFF2-40B4-BE49-F238E27FC236}">
                    <a16:creationId xmlns:a16="http://schemas.microsoft.com/office/drawing/2014/main" id="{FEF638CB-2143-4DE3-9A6F-430BFF3CA77E}"/>
                  </a:ext>
                </a:extLst>
              </p:cNvPr>
              <p:cNvGrpSpPr/>
              <p:nvPr/>
            </p:nvGrpSpPr>
            <p:grpSpPr>
              <a:xfrm>
                <a:off x="7555416" y="3035519"/>
                <a:ext cx="174220" cy="287339"/>
                <a:chOff x="5395333" y="3664169"/>
                <a:chExt cx="90200" cy="148766"/>
              </a:xfrm>
              <a:noFill/>
            </p:grpSpPr>
            <p:sp>
              <p:nvSpPr>
                <p:cNvPr id="24" name="Freeform: Shape 23">
                  <a:extLst>
                    <a:ext uri="{FF2B5EF4-FFF2-40B4-BE49-F238E27FC236}">
                      <a16:creationId xmlns:a16="http://schemas.microsoft.com/office/drawing/2014/main" id="{F125B5C3-848A-4E17-B7E9-308080139228}"/>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6350" cap="flat">
                  <a:solidFill>
                    <a:schemeClr val="bg1"/>
                  </a:solidFill>
                  <a:prstDash val="solid"/>
                  <a:miter/>
                </a:ln>
              </p:spPr>
              <p:txBody>
                <a:bodyPr rtlCol="0" anchor="ctr"/>
                <a:lstStyle/>
                <a:p>
                  <a:endParaRPr lang="en-US" sz="700"/>
                </a:p>
              </p:txBody>
            </p:sp>
            <p:sp>
              <p:nvSpPr>
                <p:cNvPr id="25" name="Freeform: Shape 24">
                  <a:extLst>
                    <a:ext uri="{FF2B5EF4-FFF2-40B4-BE49-F238E27FC236}">
                      <a16:creationId xmlns:a16="http://schemas.microsoft.com/office/drawing/2014/main" id="{B08B1859-B0F8-4BDB-81FF-AC27E8D45FF6}"/>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6350" cap="flat">
                  <a:solidFill>
                    <a:schemeClr val="bg1"/>
                  </a:solidFill>
                  <a:prstDash val="solid"/>
                  <a:miter/>
                </a:ln>
              </p:spPr>
              <p:txBody>
                <a:bodyPr rtlCol="0" anchor="ctr"/>
                <a:lstStyle/>
                <a:p>
                  <a:endParaRPr lang="en-US" sz="700"/>
                </a:p>
              </p:txBody>
            </p:sp>
            <p:sp>
              <p:nvSpPr>
                <p:cNvPr id="26" name="Freeform: Shape 25">
                  <a:extLst>
                    <a:ext uri="{FF2B5EF4-FFF2-40B4-BE49-F238E27FC236}">
                      <a16:creationId xmlns:a16="http://schemas.microsoft.com/office/drawing/2014/main" id="{1F577B82-260A-47AA-A426-E690F83982F1}"/>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6350" cap="flat">
                  <a:solidFill>
                    <a:schemeClr val="bg1"/>
                  </a:solidFill>
                  <a:prstDash val="solid"/>
                  <a:miter/>
                </a:ln>
              </p:spPr>
              <p:txBody>
                <a:bodyPr rtlCol="0" anchor="ctr"/>
                <a:lstStyle/>
                <a:p>
                  <a:endParaRPr lang="en-US" sz="700"/>
                </a:p>
              </p:txBody>
            </p:sp>
          </p:grpSp>
        </p:grpSp>
      </p:grpSp>
    </p:spTree>
    <p:extLst>
      <p:ext uri="{BB962C8B-B14F-4D97-AF65-F5344CB8AC3E}">
        <p14:creationId xmlns:p14="http://schemas.microsoft.com/office/powerpoint/2010/main" val="4228409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9F3BFA-7FD6-11BE-D639-61839680A3DE}"/>
              </a:ext>
            </a:extLst>
          </p:cNvPr>
          <p:cNvSpPr>
            <a:spLocks noGrp="1"/>
          </p:cNvSpPr>
          <p:nvPr>
            <p:ph type="body" sz="quarter" idx="12"/>
          </p:nvPr>
        </p:nvSpPr>
        <p:spPr/>
        <p:txBody>
          <a:bodyPr/>
          <a:lstStyle/>
          <a:p>
            <a:r>
              <a:rPr lang="en-US" dirty="0"/>
              <a:t>6G security and trust</a:t>
            </a:r>
          </a:p>
        </p:txBody>
      </p:sp>
      <p:sp>
        <p:nvSpPr>
          <p:cNvPr id="4" name="Text Placeholder 3">
            <a:extLst>
              <a:ext uri="{FF2B5EF4-FFF2-40B4-BE49-F238E27FC236}">
                <a16:creationId xmlns:a16="http://schemas.microsoft.com/office/drawing/2014/main" id="{4CB76B6D-C19E-759C-12BB-62E370B36EDA}"/>
              </a:ext>
            </a:extLst>
          </p:cNvPr>
          <p:cNvSpPr>
            <a:spLocks noGrp="1"/>
          </p:cNvSpPr>
          <p:nvPr>
            <p:ph type="body" sz="quarter" idx="13"/>
          </p:nvPr>
        </p:nvSpPr>
        <p:spPr/>
        <p:txBody>
          <a:bodyPr/>
          <a:lstStyle/>
          <a:p>
            <a:r>
              <a:rPr lang="en-US" dirty="0"/>
              <a:t>Addressing the ever-expanding threat vectors</a:t>
            </a:r>
          </a:p>
        </p:txBody>
      </p:sp>
      <p:grpSp>
        <p:nvGrpSpPr>
          <p:cNvPr id="88" name="Group 87">
            <a:extLst>
              <a:ext uri="{FF2B5EF4-FFF2-40B4-BE49-F238E27FC236}">
                <a16:creationId xmlns:a16="http://schemas.microsoft.com/office/drawing/2014/main" id="{D8A9B234-C229-8277-6C8C-C467C8BF9BB2}"/>
              </a:ext>
            </a:extLst>
          </p:cNvPr>
          <p:cNvGrpSpPr/>
          <p:nvPr/>
        </p:nvGrpSpPr>
        <p:grpSpPr>
          <a:xfrm>
            <a:off x="4159457" y="1342494"/>
            <a:ext cx="4531535" cy="3105541"/>
            <a:chOff x="4159457" y="1342494"/>
            <a:chExt cx="4531535" cy="3105541"/>
          </a:xfrm>
        </p:grpSpPr>
        <p:sp>
          <p:nvSpPr>
            <p:cNvPr id="102" name="TextBox 101">
              <a:extLst>
                <a:ext uri="{FF2B5EF4-FFF2-40B4-BE49-F238E27FC236}">
                  <a16:creationId xmlns:a16="http://schemas.microsoft.com/office/drawing/2014/main" id="{1DD5B169-68A6-0A37-E84D-9FF72FCB0D8C}"/>
                </a:ext>
              </a:extLst>
            </p:cNvPr>
            <p:cNvSpPr txBox="1"/>
            <p:nvPr/>
          </p:nvSpPr>
          <p:spPr>
            <a:xfrm>
              <a:off x="4490419" y="3739768"/>
              <a:ext cx="1704415" cy="369332"/>
            </a:xfrm>
            <a:prstGeom prst="rect">
              <a:avLst/>
            </a:prstGeom>
            <a:noFill/>
          </p:spPr>
          <p:txBody>
            <a:bodyPr wrap="square" lIns="0" tIns="72000" rIns="72000" bIns="72000">
              <a:noAutofit/>
            </a:bodyPr>
            <a:lstStyle/>
            <a:p>
              <a:pPr marL="0" marR="0" lvl="0" indent="0" algn="l" defTabSz="342900" rtl="0" eaLnBrk="1" fontAlgn="auto" latinLnBrk="0" hangingPunct="1">
                <a:lnSpc>
                  <a:spcPct val="100000"/>
                </a:lnSpc>
                <a:spcBef>
                  <a:spcPts val="0"/>
                </a:spcBef>
                <a:spcAft>
                  <a:spcPts val="225"/>
                </a:spcAft>
                <a:buClrTx/>
                <a:buSzPct val="100000"/>
                <a:buFontTx/>
                <a:buNone/>
                <a:tabLst/>
                <a:defRPr/>
              </a:pP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Ultra-fine grain </a:t>
              </a:r>
              <a:b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b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threat security responses</a:t>
              </a:r>
            </a:p>
          </p:txBody>
        </p:sp>
        <p:cxnSp>
          <p:nvCxnSpPr>
            <p:cNvPr id="89" name="Straight Connector 88">
              <a:extLst>
                <a:ext uri="{FF2B5EF4-FFF2-40B4-BE49-F238E27FC236}">
                  <a16:creationId xmlns:a16="http://schemas.microsoft.com/office/drawing/2014/main" id="{3E1915D3-EA75-BA5B-683D-956EA77F164A}"/>
                </a:ext>
              </a:extLst>
            </p:cNvPr>
            <p:cNvCxnSpPr>
              <a:cxnSpLocks/>
            </p:cNvCxnSpPr>
            <p:nvPr/>
          </p:nvCxnSpPr>
          <p:spPr>
            <a:xfrm>
              <a:off x="4159457" y="4435989"/>
              <a:ext cx="2410384"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1393A45E-AF01-CFBB-2F1D-E488E4FA0BF5}"/>
                </a:ext>
              </a:extLst>
            </p:cNvPr>
            <p:cNvSpPr txBox="1"/>
            <p:nvPr/>
          </p:nvSpPr>
          <p:spPr>
            <a:xfrm>
              <a:off x="4484554" y="1342494"/>
              <a:ext cx="3936685" cy="307777"/>
            </a:xfrm>
            <a:prstGeom prst="rect">
              <a:avLst/>
            </a:prstGeom>
            <a:noFill/>
          </p:spPr>
          <p:txBody>
            <a:bodyPr wrap="square" lIns="0">
              <a:noAutofit/>
            </a:bodyPr>
            <a:lstStyle/>
            <a:p>
              <a:pPr marL="0" marR="0" lvl="0" indent="0" algn="l" defTabSz="269993" rtl="0" eaLnBrk="1" fontAlgn="auto" latinLnBrk="0" hangingPunct="1">
                <a:lnSpc>
                  <a:spcPct val="100000"/>
                </a:lnSpc>
                <a:spcBef>
                  <a:spcPts val="0"/>
                </a:spcBef>
                <a:spcAft>
                  <a:spcPts val="0"/>
                </a:spcAft>
                <a:buClrTx/>
                <a:buSzTx/>
                <a:buFontTx/>
                <a:buNone/>
                <a:tabLst>
                  <a:tab pos="269993" algn="l"/>
                </a:tabLst>
                <a:defRPr/>
              </a:pPr>
              <a:r>
                <a:rPr kumimoji="0" lang="en-US" sz="1400" b="0" i="0" u="none" strike="noStrike" kern="0" cap="none" spc="0" normalizeH="0" baseline="0" noProof="0" dirty="0">
                  <a:ln>
                    <a:noFill/>
                  </a:ln>
                  <a:solidFill>
                    <a:srgbClr val="005AFF"/>
                  </a:solidFill>
                  <a:effectLst/>
                  <a:uLnTx/>
                  <a:uFillTx/>
                  <a:latin typeface="Nokia Pure Text Light" panose="020B0403020202020204" pitchFamily="34" charset="0"/>
                  <a:ea typeface="Nokia Pure Text Light" panose="020B0403020202020204" pitchFamily="34" charset="0"/>
                  <a:cs typeface="+mn-cs"/>
                </a:rPr>
                <a:t>Technology enablers</a:t>
              </a:r>
            </a:p>
          </p:txBody>
        </p:sp>
        <p:sp>
          <p:nvSpPr>
            <p:cNvPr id="91" name="Oval 90">
              <a:extLst>
                <a:ext uri="{FF2B5EF4-FFF2-40B4-BE49-F238E27FC236}">
                  <a16:creationId xmlns:a16="http://schemas.microsoft.com/office/drawing/2014/main" id="{C0AF3AEB-37E8-9C50-F3C7-AB84E0456D86}"/>
                </a:ext>
              </a:extLst>
            </p:cNvPr>
            <p:cNvSpPr/>
            <p:nvPr/>
          </p:nvSpPr>
          <p:spPr>
            <a:xfrm>
              <a:off x="5540751" y="2008839"/>
              <a:ext cx="2052000" cy="20520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342900" rtl="0" eaLnBrk="1" fontAlgn="auto" latinLnBrk="0" hangingPunct="1">
                <a:lnSpc>
                  <a:spcPct val="100000"/>
                </a:lnSpc>
                <a:spcBef>
                  <a:spcPts val="0"/>
                </a:spcBef>
                <a:spcAft>
                  <a:spcPts val="225"/>
                </a:spcAft>
                <a:buClrTx/>
                <a:buSzPct val="100000"/>
                <a:buFontTx/>
                <a:buNone/>
                <a:tabLst/>
                <a:defRPr/>
              </a:pPr>
              <a:endParaRPr kumimoji="0" lang="en-GB" sz="9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92" name="Oval 91">
              <a:extLst>
                <a:ext uri="{FF2B5EF4-FFF2-40B4-BE49-F238E27FC236}">
                  <a16:creationId xmlns:a16="http://schemas.microsoft.com/office/drawing/2014/main" id="{C8487D37-D401-6C7D-C8F7-8EB6B98535BF}"/>
                </a:ext>
              </a:extLst>
            </p:cNvPr>
            <p:cNvSpPr/>
            <p:nvPr/>
          </p:nvSpPr>
          <p:spPr>
            <a:xfrm>
              <a:off x="7048913" y="2096892"/>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3" name="Oval 92">
              <a:extLst>
                <a:ext uri="{FF2B5EF4-FFF2-40B4-BE49-F238E27FC236}">
                  <a16:creationId xmlns:a16="http://schemas.microsoft.com/office/drawing/2014/main" id="{F22D7CA0-706A-2172-6EAF-898044401779}"/>
                </a:ext>
              </a:extLst>
            </p:cNvPr>
            <p:cNvSpPr/>
            <p:nvPr/>
          </p:nvSpPr>
          <p:spPr>
            <a:xfrm>
              <a:off x="5483511" y="2958807"/>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4" name="Oval 93">
              <a:extLst>
                <a:ext uri="{FF2B5EF4-FFF2-40B4-BE49-F238E27FC236}">
                  <a16:creationId xmlns:a16="http://schemas.microsoft.com/office/drawing/2014/main" id="{20237A2F-5D0A-A2BF-A6AA-39A9BF7BEF7A}"/>
                </a:ext>
              </a:extLst>
            </p:cNvPr>
            <p:cNvSpPr/>
            <p:nvPr/>
          </p:nvSpPr>
          <p:spPr>
            <a:xfrm>
              <a:off x="5939729" y="2097939"/>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5" name="Oval 94">
              <a:extLst>
                <a:ext uri="{FF2B5EF4-FFF2-40B4-BE49-F238E27FC236}">
                  <a16:creationId xmlns:a16="http://schemas.microsoft.com/office/drawing/2014/main" id="{C593962C-4AF3-C946-B6D9-2F30A741F058}"/>
                </a:ext>
              </a:extLst>
            </p:cNvPr>
            <p:cNvSpPr/>
            <p:nvPr/>
          </p:nvSpPr>
          <p:spPr>
            <a:xfrm>
              <a:off x="5865929" y="3769389"/>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6" name="Oval 95">
              <a:extLst>
                <a:ext uri="{FF2B5EF4-FFF2-40B4-BE49-F238E27FC236}">
                  <a16:creationId xmlns:a16="http://schemas.microsoft.com/office/drawing/2014/main" id="{9639E2A1-C3B5-3270-59ED-2A11DA35AA87}"/>
                </a:ext>
              </a:extLst>
            </p:cNvPr>
            <p:cNvSpPr/>
            <p:nvPr/>
          </p:nvSpPr>
          <p:spPr>
            <a:xfrm>
              <a:off x="7427025" y="3409528"/>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7" name="Oval 96">
              <a:extLst>
                <a:ext uri="{FF2B5EF4-FFF2-40B4-BE49-F238E27FC236}">
                  <a16:creationId xmlns:a16="http://schemas.microsoft.com/office/drawing/2014/main" id="{DA65D30F-EFAA-5E47-1754-7576FEDE9423}"/>
                </a:ext>
              </a:extLst>
            </p:cNvPr>
            <p:cNvSpPr/>
            <p:nvPr/>
          </p:nvSpPr>
          <p:spPr>
            <a:xfrm>
              <a:off x="7493077" y="2706085"/>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8" name="TextBox 97">
              <a:extLst>
                <a:ext uri="{FF2B5EF4-FFF2-40B4-BE49-F238E27FC236}">
                  <a16:creationId xmlns:a16="http://schemas.microsoft.com/office/drawing/2014/main" id="{52F610C1-977D-B5FB-689B-9881D4784458}"/>
                </a:ext>
              </a:extLst>
            </p:cNvPr>
            <p:cNvSpPr txBox="1"/>
            <p:nvPr/>
          </p:nvSpPr>
          <p:spPr>
            <a:xfrm>
              <a:off x="7245630" y="1806403"/>
              <a:ext cx="1445362" cy="422405"/>
            </a:xfrm>
            <a:prstGeom prst="rect">
              <a:avLst/>
            </a:prstGeom>
            <a:noFill/>
          </p:spPr>
          <p:txBody>
            <a:bodyPr wrap="square" lIns="72000" tIns="72000" rIns="72000" bIns="72000" rtlCol="0">
              <a:spAutoFit/>
            </a:bodyPr>
            <a:lstStyle>
              <a:defPPr>
                <a:defRPr lang="en-US"/>
              </a:defPPr>
              <a:lvl1pPr>
                <a:spcAft>
                  <a:spcPts val="300"/>
                </a:spcAft>
                <a:buSzPct val="100000"/>
                <a:defRPr sz="1200">
                  <a:solidFill>
                    <a:schemeClr val="bg1"/>
                  </a:solidFill>
                </a:defRPr>
              </a:lvl1pPr>
            </a:lstStyle>
            <a:p>
              <a:pPr marL="0" marR="0" lvl="0" indent="0" algn="r" defTabSz="457200" rtl="0" eaLnBrk="1" fontAlgn="auto" latinLnBrk="0" hangingPunct="1">
                <a:lnSpc>
                  <a:spcPct val="100000"/>
                </a:lnSpc>
                <a:spcBef>
                  <a:spcPts val="0"/>
                </a:spcBef>
                <a:spcAft>
                  <a:spcPts val="30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Light"/>
                  <a:ea typeface="+mn-ea"/>
                  <a:cs typeface="+mn-cs"/>
                </a:rPr>
                <a:t>Trusted execution and systems integrity</a:t>
              </a:r>
              <a:endParaRPr kumimoji="0" lang="en-AU" sz="9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99" name="TextBox 98">
              <a:extLst>
                <a:ext uri="{FF2B5EF4-FFF2-40B4-BE49-F238E27FC236}">
                  <a16:creationId xmlns:a16="http://schemas.microsoft.com/office/drawing/2014/main" id="{3AA3C9F0-8676-6DB6-50D4-13E9C66FF025}"/>
                </a:ext>
              </a:extLst>
            </p:cNvPr>
            <p:cNvSpPr txBox="1"/>
            <p:nvPr/>
          </p:nvSpPr>
          <p:spPr>
            <a:xfrm>
              <a:off x="7743392" y="2412481"/>
              <a:ext cx="947600" cy="422405"/>
            </a:xfrm>
            <a:prstGeom prst="rect">
              <a:avLst/>
            </a:prstGeom>
            <a:noFill/>
          </p:spPr>
          <p:txBody>
            <a:bodyPr wrap="square" lIns="72000" tIns="72000" rIns="72000" bIns="72000" rtlCol="0">
              <a:spAutoFit/>
            </a:bodyPr>
            <a:lstStyle>
              <a:defPPr>
                <a:defRPr lang="en-US"/>
              </a:defPPr>
              <a:lvl1pPr>
                <a:spcAft>
                  <a:spcPts val="300"/>
                </a:spcAft>
                <a:buSzPct val="100000"/>
                <a:defRPr sz="1200">
                  <a:solidFill>
                    <a:schemeClr val="bg1"/>
                  </a:solidFill>
                </a:defRPr>
              </a:lvl1pPr>
            </a:lstStyle>
            <a:p>
              <a:pPr marL="0" marR="0" lvl="0" indent="0" algn="r" defTabSz="342900" rtl="0" eaLnBrk="1" fontAlgn="auto" latinLnBrk="0" hangingPunct="1">
                <a:lnSpc>
                  <a:spcPct val="100000"/>
                </a:lnSpc>
                <a:spcBef>
                  <a:spcPts val="0"/>
                </a:spcBef>
                <a:spcAft>
                  <a:spcPts val="225"/>
                </a:spcAft>
                <a:buClrTx/>
                <a:buSzPct val="100000"/>
                <a:buFontTx/>
                <a:buNone/>
                <a:tabLst/>
                <a:defRPr/>
              </a:pP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Authentication at scale</a:t>
              </a:r>
            </a:p>
          </p:txBody>
        </p:sp>
        <p:sp>
          <p:nvSpPr>
            <p:cNvPr id="100" name="TextBox 99">
              <a:extLst>
                <a:ext uri="{FF2B5EF4-FFF2-40B4-BE49-F238E27FC236}">
                  <a16:creationId xmlns:a16="http://schemas.microsoft.com/office/drawing/2014/main" id="{1E765CDC-9D13-A1CA-DF59-F224D328EB1A}"/>
                </a:ext>
              </a:extLst>
            </p:cNvPr>
            <p:cNvSpPr txBox="1"/>
            <p:nvPr/>
          </p:nvSpPr>
          <p:spPr>
            <a:xfrm>
              <a:off x="7500825" y="3222020"/>
              <a:ext cx="1190167" cy="422405"/>
            </a:xfrm>
            <a:prstGeom prst="rect">
              <a:avLst/>
            </a:prstGeom>
            <a:noFill/>
          </p:spPr>
          <p:txBody>
            <a:bodyPr wrap="square" lIns="72000" tIns="72000" rIns="72000" bIns="72000" rtlCol="0">
              <a:spAutoFit/>
            </a:bodyPr>
            <a:lstStyle>
              <a:defPPr>
                <a:defRPr lang="en-US"/>
              </a:defPPr>
              <a:lvl1pPr>
                <a:spcAft>
                  <a:spcPts val="300"/>
                </a:spcAft>
                <a:buSzPct val="100000"/>
                <a:defRPr sz="1200">
                  <a:solidFill>
                    <a:schemeClr val="bg1"/>
                  </a:solidFill>
                </a:defRPr>
              </a:lvl1pPr>
            </a:lstStyle>
            <a:p>
              <a:pPr marL="0" marR="0" lvl="0" indent="0" algn="r" defTabSz="342900" rtl="0" eaLnBrk="1" fontAlgn="auto" latinLnBrk="0" hangingPunct="1">
                <a:lnSpc>
                  <a:spcPct val="100000"/>
                </a:lnSpc>
                <a:spcBef>
                  <a:spcPts val="0"/>
                </a:spcBef>
                <a:spcAft>
                  <a:spcPts val="225"/>
                </a:spcAft>
                <a:buClrTx/>
                <a:buSzPct val="100000"/>
                <a:buFontTx/>
                <a:buNone/>
                <a:tabLst/>
                <a:defRPr/>
              </a:pPr>
              <a:r>
                <a:rPr kumimoji="0" lang="en-GB" sz="900" b="0" i="0" u="none" strike="noStrike" kern="0" cap="none" spc="0" normalizeH="0" baseline="0" noProof="0" dirty="0">
                  <a:ln>
                    <a:noFill/>
                  </a:ln>
                  <a:solidFill>
                    <a:srgbClr val="001135"/>
                  </a:solidFill>
                  <a:effectLst/>
                  <a:uLnTx/>
                  <a:uFillTx/>
                  <a:latin typeface="Nokia Pure Headline Light" panose="020B0304020202020204" pitchFamily="34" charset="0"/>
                  <a:ea typeface="Nokia Pure Text Light" panose="020B0403020202020204" pitchFamily="34" charset="0"/>
                  <a:cs typeface="+mn-cs"/>
                </a:rPr>
                <a:t>Secure AI/ML operations</a:t>
              </a:r>
            </a:p>
          </p:txBody>
        </p:sp>
        <p:sp>
          <p:nvSpPr>
            <p:cNvPr id="101" name="TextBox 100">
              <a:extLst>
                <a:ext uri="{FF2B5EF4-FFF2-40B4-BE49-F238E27FC236}">
                  <a16:creationId xmlns:a16="http://schemas.microsoft.com/office/drawing/2014/main" id="{EEC8C7AB-CAD0-6B8A-210E-043D55F79A40}"/>
                </a:ext>
              </a:extLst>
            </p:cNvPr>
            <p:cNvSpPr txBox="1"/>
            <p:nvPr/>
          </p:nvSpPr>
          <p:spPr>
            <a:xfrm>
              <a:off x="6905911" y="3911832"/>
              <a:ext cx="1464466" cy="422405"/>
            </a:xfrm>
            <a:prstGeom prst="rect">
              <a:avLst/>
            </a:prstGeom>
            <a:noFill/>
          </p:spPr>
          <p:txBody>
            <a:bodyPr wrap="square" lIns="72000" tIns="72000" rIns="72000" bIns="72000" rtlCol="0">
              <a:spAutoFit/>
            </a:bodyPr>
            <a:lstStyle>
              <a:defPPr>
                <a:defRPr lang="en-US"/>
              </a:defPPr>
              <a:lvl1pPr>
                <a:spcAft>
                  <a:spcPts val="300"/>
                </a:spcAft>
                <a:buSzPct val="100000"/>
                <a:defRPr sz="1200">
                  <a:solidFill>
                    <a:schemeClr val="bg1"/>
                  </a:solidFill>
                </a:defRPr>
              </a:lvl1pPr>
            </a:lstStyle>
            <a:p>
              <a:pPr marL="0" marR="0" lvl="0" indent="0" algn="r" defTabSz="342900" rtl="0" eaLnBrk="1" fontAlgn="auto" latinLnBrk="0" hangingPunct="1">
                <a:lnSpc>
                  <a:spcPct val="100000"/>
                </a:lnSpc>
                <a:spcBef>
                  <a:spcPts val="0"/>
                </a:spcBef>
                <a:spcAft>
                  <a:spcPts val="225"/>
                </a:spcAft>
                <a:buClrTx/>
                <a:buSzPct val="100000"/>
                <a:buFontTx/>
                <a:buNone/>
                <a:tabLst/>
                <a:defRPr/>
              </a:pP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AI assisted security </a:t>
              </a:r>
              <a:b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b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monitoring and audit</a:t>
              </a:r>
            </a:p>
          </p:txBody>
        </p:sp>
        <p:sp>
          <p:nvSpPr>
            <p:cNvPr id="103" name="Oval 102">
              <a:extLst>
                <a:ext uri="{FF2B5EF4-FFF2-40B4-BE49-F238E27FC236}">
                  <a16:creationId xmlns:a16="http://schemas.microsoft.com/office/drawing/2014/main" id="{253D9B4F-5D9D-BB91-4F20-5E1EC798B0A6}"/>
                </a:ext>
              </a:extLst>
            </p:cNvPr>
            <p:cNvSpPr/>
            <p:nvPr/>
          </p:nvSpPr>
          <p:spPr>
            <a:xfrm>
              <a:off x="6894339" y="3912958"/>
              <a:ext cx="147600" cy="1476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AU"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104" name="TextBox 103">
              <a:extLst>
                <a:ext uri="{FF2B5EF4-FFF2-40B4-BE49-F238E27FC236}">
                  <a16:creationId xmlns:a16="http://schemas.microsoft.com/office/drawing/2014/main" id="{C07DD1D3-9D02-0BE3-469C-84E146D11F2C}"/>
                </a:ext>
              </a:extLst>
            </p:cNvPr>
            <p:cNvSpPr txBox="1"/>
            <p:nvPr/>
          </p:nvSpPr>
          <p:spPr>
            <a:xfrm>
              <a:off x="4490419" y="2629758"/>
              <a:ext cx="985905" cy="369332"/>
            </a:xfrm>
            <a:prstGeom prst="rect">
              <a:avLst/>
            </a:prstGeom>
            <a:noFill/>
          </p:spPr>
          <p:txBody>
            <a:bodyPr wrap="square" lIns="0" tIns="72000" rIns="72000" bIns="72000">
              <a:noAutofit/>
            </a:bodyPr>
            <a:lstStyle/>
            <a:p>
              <a:pPr marL="0" marR="0" lvl="0" indent="0" algn="l" defTabSz="342900" rtl="0" eaLnBrk="1" fontAlgn="auto" latinLnBrk="0" hangingPunct="1">
                <a:lnSpc>
                  <a:spcPct val="100000"/>
                </a:lnSpc>
                <a:spcBef>
                  <a:spcPts val="0"/>
                </a:spcBef>
                <a:spcAft>
                  <a:spcPts val="225"/>
                </a:spcAft>
                <a:buClrTx/>
                <a:buSzPct val="100000"/>
                <a:buFontTx/>
                <a:buNone/>
                <a:tabLst/>
                <a:defRPr/>
              </a:pP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Data </a:t>
              </a:r>
              <a:b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br>
              <a:r>
                <a:rPr kumimoji="0" lang="en-GB" sz="900" b="0" i="0" u="none" strike="noStrike" kern="1200" cap="none" spc="0" normalizeH="0" baseline="0" noProof="0" dirty="0">
                  <a:ln>
                    <a:noFill/>
                  </a:ln>
                  <a:solidFill>
                    <a:srgbClr val="001135"/>
                  </a:solidFill>
                  <a:effectLst/>
                  <a:uLnTx/>
                  <a:uFillTx/>
                  <a:latin typeface="Nokia Pure Text Light"/>
                  <a:ea typeface="+mn-ea"/>
                  <a:cs typeface="+mn-cs"/>
                </a:rPr>
                <a:t>privacy</a:t>
              </a:r>
            </a:p>
          </p:txBody>
        </p:sp>
        <p:sp>
          <p:nvSpPr>
            <p:cNvPr id="105" name="TextBox 104">
              <a:extLst>
                <a:ext uri="{FF2B5EF4-FFF2-40B4-BE49-F238E27FC236}">
                  <a16:creationId xmlns:a16="http://schemas.microsoft.com/office/drawing/2014/main" id="{BCA7037E-7DDB-C3BA-985D-0966B7317CF0}"/>
                </a:ext>
              </a:extLst>
            </p:cNvPr>
            <p:cNvSpPr txBox="1"/>
            <p:nvPr/>
          </p:nvSpPr>
          <p:spPr>
            <a:xfrm>
              <a:off x="4490419" y="1806403"/>
              <a:ext cx="1597946" cy="369332"/>
            </a:xfrm>
            <a:prstGeom prst="rect">
              <a:avLst/>
            </a:prstGeom>
            <a:noFill/>
          </p:spPr>
          <p:txBody>
            <a:bodyPr wrap="square" lIns="0" tIns="72000" rIns="72000" bIns="72000">
              <a:noAutofit/>
            </a:bodyPr>
            <a:lstStyle/>
            <a:p>
              <a:pPr marL="0" marR="0" lvl="0" indent="0" algn="l" defTabSz="342900" rtl="0" eaLnBrk="1" fontAlgn="auto" latinLnBrk="0" hangingPunct="1">
                <a:lnSpc>
                  <a:spcPct val="100000"/>
                </a:lnSpc>
                <a:spcBef>
                  <a:spcPts val="0"/>
                </a:spcBef>
                <a:spcAft>
                  <a:spcPts val="225"/>
                </a:spcAft>
                <a:buClrTx/>
                <a:buSzPct val="100000"/>
                <a:buFontTx/>
                <a:buNone/>
                <a:tabLst/>
                <a:defRPr/>
              </a:pPr>
              <a:r>
                <a:rPr kumimoji="0" lang="en-AU" sz="900" b="0" i="0" u="none" strike="noStrike" kern="1200" cap="none" spc="0" normalizeH="0" baseline="0" noProof="0" dirty="0">
                  <a:ln>
                    <a:noFill/>
                  </a:ln>
                  <a:solidFill>
                    <a:srgbClr val="001135"/>
                  </a:solidFill>
                  <a:effectLst/>
                  <a:uLnTx/>
                  <a:uFillTx/>
                  <a:latin typeface="Nokia Pure Text Light"/>
                  <a:ea typeface="+mn-ea"/>
                  <a:cs typeface="+mn-cs"/>
                </a:rPr>
                <a:t>Quantum safe systems,</a:t>
              </a:r>
              <a:br>
                <a:rPr kumimoji="0" lang="en-AU" sz="900" b="0" i="0" u="none" strike="noStrike" kern="1200" cap="none" spc="0" normalizeH="0" baseline="0" noProof="0" dirty="0">
                  <a:ln>
                    <a:noFill/>
                  </a:ln>
                  <a:solidFill>
                    <a:srgbClr val="001135"/>
                  </a:solidFill>
                  <a:effectLst/>
                  <a:uLnTx/>
                  <a:uFillTx/>
                  <a:latin typeface="Nokia Pure Text Light"/>
                  <a:ea typeface="+mn-ea"/>
                  <a:cs typeface="+mn-cs"/>
                </a:rPr>
              </a:br>
              <a:r>
                <a:rPr kumimoji="0" lang="en-AU" sz="900" b="0" i="0" u="none" strike="noStrike" kern="1200" cap="none" spc="0" normalizeH="0" baseline="0" noProof="0" dirty="0">
                  <a:ln>
                    <a:noFill/>
                  </a:ln>
                  <a:solidFill>
                    <a:srgbClr val="001135"/>
                  </a:solidFill>
                  <a:effectLst/>
                  <a:uLnTx/>
                  <a:uFillTx/>
                  <a:latin typeface="Nokia Pure Text Light"/>
                  <a:ea typeface="+mn-ea"/>
                  <a:cs typeface="+mn-cs"/>
                </a:rPr>
                <a:t>Quantum key distribution</a:t>
              </a:r>
            </a:p>
          </p:txBody>
        </p:sp>
        <p:cxnSp>
          <p:nvCxnSpPr>
            <p:cNvPr id="106" name="Straight Connector 105">
              <a:extLst>
                <a:ext uri="{FF2B5EF4-FFF2-40B4-BE49-F238E27FC236}">
                  <a16:creationId xmlns:a16="http://schemas.microsoft.com/office/drawing/2014/main" id="{6DC75983-9B55-01F1-D16B-82D99EE5092D}"/>
                </a:ext>
              </a:extLst>
            </p:cNvPr>
            <p:cNvCxnSpPr>
              <a:cxnSpLocks/>
            </p:cNvCxnSpPr>
            <p:nvPr/>
          </p:nvCxnSpPr>
          <p:spPr>
            <a:xfrm flipV="1">
              <a:off x="4469770" y="2170692"/>
              <a:ext cx="1543759"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A6EE55B-EE0E-6442-44DE-06F5CCEB7949}"/>
                </a:ext>
              </a:extLst>
            </p:cNvPr>
            <p:cNvCxnSpPr>
              <a:cxnSpLocks/>
            </p:cNvCxnSpPr>
            <p:nvPr/>
          </p:nvCxnSpPr>
          <p:spPr>
            <a:xfrm>
              <a:off x="4469770" y="3039372"/>
              <a:ext cx="1086559"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4BF9F2E4-2FAA-9D62-3A80-E11919AB2034}"/>
                </a:ext>
              </a:extLst>
            </p:cNvPr>
            <p:cNvGrpSpPr/>
            <p:nvPr/>
          </p:nvGrpSpPr>
          <p:grpSpPr>
            <a:xfrm>
              <a:off x="4469770" y="3852507"/>
              <a:ext cx="1469959" cy="304853"/>
              <a:chOff x="4469769" y="3513540"/>
              <a:chExt cx="1469959" cy="304853"/>
            </a:xfrm>
          </p:grpSpPr>
          <p:cxnSp>
            <p:nvCxnSpPr>
              <p:cNvPr id="119" name="Straight Connector 118">
                <a:extLst>
                  <a:ext uri="{FF2B5EF4-FFF2-40B4-BE49-F238E27FC236}">
                    <a16:creationId xmlns:a16="http://schemas.microsoft.com/office/drawing/2014/main" id="{99858C0D-D2F0-6D78-7758-A86B958D74FF}"/>
                  </a:ext>
                </a:extLst>
              </p:cNvPr>
              <p:cNvCxnSpPr>
                <a:cxnSpLocks/>
              </p:cNvCxnSpPr>
              <p:nvPr/>
            </p:nvCxnSpPr>
            <p:spPr>
              <a:xfrm>
                <a:off x="4469769" y="3818393"/>
                <a:ext cx="1311732"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12F9B8A-75A0-30D9-7C14-035D9ED74132}"/>
                  </a:ext>
                </a:extLst>
              </p:cNvPr>
              <p:cNvCxnSpPr>
                <a:cxnSpLocks/>
              </p:cNvCxnSpPr>
              <p:nvPr/>
            </p:nvCxnSpPr>
            <p:spPr>
              <a:xfrm flipV="1">
                <a:off x="5778470" y="3513540"/>
                <a:ext cx="161258" cy="30485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09" name="Group 108">
              <a:extLst>
                <a:ext uri="{FF2B5EF4-FFF2-40B4-BE49-F238E27FC236}">
                  <a16:creationId xmlns:a16="http://schemas.microsoft.com/office/drawing/2014/main" id="{40FEA9C9-E094-3ABD-5AE1-075A79271228}"/>
                </a:ext>
              </a:extLst>
            </p:cNvPr>
            <p:cNvGrpSpPr/>
            <p:nvPr/>
          </p:nvGrpSpPr>
          <p:grpSpPr>
            <a:xfrm flipH="1">
              <a:off x="6990453" y="4029384"/>
              <a:ext cx="1316396" cy="304853"/>
              <a:chOff x="4623332" y="3513540"/>
              <a:chExt cx="1316396" cy="304853"/>
            </a:xfrm>
          </p:grpSpPr>
          <p:cxnSp>
            <p:nvCxnSpPr>
              <p:cNvPr id="117" name="Straight Connector 116">
                <a:extLst>
                  <a:ext uri="{FF2B5EF4-FFF2-40B4-BE49-F238E27FC236}">
                    <a16:creationId xmlns:a16="http://schemas.microsoft.com/office/drawing/2014/main" id="{D1592328-1017-E68B-B86C-8C2FE49FA62C}"/>
                  </a:ext>
                </a:extLst>
              </p:cNvPr>
              <p:cNvCxnSpPr/>
              <p:nvPr/>
            </p:nvCxnSpPr>
            <p:spPr>
              <a:xfrm>
                <a:off x="4623332" y="3818393"/>
                <a:ext cx="1158169"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7A998FDC-067D-98B4-B7D5-49647F623D35}"/>
                  </a:ext>
                </a:extLst>
              </p:cNvPr>
              <p:cNvCxnSpPr>
                <a:cxnSpLocks/>
              </p:cNvCxnSpPr>
              <p:nvPr/>
            </p:nvCxnSpPr>
            <p:spPr>
              <a:xfrm flipV="1">
                <a:off x="5778470" y="3513540"/>
                <a:ext cx="161258" cy="30485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10" name="Straight Connector 109">
              <a:extLst>
                <a:ext uri="{FF2B5EF4-FFF2-40B4-BE49-F238E27FC236}">
                  <a16:creationId xmlns:a16="http://schemas.microsoft.com/office/drawing/2014/main" id="{69C232BC-9ED4-D02F-CF2C-7E56D2DB6688}"/>
                </a:ext>
              </a:extLst>
            </p:cNvPr>
            <p:cNvCxnSpPr>
              <a:cxnSpLocks/>
            </p:cNvCxnSpPr>
            <p:nvPr/>
          </p:nvCxnSpPr>
          <p:spPr>
            <a:xfrm>
              <a:off x="7566877" y="2779885"/>
              <a:ext cx="1086559"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641D5466-CA0A-B091-9500-C5A21F45507B}"/>
                </a:ext>
              </a:extLst>
            </p:cNvPr>
            <p:cNvGrpSpPr/>
            <p:nvPr/>
          </p:nvGrpSpPr>
          <p:grpSpPr>
            <a:xfrm flipH="1">
              <a:off x="7517811" y="3486008"/>
              <a:ext cx="1135625" cy="158418"/>
              <a:chOff x="4804103" y="3513540"/>
              <a:chExt cx="1135625" cy="304853"/>
            </a:xfrm>
          </p:grpSpPr>
          <p:cxnSp>
            <p:nvCxnSpPr>
              <p:cNvPr id="115" name="Straight Connector 114">
                <a:extLst>
                  <a:ext uri="{FF2B5EF4-FFF2-40B4-BE49-F238E27FC236}">
                    <a16:creationId xmlns:a16="http://schemas.microsoft.com/office/drawing/2014/main" id="{D305E9E6-8AB3-E892-A136-0E056BEA1343}"/>
                  </a:ext>
                </a:extLst>
              </p:cNvPr>
              <p:cNvCxnSpPr>
                <a:cxnSpLocks/>
              </p:cNvCxnSpPr>
              <p:nvPr/>
            </p:nvCxnSpPr>
            <p:spPr>
              <a:xfrm>
                <a:off x="4804103" y="3818393"/>
                <a:ext cx="977398"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9D38628-4FB7-41B6-8CC7-914DE203CCC9}"/>
                  </a:ext>
                </a:extLst>
              </p:cNvPr>
              <p:cNvCxnSpPr>
                <a:cxnSpLocks/>
              </p:cNvCxnSpPr>
              <p:nvPr/>
            </p:nvCxnSpPr>
            <p:spPr>
              <a:xfrm flipV="1">
                <a:off x="5778470" y="3513540"/>
                <a:ext cx="161258" cy="304853"/>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12" name="Straight Connector 111">
              <a:extLst>
                <a:ext uri="{FF2B5EF4-FFF2-40B4-BE49-F238E27FC236}">
                  <a16:creationId xmlns:a16="http://schemas.microsoft.com/office/drawing/2014/main" id="{2BCEDBA1-0A49-9506-C98B-7F89A3435C59}"/>
                </a:ext>
              </a:extLst>
            </p:cNvPr>
            <p:cNvCxnSpPr>
              <a:cxnSpLocks/>
            </p:cNvCxnSpPr>
            <p:nvPr/>
          </p:nvCxnSpPr>
          <p:spPr>
            <a:xfrm flipV="1">
              <a:off x="7108891" y="2170692"/>
              <a:ext cx="1543759"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3" name="Graphic 112">
              <a:extLst>
                <a:ext uri="{FF2B5EF4-FFF2-40B4-BE49-F238E27FC236}">
                  <a16:creationId xmlns:a16="http://schemas.microsoft.com/office/drawing/2014/main" id="{BC1ADC81-1D87-F5AB-23CB-F8EBA79AB9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08163" y="2473566"/>
              <a:ext cx="917177" cy="1106007"/>
            </a:xfrm>
            <a:prstGeom prst="rect">
              <a:avLst/>
            </a:prstGeom>
          </p:spPr>
        </p:pic>
        <p:cxnSp>
          <p:nvCxnSpPr>
            <p:cNvPr id="114" name="Straight Connector 113">
              <a:extLst>
                <a:ext uri="{FF2B5EF4-FFF2-40B4-BE49-F238E27FC236}">
                  <a16:creationId xmlns:a16="http://schemas.microsoft.com/office/drawing/2014/main" id="{38AE230D-5047-459F-C54A-008EAA4AF70C}"/>
                </a:ext>
              </a:extLst>
            </p:cNvPr>
            <p:cNvCxnSpPr>
              <a:cxnSpLocks/>
              <a:stCxn id="91" idx="4"/>
            </p:cNvCxnSpPr>
            <p:nvPr/>
          </p:nvCxnSpPr>
          <p:spPr>
            <a:xfrm flipH="1">
              <a:off x="6555555" y="4060839"/>
              <a:ext cx="0" cy="387196"/>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21" name="Straight Connector 120">
            <a:extLst>
              <a:ext uri="{FF2B5EF4-FFF2-40B4-BE49-F238E27FC236}">
                <a16:creationId xmlns:a16="http://schemas.microsoft.com/office/drawing/2014/main" id="{16F3B631-B6F1-8F5F-5556-BE0AE2509A60}"/>
              </a:ext>
            </a:extLst>
          </p:cNvPr>
          <p:cNvCxnSpPr>
            <a:cxnSpLocks/>
            <a:stCxn id="127" idx="2"/>
            <a:endCxn id="123" idx="0"/>
          </p:cNvCxnSpPr>
          <p:nvPr/>
        </p:nvCxnSpPr>
        <p:spPr>
          <a:xfrm>
            <a:off x="2612703" y="2383124"/>
            <a:ext cx="0" cy="177187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2" name="Freeform: Shape 121">
            <a:extLst>
              <a:ext uri="{FF2B5EF4-FFF2-40B4-BE49-F238E27FC236}">
                <a16:creationId xmlns:a16="http://schemas.microsoft.com/office/drawing/2014/main" id="{74905A5A-9209-6A49-CAAC-A7EC0F239DEB}"/>
              </a:ext>
            </a:extLst>
          </p:cNvPr>
          <p:cNvSpPr/>
          <p:nvPr/>
        </p:nvSpPr>
        <p:spPr>
          <a:xfrm>
            <a:off x="417600" y="1894235"/>
            <a:ext cx="1212624" cy="2754698"/>
          </a:xfrm>
          <a:custGeom>
            <a:avLst/>
            <a:gdLst>
              <a:gd name="connsiteX0" fmla="*/ 0 w 1052423"/>
              <a:gd name="connsiteY0" fmla="*/ 0 h 733245"/>
              <a:gd name="connsiteX1" fmla="*/ 1052423 w 1052423"/>
              <a:gd name="connsiteY1" fmla="*/ 8626 h 733245"/>
              <a:gd name="connsiteX2" fmla="*/ 862642 w 1052423"/>
              <a:gd name="connsiteY2" fmla="*/ 733245 h 733245"/>
              <a:gd name="connsiteX3" fmla="*/ 34506 w 1052423"/>
              <a:gd name="connsiteY3" fmla="*/ 733245 h 733245"/>
              <a:gd name="connsiteX4" fmla="*/ 0 w 1052423"/>
              <a:gd name="connsiteY4" fmla="*/ 0 h 733245"/>
              <a:gd name="connsiteX0" fmla="*/ 0 w 1052423"/>
              <a:gd name="connsiteY0" fmla="*/ 0 h 733245"/>
              <a:gd name="connsiteX1" fmla="*/ 1052423 w 1052423"/>
              <a:gd name="connsiteY1" fmla="*/ 8626 h 733245"/>
              <a:gd name="connsiteX2" fmla="*/ 862642 w 1052423"/>
              <a:gd name="connsiteY2" fmla="*/ 733245 h 733245"/>
              <a:gd name="connsiteX3" fmla="*/ 8627 w 1052423"/>
              <a:gd name="connsiteY3" fmla="*/ 724618 h 733245"/>
              <a:gd name="connsiteX4" fmla="*/ 0 w 1052423"/>
              <a:gd name="connsiteY4" fmla="*/ 0 h 733245"/>
              <a:gd name="connsiteX0" fmla="*/ 0 w 1052423"/>
              <a:gd name="connsiteY0" fmla="*/ 0 h 733245"/>
              <a:gd name="connsiteX1" fmla="*/ 1052423 w 1052423"/>
              <a:gd name="connsiteY1" fmla="*/ 8626 h 733245"/>
              <a:gd name="connsiteX2" fmla="*/ 878468 w 1052423"/>
              <a:gd name="connsiteY2" fmla="*/ 733245 h 733245"/>
              <a:gd name="connsiteX3" fmla="*/ 8627 w 1052423"/>
              <a:gd name="connsiteY3" fmla="*/ 724618 h 733245"/>
              <a:gd name="connsiteX4" fmla="*/ 0 w 1052423"/>
              <a:gd name="connsiteY4" fmla="*/ 0 h 733245"/>
              <a:gd name="connsiteX0" fmla="*/ 15112 w 1067535"/>
              <a:gd name="connsiteY0" fmla="*/ 0 h 733245"/>
              <a:gd name="connsiteX1" fmla="*/ 1067535 w 1067535"/>
              <a:gd name="connsiteY1" fmla="*/ 8626 h 733245"/>
              <a:gd name="connsiteX2" fmla="*/ 893580 w 1067535"/>
              <a:gd name="connsiteY2" fmla="*/ 733245 h 733245"/>
              <a:gd name="connsiteX3" fmla="*/ 0 w 1067535"/>
              <a:gd name="connsiteY3" fmla="*/ 724618 h 733245"/>
              <a:gd name="connsiteX4" fmla="*/ 15112 w 1067535"/>
              <a:gd name="connsiteY4" fmla="*/ 0 h 733245"/>
              <a:gd name="connsiteX0" fmla="*/ 15112 w 1067535"/>
              <a:gd name="connsiteY0" fmla="*/ 0 h 733245"/>
              <a:gd name="connsiteX1" fmla="*/ 1067535 w 1067535"/>
              <a:gd name="connsiteY1" fmla="*/ 1716 h 733245"/>
              <a:gd name="connsiteX2" fmla="*/ 893580 w 1067535"/>
              <a:gd name="connsiteY2" fmla="*/ 733245 h 733245"/>
              <a:gd name="connsiteX3" fmla="*/ 0 w 1067535"/>
              <a:gd name="connsiteY3" fmla="*/ 724618 h 733245"/>
              <a:gd name="connsiteX4" fmla="*/ 15112 w 1067535"/>
              <a:gd name="connsiteY4" fmla="*/ 0 h 733245"/>
              <a:gd name="connsiteX0" fmla="*/ 15112 w 1067535"/>
              <a:gd name="connsiteY0" fmla="*/ 0 h 735548"/>
              <a:gd name="connsiteX1" fmla="*/ 1067535 w 1067535"/>
              <a:gd name="connsiteY1" fmla="*/ 1716 h 735548"/>
              <a:gd name="connsiteX2" fmla="*/ 418803 w 1067535"/>
              <a:gd name="connsiteY2" fmla="*/ 735548 h 735548"/>
              <a:gd name="connsiteX3" fmla="*/ 0 w 1067535"/>
              <a:gd name="connsiteY3" fmla="*/ 724618 h 735548"/>
              <a:gd name="connsiteX4" fmla="*/ 15112 w 1067535"/>
              <a:gd name="connsiteY4" fmla="*/ 0 h 735548"/>
              <a:gd name="connsiteX0" fmla="*/ 30938 w 1083361"/>
              <a:gd name="connsiteY0" fmla="*/ 0 h 735548"/>
              <a:gd name="connsiteX1" fmla="*/ 1083361 w 1083361"/>
              <a:gd name="connsiteY1" fmla="*/ 1716 h 735548"/>
              <a:gd name="connsiteX2" fmla="*/ 434629 w 1083361"/>
              <a:gd name="connsiteY2" fmla="*/ 735548 h 735548"/>
              <a:gd name="connsiteX3" fmla="*/ 0 w 1083361"/>
              <a:gd name="connsiteY3" fmla="*/ 733832 h 735548"/>
              <a:gd name="connsiteX4" fmla="*/ 30938 w 1083361"/>
              <a:gd name="connsiteY4" fmla="*/ 0 h 735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3361" h="735548">
                <a:moveTo>
                  <a:pt x="30938" y="0"/>
                </a:moveTo>
                <a:lnTo>
                  <a:pt x="1083361" y="1716"/>
                </a:lnTo>
                <a:lnTo>
                  <a:pt x="434629" y="735548"/>
                </a:lnTo>
                <a:lnTo>
                  <a:pt x="0" y="733832"/>
                </a:lnTo>
                <a:lnTo>
                  <a:pt x="30938" y="0"/>
                </a:lnTo>
                <a:close/>
              </a:path>
            </a:pathLst>
          </a:cu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123" name="Arrow: Chevron 7">
            <a:extLst>
              <a:ext uri="{FF2B5EF4-FFF2-40B4-BE49-F238E27FC236}">
                <a16:creationId xmlns:a16="http://schemas.microsoft.com/office/drawing/2014/main" id="{87852A27-E286-029C-A9F4-D2C9DA534A90}"/>
              </a:ext>
            </a:extLst>
          </p:cNvPr>
          <p:cNvSpPr/>
          <p:nvPr/>
        </p:nvSpPr>
        <p:spPr>
          <a:xfrm>
            <a:off x="988257" y="4154995"/>
            <a:ext cx="3248891" cy="485312"/>
          </a:xfrm>
          <a:prstGeom prst="trapezoid">
            <a:avLst/>
          </a:prstGeom>
          <a:solidFill>
            <a:schemeClr val="accent2"/>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0" rtlCol="0" fromWordArt="0" anchor="ctr" anchorCtr="0" forceAA="0" compatLnSpc="1">
            <a:prstTxWarp prst="textNoShape">
              <a:avLst/>
            </a:prstTxWarp>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Billions of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endpoints</a:t>
            </a:r>
          </a:p>
        </p:txBody>
      </p:sp>
      <p:sp>
        <p:nvSpPr>
          <p:cNvPr id="124" name="Arrow: Chevron 7">
            <a:extLst>
              <a:ext uri="{FF2B5EF4-FFF2-40B4-BE49-F238E27FC236}">
                <a16:creationId xmlns:a16="http://schemas.microsoft.com/office/drawing/2014/main" id="{79C6E3E6-997A-2C9A-66C6-0C7ADB1D3F42}"/>
              </a:ext>
            </a:extLst>
          </p:cNvPr>
          <p:cNvSpPr/>
          <p:nvPr/>
        </p:nvSpPr>
        <p:spPr>
          <a:xfrm>
            <a:off x="1133172" y="3588519"/>
            <a:ext cx="2959060" cy="485312"/>
          </a:xfrm>
          <a:prstGeom prst="trapezoid">
            <a:avLst/>
          </a:prstGeom>
          <a:solidFill>
            <a:schemeClr val="accent2"/>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0" rtlCol="0" fromWordArt="0" anchor="ctr" anchorCtr="0" forceAA="0" compatLnSpc="1">
            <a:prstTxWarp prst="textNoShape">
              <a:avLst/>
            </a:prstTxWarp>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Millions of </a:t>
            </a:r>
            <a:br>
              <a:rPr kumimoji="0" lang="en-US" sz="10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br>
            <a:r>
              <a:rPr kumimoji="0" lang="en-US" sz="1000" b="0" i="0" u="none" strike="noStrike" kern="1200" cap="none" spc="0" normalizeH="0" baseline="0" noProof="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sub-networks</a:t>
            </a:r>
          </a:p>
        </p:txBody>
      </p:sp>
      <p:sp>
        <p:nvSpPr>
          <p:cNvPr id="125" name="Arrow: Chevron 121">
            <a:extLst>
              <a:ext uri="{FF2B5EF4-FFF2-40B4-BE49-F238E27FC236}">
                <a16:creationId xmlns:a16="http://schemas.microsoft.com/office/drawing/2014/main" id="{A7636774-DA08-DB19-88A2-AC517D50C22A}"/>
              </a:ext>
            </a:extLst>
          </p:cNvPr>
          <p:cNvSpPr/>
          <p:nvPr/>
        </p:nvSpPr>
        <p:spPr>
          <a:xfrm>
            <a:off x="1278988" y="3017693"/>
            <a:ext cx="2667429" cy="485312"/>
          </a:xfrm>
          <a:prstGeom prst="trapezoid">
            <a:avLst/>
          </a:prstGeom>
          <a:solidFill>
            <a:schemeClr val="accent2"/>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0" rtlCol="0" fromWordArt="0" anchor="ctr" anchorCtr="0" forceAA="0" compatLnSpc="1">
            <a:prstTxWarp prst="textNoShape">
              <a:avLst/>
            </a:prstTxWarp>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Open Interfaces </a:t>
            </a:r>
            <a:b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b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amp; disaggregation</a:t>
            </a:r>
          </a:p>
        </p:txBody>
      </p:sp>
      <p:sp>
        <p:nvSpPr>
          <p:cNvPr id="126" name="Arrow: Chevron 129">
            <a:extLst>
              <a:ext uri="{FF2B5EF4-FFF2-40B4-BE49-F238E27FC236}">
                <a16:creationId xmlns:a16="http://schemas.microsoft.com/office/drawing/2014/main" id="{3AA2BD17-CD09-FEC3-BF64-29E7B5437C42}"/>
              </a:ext>
            </a:extLst>
          </p:cNvPr>
          <p:cNvSpPr/>
          <p:nvPr/>
        </p:nvSpPr>
        <p:spPr>
          <a:xfrm>
            <a:off x="1424460" y="2459931"/>
            <a:ext cx="2376484" cy="485312"/>
          </a:xfrm>
          <a:prstGeom prst="trapezoid">
            <a:avLst/>
          </a:prstGeom>
          <a:solidFill>
            <a:schemeClr val="accent2"/>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0" rtlCol="0" fromWordArt="0" anchor="ctr" anchorCtr="0" forceAA="0" compatLnSpc="1">
            <a:prstTxWarp prst="textNoShape">
              <a:avLst/>
            </a:prstTxWarp>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Het-Cloud</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public, private, hybrid, distributed)</a:t>
            </a:r>
          </a:p>
        </p:txBody>
      </p:sp>
      <p:sp>
        <p:nvSpPr>
          <p:cNvPr id="127" name="Arrow: Chevron 130">
            <a:extLst>
              <a:ext uri="{FF2B5EF4-FFF2-40B4-BE49-F238E27FC236}">
                <a16:creationId xmlns:a16="http://schemas.microsoft.com/office/drawing/2014/main" id="{89904B3A-019B-6885-747B-7BF740D39D57}"/>
              </a:ext>
            </a:extLst>
          </p:cNvPr>
          <p:cNvSpPr/>
          <p:nvPr/>
        </p:nvSpPr>
        <p:spPr>
          <a:xfrm>
            <a:off x="1570148" y="1897812"/>
            <a:ext cx="2085109" cy="485312"/>
          </a:xfrm>
          <a:prstGeom prst="trapezoid">
            <a:avLst/>
          </a:prstGeom>
          <a:solidFill>
            <a:schemeClr val="accent2"/>
          </a:solidFill>
          <a:ln w="63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54000" tIns="54000" rIns="54000" bIns="54000" numCol="1" spcCol="0" rtlCol="0" fromWordArt="0" anchor="ctr" anchorCtr="0" forceAA="0" compatLnSpc="1">
            <a:prstTxWarp prst="textNoShape">
              <a:avLst/>
            </a:prstTxWarp>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Mix of open source</a:t>
            </a:r>
            <a:b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br>
            <a:r>
              <a:rPr kumimoji="0" lang="en-US" sz="10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and multi-vendor SW, complexity</a:t>
            </a:r>
          </a:p>
        </p:txBody>
      </p:sp>
      <p:sp>
        <p:nvSpPr>
          <p:cNvPr id="128" name="TextBox 127">
            <a:extLst>
              <a:ext uri="{FF2B5EF4-FFF2-40B4-BE49-F238E27FC236}">
                <a16:creationId xmlns:a16="http://schemas.microsoft.com/office/drawing/2014/main" id="{C62F1F0B-AD3E-D905-8C3D-81947356CE3E}"/>
              </a:ext>
            </a:extLst>
          </p:cNvPr>
          <p:cNvSpPr txBox="1"/>
          <p:nvPr/>
        </p:nvSpPr>
        <p:spPr>
          <a:xfrm>
            <a:off x="417600" y="1342494"/>
            <a:ext cx="3819547" cy="307777"/>
          </a:xfrm>
          <a:prstGeom prst="rect">
            <a:avLst/>
          </a:prstGeom>
          <a:noFill/>
        </p:spPr>
        <p:txBody>
          <a:bodyPr wrap="square" lIns="0">
            <a:noAutofit/>
          </a:bodyPr>
          <a:lstStyle/>
          <a:p>
            <a:pPr marL="0" marR="0" lvl="0" indent="0" algn="l" defTabSz="269993" rtl="0" eaLnBrk="1" fontAlgn="auto" latinLnBrk="0" hangingPunct="1">
              <a:lnSpc>
                <a:spcPct val="100000"/>
              </a:lnSpc>
              <a:spcBef>
                <a:spcPts val="0"/>
              </a:spcBef>
              <a:spcAft>
                <a:spcPts val="0"/>
              </a:spcAft>
              <a:buClrTx/>
              <a:buSzTx/>
              <a:buFontTx/>
              <a:buNone/>
              <a:tabLst>
                <a:tab pos="269993" algn="l"/>
              </a:tabLst>
              <a:defRPr/>
            </a:pPr>
            <a:r>
              <a:rPr kumimoji="0" lang="en-US" sz="1400" b="0" i="0" u="none" strike="noStrike" kern="0" cap="none" spc="0" normalizeH="0" baseline="0" noProof="0" dirty="0">
                <a:ln>
                  <a:noFill/>
                </a:ln>
                <a:solidFill>
                  <a:srgbClr val="005AFF"/>
                </a:solidFill>
                <a:effectLst/>
                <a:uLnTx/>
                <a:uFillTx/>
                <a:latin typeface="Nokia Pure Text Light" panose="020B0403020202020204" pitchFamily="34" charset="0"/>
                <a:ea typeface="Nokia Pure Text Light" panose="020B0403020202020204" pitchFamily="34" charset="0"/>
                <a:cs typeface="+mn-cs"/>
              </a:rPr>
              <a:t>Threat vectors</a:t>
            </a:r>
          </a:p>
        </p:txBody>
      </p:sp>
      <p:sp>
        <p:nvSpPr>
          <p:cNvPr id="129" name="Rectangle 1">
            <a:extLst>
              <a:ext uri="{FF2B5EF4-FFF2-40B4-BE49-F238E27FC236}">
                <a16:creationId xmlns:a16="http://schemas.microsoft.com/office/drawing/2014/main" id="{397D988B-4AB1-D506-0A8E-2FFE5E816884}"/>
              </a:ext>
            </a:extLst>
          </p:cNvPr>
          <p:cNvSpPr/>
          <p:nvPr/>
        </p:nvSpPr>
        <p:spPr>
          <a:xfrm>
            <a:off x="476147" y="1895324"/>
            <a:ext cx="918073" cy="725492"/>
          </a:xfrm>
          <a:custGeom>
            <a:avLst/>
            <a:gdLst>
              <a:gd name="connsiteX0" fmla="*/ 0 w 1147313"/>
              <a:gd name="connsiteY0" fmla="*/ 0 h 725492"/>
              <a:gd name="connsiteX1" fmla="*/ 1147313 w 1147313"/>
              <a:gd name="connsiteY1" fmla="*/ 0 h 725492"/>
              <a:gd name="connsiteX2" fmla="*/ 1147313 w 1147313"/>
              <a:gd name="connsiteY2" fmla="*/ 725492 h 725492"/>
              <a:gd name="connsiteX3" fmla="*/ 0 w 1147313"/>
              <a:gd name="connsiteY3" fmla="*/ 725492 h 725492"/>
              <a:gd name="connsiteX4" fmla="*/ 0 w 1147313"/>
              <a:gd name="connsiteY4" fmla="*/ 0 h 725492"/>
              <a:gd name="connsiteX0" fmla="*/ 0 w 1147313"/>
              <a:gd name="connsiteY0" fmla="*/ 0 h 725492"/>
              <a:gd name="connsiteX1" fmla="*/ 1147313 w 1147313"/>
              <a:gd name="connsiteY1" fmla="*/ 0 h 725492"/>
              <a:gd name="connsiteX2" fmla="*/ 1147313 w 1147313"/>
              <a:gd name="connsiteY2" fmla="*/ 725492 h 725492"/>
              <a:gd name="connsiteX3" fmla="*/ 0 w 1147313"/>
              <a:gd name="connsiteY3" fmla="*/ 725492 h 725492"/>
              <a:gd name="connsiteX4" fmla="*/ 0 w 1147313"/>
              <a:gd name="connsiteY4" fmla="*/ 0 h 725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313" h="725492">
                <a:moveTo>
                  <a:pt x="0" y="0"/>
                </a:moveTo>
                <a:lnTo>
                  <a:pt x="1147313" y="0"/>
                </a:lnTo>
                <a:lnTo>
                  <a:pt x="1147313" y="725492"/>
                </a:lnTo>
                <a:lnTo>
                  <a:pt x="0" y="725492"/>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1000" b="0" i="0" u="none" strike="noStrike" kern="1200" cap="none" spc="0" normalizeH="0" baseline="0" noProof="0" dirty="0">
                <a:ln>
                  <a:noFill/>
                </a:ln>
                <a:solidFill>
                  <a:srgbClr val="FFFFFF"/>
                </a:solidFill>
                <a:effectLst/>
                <a:uLnTx/>
                <a:uFillTx/>
                <a:latin typeface="Nokia Pure Text Light"/>
                <a:ea typeface="+mn-ea"/>
                <a:cs typeface="+mn-cs"/>
              </a:rPr>
              <a:t>Multi-stakeholder supply chain &amp; run time environment</a:t>
            </a:r>
          </a:p>
        </p:txBody>
      </p:sp>
      <p:grpSp>
        <p:nvGrpSpPr>
          <p:cNvPr id="5" name="Group 4">
            <a:extLst>
              <a:ext uri="{FF2B5EF4-FFF2-40B4-BE49-F238E27FC236}">
                <a16:creationId xmlns:a16="http://schemas.microsoft.com/office/drawing/2014/main" id="{C420C654-6474-5F5C-B852-C53CDA6CF970}"/>
              </a:ext>
            </a:extLst>
          </p:cNvPr>
          <p:cNvGrpSpPr>
            <a:grpSpLocks noChangeAspect="1"/>
          </p:cNvGrpSpPr>
          <p:nvPr/>
        </p:nvGrpSpPr>
        <p:grpSpPr>
          <a:xfrm>
            <a:off x="7998188" y="155196"/>
            <a:ext cx="902786" cy="881780"/>
            <a:chOff x="7998188" y="155196"/>
            <a:chExt cx="902786" cy="881780"/>
          </a:xfrm>
        </p:grpSpPr>
        <p:sp>
          <p:nvSpPr>
            <p:cNvPr id="6" name="Hexagon 5">
              <a:extLst>
                <a:ext uri="{FF2B5EF4-FFF2-40B4-BE49-F238E27FC236}">
                  <a16:creationId xmlns:a16="http://schemas.microsoft.com/office/drawing/2014/main" id="{8131170A-CB88-AD76-71BB-8BA6E7143A1B}"/>
                </a:ext>
              </a:extLst>
            </p:cNvPr>
            <p:cNvSpPr/>
            <p:nvPr/>
          </p:nvSpPr>
          <p:spPr>
            <a:xfrm>
              <a:off x="7998188" y="307501"/>
              <a:ext cx="334041" cy="280160"/>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dirty="0">
                <a:ln>
                  <a:noFill/>
                </a:ln>
                <a:solidFill>
                  <a:srgbClr val="FFFFFF"/>
                </a:solidFill>
                <a:effectLst/>
                <a:highlight>
                  <a:srgbClr val="FFFF00"/>
                </a:highlight>
                <a:uLnTx/>
                <a:uFillTx/>
                <a:latin typeface="Nokia Pure Text Light"/>
                <a:ea typeface="+mn-ea"/>
                <a:cs typeface="+mn-cs"/>
              </a:endParaRPr>
            </a:p>
          </p:txBody>
        </p:sp>
        <p:sp>
          <p:nvSpPr>
            <p:cNvPr id="24" name="Hexagon 23">
              <a:extLst>
                <a:ext uri="{FF2B5EF4-FFF2-40B4-BE49-F238E27FC236}">
                  <a16:creationId xmlns:a16="http://schemas.microsoft.com/office/drawing/2014/main" id="{0DC64C88-501C-8A79-76C8-EC5CF28CE566}"/>
                </a:ext>
              </a:extLst>
            </p:cNvPr>
            <p:cNvSpPr/>
            <p:nvPr/>
          </p:nvSpPr>
          <p:spPr>
            <a:xfrm>
              <a:off x="8278959" y="15519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grpSp>
          <p:nvGrpSpPr>
            <p:cNvPr id="25" name="Group 24">
              <a:extLst>
                <a:ext uri="{FF2B5EF4-FFF2-40B4-BE49-F238E27FC236}">
                  <a16:creationId xmlns:a16="http://schemas.microsoft.com/office/drawing/2014/main" id="{053D0BA3-564C-56B3-574D-250ED9ECDBB3}"/>
                </a:ext>
              </a:extLst>
            </p:cNvPr>
            <p:cNvGrpSpPr/>
            <p:nvPr/>
          </p:nvGrpSpPr>
          <p:grpSpPr>
            <a:xfrm>
              <a:off x="8280536" y="455170"/>
              <a:ext cx="334041" cy="286633"/>
              <a:chOff x="3708538" y="2148352"/>
              <a:chExt cx="1338549" cy="1160199"/>
            </a:xfrm>
          </p:grpSpPr>
          <p:sp>
            <p:nvSpPr>
              <p:cNvPr id="56" name="Hexagon 55">
                <a:extLst>
                  <a:ext uri="{FF2B5EF4-FFF2-40B4-BE49-F238E27FC236}">
                    <a16:creationId xmlns:a16="http://schemas.microsoft.com/office/drawing/2014/main" id="{86D152D1-FB6A-5B1F-7BCB-58277EE29A96}"/>
                  </a:ext>
                </a:extLst>
              </p:cNvPr>
              <p:cNvSpPr/>
              <p:nvPr/>
            </p:nvSpPr>
            <p:spPr>
              <a:xfrm>
                <a:off x="3708538" y="2148352"/>
                <a:ext cx="1338549" cy="11340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57" name="Rectangle 56">
                <a:extLst>
                  <a:ext uri="{FF2B5EF4-FFF2-40B4-BE49-F238E27FC236}">
                    <a16:creationId xmlns:a16="http://schemas.microsoft.com/office/drawing/2014/main" id="{3EEABF8A-F035-D176-63D8-4778C24B5628}"/>
                  </a:ext>
                </a:extLst>
              </p:cNvPr>
              <p:cNvSpPr/>
              <p:nvPr/>
            </p:nvSpPr>
            <p:spPr>
              <a:xfrm>
                <a:off x="3792655" y="2174551"/>
                <a:ext cx="1174187" cy="11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6G</a:t>
                </a:r>
              </a:p>
            </p:txBody>
          </p:sp>
        </p:grpSp>
        <p:sp>
          <p:nvSpPr>
            <p:cNvPr id="26" name="Hexagon 25">
              <a:extLst>
                <a:ext uri="{FF2B5EF4-FFF2-40B4-BE49-F238E27FC236}">
                  <a16:creationId xmlns:a16="http://schemas.microsoft.com/office/drawing/2014/main" id="{3FF9B160-F89E-9162-969C-8F5218568711}"/>
                </a:ext>
              </a:extLst>
            </p:cNvPr>
            <p:cNvSpPr/>
            <p:nvPr/>
          </p:nvSpPr>
          <p:spPr>
            <a:xfrm>
              <a:off x="8564393" y="309353"/>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27" name="Hexagon 26">
              <a:extLst>
                <a:ext uri="{FF2B5EF4-FFF2-40B4-BE49-F238E27FC236}">
                  <a16:creationId xmlns:a16="http://schemas.microsoft.com/office/drawing/2014/main" id="{ED9C9462-9781-D380-D0AF-2D70EFA31986}"/>
                </a:ext>
              </a:extLst>
            </p:cNvPr>
            <p:cNvSpPr/>
            <p:nvPr/>
          </p:nvSpPr>
          <p:spPr>
            <a:xfrm>
              <a:off x="8566933"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28" name="Hexagon 27">
              <a:extLst>
                <a:ext uri="{FF2B5EF4-FFF2-40B4-BE49-F238E27FC236}">
                  <a16:creationId xmlns:a16="http://schemas.microsoft.com/office/drawing/2014/main" id="{4DEE73EF-362B-BD4A-F519-91E86836257B}"/>
                </a:ext>
              </a:extLst>
            </p:cNvPr>
            <p:cNvSpPr/>
            <p:nvPr/>
          </p:nvSpPr>
          <p:spPr>
            <a:xfrm>
              <a:off x="8278959" y="756816"/>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sp>
          <p:nvSpPr>
            <p:cNvPr id="29" name="Hexagon 28">
              <a:extLst>
                <a:ext uri="{FF2B5EF4-FFF2-40B4-BE49-F238E27FC236}">
                  <a16:creationId xmlns:a16="http://schemas.microsoft.com/office/drawing/2014/main" id="{580B8271-F167-F1D8-3CC3-7FD7945DDBD4}"/>
                </a:ext>
              </a:extLst>
            </p:cNvPr>
            <p:cNvSpPr/>
            <p:nvPr/>
          </p:nvSpPr>
          <p:spPr>
            <a:xfrm>
              <a:off x="7998188" y="604778"/>
              <a:ext cx="334041" cy="280160"/>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225"/>
                </a:spcAft>
                <a:buClrTx/>
                <a:buSzPct val="100000"/>
                <a:buFontTx/>
                <a:buNone/>
                <a:tabLst/>
                <a:defRPr/>
              </a:pPr>
              <a:endParaRPr kumimoji="0" lang="en-GB" sz="100" b="0" i="0" u="none" strike="noStrike" kern="1200" cap="none" spc="0" normalizeH="0" baseline="0" noProof="0">
                <a:ln>
                  <a:noFill/>
                </a:ln>
                <a:solidFill>
                  <a:srgbClr val="FFFFFF"/>
                </a:solidFill>
                <a:effectLst/>
                <a:highlight>
                  <a:srgbClr val="FFFF00"/>
                </a:highlight>
                <a:uLnTx/>
                <a:uFillTx/>
                <a:latin typeface="Nokia Pure Text Light"/>
                <a:ea typeface="+mn-ea"/>
                <a:cs typeface="+mn-cs"/>
              </a:endParaRPr>
            </a:p>
          </p:txBody>
        </p:sp>
        <p:pic>
          <p:nvPicPr>
            <p:cNvPr id="30" name="Graphic 29">
              <a:extLst>
                <a:ext uri="{FF2B5EF4-FFF2-40B4-BE49-F238E27FC236}">
                  <a16:creationId xmlns:a16="http://schemas.microsoft.com/office/drawing/2014/main" id="{748515AB-25F6-7E96-0D10-F2DA141FCD4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61736" y="220952"/>
              <a:ext cx="173149" cy="133797"/>
            </a:xfrm>
            <a:prstGeom prst="rect">
              <a:avLst/>
            </a:prstGeom>
          </p:spPr>
        </p:pic>
        <p:pic>
          <p:nvPicPr>
            <p:cNvPr id="31" name="Graphic 30">
              <a:extLst>
                <a:ext uri="{FF2B5EF4-FFF2-40B4-BE49-F238E27FC236}">
                  <a16:creationId xmlns:a16="http://schemas.microsoft.com/office/drawing/2014/main" id="{B9B71638-7FD3-53FF-A102-B51725BB6A2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44555" y="621751"/>
              <a:ext cx="242008" cy="242008"/>
            </a:xfrm>
            <a:prstGeom prst="rect">
              <a:avLst/>
            </a:prstGeom>
          </p:spPr>
        </p:pic>
        <p:grpSp>
          <p:nvGrpSpPr>
            <p:cNvPr id="32" name="Group 31">
              <a:extLst>
                <a:ext uri="{FF2B5EF4-FFF2-40B4-BE49-F238E27FC236}">
                  <a16:creationId xmlns:a16="http://schemas.microsoft.com/office/drawing/2014/main" id="{87F03688-25E8-CA45-FF89-ACB092BCE3AE}"/>
                </a:ext>
              </a:extLst>
            </p:cNvPr>
            <p:cNvGrpSpPr>
              <a:grpSpLocks noChangeAspect="1"/>
            </p:cNvGrpSpPr>
            <p:nvPr/>
          </p:nvGrpSpPr>
          <p:grpSpPr>
            <a:xfrm>
              <a:off x="8365046" y="808317"/>
              <a:ext cx="165022" cy="166305"/>
              <a:chOff x="6477861" y="3605373"/>
              <a:chExt cx="428667" cy="432000"/>
            </a:xfrm>
          </p:grpSpPr>
          <p:sp>
            <p:nvSpPr>
              <p:cNvPr id="49" name="Freeform: Shape 48">
                <a:extLst>
                  <a:ext uri="{FF2B5EF4-FFF2-40B4-BE49-F238E27FC236}">
                    <a16:creationId xmlns:a16="http://schemas.microsoft.com/office/drawing/2014/main" id="{3BCEA5DE-BEB8-A8A4-3E29-9AD51BB748D4}"/>
                  </a:ext>
                </a:extLst>
              </p:cNvPr>
              <p:cNvSpPr/>
              <p:nvPr/>
            </p:nvSpPr>
            <p:spPr>
              <a:xfrm>
                <a:off x="6499528" y="3629373"/>
                <a:ext cx="384000" cy="384000"/>
              </a:xfrm>
              <a:custGeom>
                <a:avLst/>
                <a:gdLst>
                  <a:gd name="connsiteX0" fmla="*/ 497664 w 497663"/>
                  <a:gd name="connsiteY0" fmla="*/ 248832 h 497664"/>
                  <a:gd name="connsiteX1" fmla="*/ 248832 w 497663"/>
                  <a:gd name="connsiteY1" fmla="*/ 497664 h 497664"/>
                  <a:gd name="connsiteX2" fmla="*/ 0 w 497663"/>
                  <a:gd name="connsiteY2" fmla="*/ 248832 h 497664"/>
                  <a:gd name="connsiteX3" fmla="*/ 76896 w 497663"/>
                  <a:gd name="connsiteY3" fmla="*/ 69120 h 497664"/>
                  <a:gd name="connsiteX4" fmla="*/ 0 w 497663"/>
                  <a:gd name="connsiteY4" fmla="*/ 248832 h 497664"/>
                  <a:gd name="connsiteX5" fmla="*/ 497664 w 497663"/>
                  <a:gd name="connsiteY5" fmla="*/ 248832 h 497664"/>
                  <a:gd name="connsiteX6" fmla="*/ 248832 w 497663"/>
                  <a:gd name="connsiteY6" fmla="*/ 0 h 497664"/>
                  <a:gd name="connsiteX7" fmla="*/ 130032 w 497663"/>
                  <a:gd name="connsiteY7" fmla="*/ 30672 h 497664"/>
                  <a:gd name="connsiteX8" fmla="*/ 497664 w 497663"/>
                  <a:gd name="connsiteY8" fmla="*/ 248832 h 497664"/>
                  <a:gd name="connsiteX9" fmla="*/ 0 w 497663"/>
                  <a:gd name="connsiteY9" fmla="*/ 248832 h 497664"/>
                  <a:gd name="connsiteX10" fmla="*/ 238896 w 497663"/>
                  <a:gd name="connsiteY10" fmla="*/ 497664 h 497664"/>
                  <a:gd name="connsiteX11" fmla="*/ 161568 w 497663"/>
                  <a:gd name="connsiteY11" fmla="*/ 248832 h 497664"/>
                  <a:gd name="connsiteX12" fmla="*/ 236304 w 497663"/>
                  <a:gd name="connsiteY12" fmla="*/ 2592 h 497664"/>
                  <a:gd name="connsiteX13" fmla="*/ 256176 w 497663"/>
                  <a:gd name="connsiteY13" fmla="*/ 497664 h 497664"/>
                  <a:gd name="connsiteX14" fmla="*/ 333504 w 497663"/>
                  <a:gd name="connsiteY14" fmla="*/ 248832 h 497664"/>
                  <a:gd name="connsiteX15" fmla="*/ 258768 w 497663"/>
                  <a:gd name="connsiteY15" fmla="*/ 2592 h 49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7663" h="497664">
                    <a:moveTo>
                      <a:pt x="497664" y="248832"/>
                    </a:moveTo>
                    <a:cubicBezTo>
                      <a:pt x="497664" y="385776"/>
                      <a:pt x="385776" y="497664"/>
                      <a:pt x="248832" y="497664"/>
                    </a:cubicBezTo>
                    <a:cubicBezTo>
                      <a:pt x="109296" y="497664"/>
                      <a:pt x="0" y="388368"/>
                      <a:pt x="0" y="248832"/>
                    </a:cubicBezTo>
                    <a:moveTo>
                      <a:pt x="76896" y="69120"/>
                    </a:moveTo>
                    <a:cubicBezTo>
                      <a:pt x="29376" y="114480"/>
                      <a:pt x="0" y="178416"/>
                      <a:pt x="0" y="248832"/>
                    </a:cubicBezTo>
                    <a:moveTo>
                      <a:pt x="497664" y="248832"/>
                    </a:moveTo>
                    <a:cubicBezTo>
                      <a:pt x="497664" y="111888"/>
                      <a:pt x="385776" y="0"/>
                      <a:pt x="248832" y="0"/>
                    </a:cubicBezTo>
                    <a:cubicBezTo>
                      <a:pt x="205632" y="0"/>
                      <a:pt x="165456" y="11232"/>
                      <a:pt x="130032" y="30672"/>
                    </a:cubicBezTo>
                    <a:moveTo>
                      <a:pt x="497664" y="248832"/>
                    </a:moveTo>
                    <a:lnTo>
                      <a:pt x="0" y="248832"/>
                    </a:lnTo>
                    <a:moveTo>
                      <a:pt x="238896" y="497664"/>
                    </a:moveTo>
                    <a:cubicBezTo>
                      <a:pt x="191808" y="428112"/>
                      <a:pt x="161568" y="340848"/>
                      <a:pt x="161568" y="248832"/>
                    </a:cubicBezTo>
                    <a:cubicBezTo>
                      <a:pt x="161568" y="159408"/>
                      <a:pt x="188784" y="74736"/>
                      <a:pt x="236304" y="2592"/>
                    </a:cubicBezTo>
                    <a:moveTo>
                      <a:pt x="256176" y="497664"/>
                    </a:moveTo>
                    <a:cubicBezTo>
                      <a:pt x="303264" y="428112"/>
                      <a:pt x="333504" y="340848"/>
                      <a:pt x="333504" y="248832"/>
                    </a:cubicBezTo>
                    <a:cubicBezTo>
                      <a:pt x="333504" y="159408"/>
                      <a:pt x="306288" y="74736"/>
                      <a:pt x="258768" y="2592"/>
                    </a:cubicBezTo>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0" name="Freeform: Shape 49">
                <a:extLst>
                  <a:ext uri="{FF2B5EF4-FFF2-40B4-BE49-F238E27FC236}">
                    <a16:creationId xmlns:a16="http://schemas.microsoft.com/office/drawing/2014/main" id="{0CC8E15D-C167-F453-3D3D-460132C20FA5}"/>
                  </a:ext>
                </a:extLst>
              </p:cNvPr>
              <p:cNvSpPr/>
              <p:nvPr/>
            </p:nvSpPr>
            <p:spPr>
              <a:xfrm>
                <a:off x="6667194" y="3605373"/>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1" name="Freeform: Shape 50">
                <a:extLst>
                  <a:ext uri="{FF2B5EF4-FFF2-40B4-BE49-F238E27FC236}">
                    <a16:creationId xmlns:a16="http://schemas.microsoft.com/office/drawing/2014/main" id="{1073EDD8-D991-75D1-2BA0-D16CB87ADB06}"/>
                  </a:ext>
                </a:extLst>
              </p:cNvPr>
              <p:cNvSpPr/>
              <p:nvPr/>
            </p:nvSpPr>
            <p:spPr>
              <a:xfrm>
                <a:off x="6667194" y="3988706"/>
                <a:ext cx="47333" cy="48667"/>
              </a:xfrm>
              <a:custGeom>
                <a:avLst/>
                <a:gdLst>
                  <a:gd name="connsiteX0" fmla="*/ 61344 w 61343"/>
                  <a:gd name="connsiteY0" fmla="*/ 31536 h 63072"/>
                  <a:gd name="connsiteX1" fmla="*/ 30672 w 61343"/>
                  <a:gd name="connsiteY1" fmla="*/ 63072 h 63072"/>
                  <a:gd name="connsiteX2" fmla="*/ 0 w 61343"/>
                  <a:gd name="connsiteY2" fmla="*/ 31536 h 63072"/>
                  <a:gd name="connsiteX3" fmla="*/ 30672 w 61343"/>
                  <a:gd name="connsiteY3" fmla="*/ 0 h 63072"/>
                  <a:gd name="connsiteX4" fmla="*/ 61344 w 61343"/>
                  <a:gd name="connsiteY4" fmla="*/ 31536 h 630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2">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2" name="Freeform: Shape 51">
                <a:extLst>
                  <a:ext uri="{FF2B5EF4-FFF2-40B4-BE49-F238E27FC236}">
                    <a16:creationId xmlns:a16="http://schemas.microsoft.com/office/drawing/2014/main" id="{735CF3EC-0C3D-E542-D514-892D94C95B6A}"/>
                  </a:ext>
                </a:extLst>
              </p:cNvPr>
              <p:cNvSpPr/>
              <p:nvPr/>
            </p:nvSpPr>
            <p:spPr>
              <a:xfrm>
                <a:off x="6732528"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3" name="Freeform: Shape 52">
                <a:extLst>
                  <a:ext uri="{FF2B5EF4-FFF2-40B4-BE49-F238E27FC236}">
                    <a16:creationId xmlns:a16="http://schemas.microsoft.com/office/drawing/2014/main" id="{FCADCA21-E57F-D1D9-D081-7D2C320C5D85}"/>
                  </a:ext>
                </a:extLst>
              </p:cNvPr>
              <p:cNvSpPr/>
              <p:nvPr/>
            </p:nvSpPr>
            <p:spPr>
              <a:xfrm>
                <a:off x="6601194"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4" name="Freeform: Shape 53">
                <a:extLst>
                  <a:ext uri="{FF2B5EF4-FFF2-40B4-BE49-F238E27FC236}">
                    <a16:creationId xmlns:a16="http://schemas.microsoft.com/office/drawing/2014/main" id="{2E561C27-4D84-F0F1-9BF8-5190C6C3F8DF}"/>
                  </a:ext>
                </a:extLst>
              </p:cNvPr>
              <p:cNvSpPr/>
              <p:nvPr/>
            </p:nvSpPr>
            <p:spPr>
              <a:xfrm>
                <a:off x="6859195" y="3797706"/>
                <a:ext cx="47333" cy="48666"/>
              </a:xfrm>
              <a:custGeom>
                <a:avLst/>
                <a:gdLst>
                  <a:gd name="connsiteX0" fmla="*/ 61344 w 61343"/>
                  <a:gd name="connsiteY0" fmla="*/ 31536 h 63071"/>
                  <a:gd name="connsiteX1" fmla="*/ 30672 w 61343"/>
                  <a:gd name="connsiteY1" fmla="*/ 63072 h 63071"/>
                  <a:gd name="connsiteX2" fmla="*/ 0 w 61343"/>
                  <a:gd name="connsiteY2" fmla="*/ 31536 h 63071"/>
                  <a:gd name="connsiteX3" fmla="*/ 30672 w 61343"/>
                  <a:gd name="connsiteY3" fmla="*/ 0 h 63071"/>
                  <a:gd name="connsiteX4" fmla="*/ 61344 w 61343"/>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3"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55" name="Freeform: Shape 54">
                <a:extLst>
                  <a:ext uri="{FF2B5EF4-FFF2-40B4-BE49-F238E27FC236}">
                    <a16:creationId xmlns:a16="http://schemas.microsoft.com/office/drawing/2014/main" id="{230CDBFF-D57C-94ED-7A1A-281DCD74A23D}"/>
                  </a:ext>
                </a:extLst>
              </p:cNvPr>
              <p:cNvSpPr/>
              <p:nvPr/>
            </p:nvSpPr>
            <p:spPr>
              <a:xfrm>
                <a:off x="6477861" y="3797706"/>
                <a:ext cx="47333" cy="48666"/>
              </a:xfrm>
              <a:custGeom>
                <a:avLst/>
                <a:gdLst>
                  <a:gd name="connsiteX0" fmla="*/ 61344 w 61344"/>
                  <a:gd name="connsiteY0" fmla="*/ 31536 h 63071"/>
                  <a:gd name="connsiteX1" fmla="*/ 30672 w 61344"/>
                  <a:gd name="connsiteY1" fmla="*/ 63072 h 63071"/>
                  <a:gd name="connsiteX2" fmla="*/ 0 w 61344"/>
                  <a:gd name="connsiteY2" fmla="*/ 31536 h 63071"/>
                  <a:gd name="connsiteX3" fmla="*/ 30672 w 61344"/>
                  <a:gd name="connsiteY3" fmla="*/ 0 h 63071"/>
                  <a:gd name="connsiteX4" fmla="*/ 61344 w 61344"/>
                  <a:gd name="connsiteY4" fmla="*/ 31536 h 630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44" h="63071">
                    <a:moveTo>
                      <a:pt x="61344" y="31536"/>
                    </a:moveTo>
                    <a:cubicBezTo>
                      <a:pt x="61344" y="48953"/>
                      <a:pt x="47612" y="63072"/>
                      <a:pt x="30672" y="63072"/>
                    </a:cubicBezTo>
                    <a:cubicBezTo>
                      <a:pt x="13732" y="63072"/>
                      <a:pt x="0" y="48953"/>
                      <a:pt x="0" y="31536"/>
                    </a:cubicBezTo>
                    <a:cubicBezTo>
                      <a:pt x="0" y="14119"/>
                      <a:pt x="13732" y="0"/>
                      <a:pt x="30672" y="0"/>
                    </a:cubicBezTo>
                    <a:cubicBezTo>
                      <a:pt x="47612" y="0"/>
                      <a:pt x="61344" y="14119"/>
                      <a:pt x="61344" y="31536"/>
                    </a:cubicBezTo>
                    <a:close/>
                  </a:path>
                </a:pathLst>
              </a:custGeom>
              <a:solidFill>
                <a:schemeClr val="accent2"/>
              </a:solid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sp>
          <p:nvSpPr>
            <p:cNvPr id="33" name="Freeform: Shape 32">
              <a:extLst>
                <a:ext uri="{FF2B5EF4-FFF2-40B4-BE49-F238E27FC236}">
                  <a16:creationId xmlns:a16="http://schemas.microsoft.com/office/drawing/2014/main" id="{3676BB6E-02B5-B9C1-C2B8-B34486DB5AEA}"/>
                </a:ext>
              </a:extLst>
            </p:cNvPr>
            <p:cNvSpPr>
              <a:spLocks noChangeAspect="1"/>
            </p:cNvSpPr>
            <p:nvPr/>
          </p:nvSpPr>
          <p:spPr>
            <a:xfrm>
              <a:off x="8104643" y="385407"/>
              <a:ext cx="128139" cy="142628"/>
            </a:xfrm>
            <a:custGeom>
              <a:avLst/>
              <a:gdLst>
                <a:gd name="connsiteX0" fmla="*/ 178520 w 245892"/>
                <a:gd name="connsiteY0" fmla="*/ 90729 h 273695"/>
                <a:gd name="connsiteX1" fmla="*/ 116961 w 245892"/>
                <a:gd name="connsiteY1" fmla="*/ 153656 h 273695"/>
                <a:gd name="connsiteX2" fmla="*/ 107044 w 245892"/>
                <a:gd name="connsiteY2" fmla="*/ 153656 h 273695"/>
                <a:gd name="connsiteX3" fmla="*/ 73528 w 245892"/>
                <a:gd name="connsiteY3" fmla="*/ 121509 h 273695"/>
                <a:gd name="connsiteX4" fmla="*/ 0 w 245892"/>
                <a:gd name="connsiteY4" fmla="*/ 26777 h 273695"/>
                <a:gd name="connsiteX5" fmla="*/ 0 w 245892"/>
                <a:gd name="connsiteY5" fmla="*/ 149552 h 273695"/>
                <a:gd name="connsiteX6" fmla="*/ 43433 w 245892"/>
                <a:gd name="connsiteY6" fmla="*/ 229236 h 273695"/>
                <a:gd name="connsiteX7" fmla="*/ 109096 w 245892"/>
                <a:gd name="connsiteY7" fmla="*/ 269592 h 273695"/>
                <a:gd name="connsiteX8" fmla="*/ 138507 w 245892"/>
                <a:gd name="connsiteY8" fmla="*/ 269592 h 273695"/>
                <a:gd name="connsiteX9" fmla="*/ 202460 w 245892"/>
                <a:gd name="connsiteY9" fmla="*/ 229236 h 273695"/>
                <a:gd name="connsiteX10" fmla="*/ 245893 w 245892"/>
                <a:gd name="connsiteY10" fmla="*/ 150920 h 273695"/>
                <a:gd name="connsiteX11" fmla="*/ 245893 w 245892"/>
                <a:gd name="connsiteY11" fmla="*/ 28145 h 273695"/>
                <a:gd name="connsiteX12" fmla="*/ 217849 w 245892"/>
                <a:gd name="connsiteY12" fmla="*/ 101 h 273695"/>
                <a:gd name="connsiteX13" fmla="*/ 27701 w 245892"/>
                <a:gd name="connsiteY13" fmla="*/ 101 h 273695"/>
                <a:gd name="connsiteX14" fmla="*/ 0 w 245892"/>
                <a:gd name="connsiteY14" fmla="*/ 26777 h 27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892" h="273695">
                  <a:moveTo>
                    <a:pt x="178520" y="90729"/>
                  </a:moveTo>
                  <a:lnTo>
                    <a:pt x="116961" y="153656"/>
                  </a:lnTo>
                  <a:cubicBezTo>
                    <a:pt x="114225" y="156392"/>
                    <a:pt x="108754" y="156392"/>
                    <a:pt x="107044" y="153656"/>
                  </a:cubicBezTo>
                  <a:lnTo>
                    <a:pt x="73528" y="121509"/>
                  </a:lnTo>
                  <a:moveTo>
                    <a:pt x="0" y="26777"/>
                  </a:moveTo>
                  <a:lnTo>
                    <a:pt x="0" y="149552"/>
                  </a:lnTo>
                  <a:cubicBezTo>
                    <a:pt x="0" y="181699"/>
                    <a:pt x="16758" y="211111"/>
                    <a:pt x="43433" y="229236"/>
                  </a:cubicBezTo>
                  <a:lnTo>
                    <a:pt x="109096" y="269592"/>
                  </a:lnTo>
                  <a:cubicBezTo>
                    <a:pt x="117303" y="275063"/>
                    <a:pt x="129957" y="275063"/>
                    <a:pt x="138507" y="269592"/>
                  </a:cubicBezTo>
                  <a:lnTo>
                    <a:pt x="202460" y="229236"/>
                  </a:lnTo>
                  <a:cubicBezTo>
                    <a:pt x="229135" y="212479"/>
                    <a:pt x="245893" y="183067"/>
                    <a:pt x="245893" y="150920"/>
                  </a:cubicBezTo>
                  <a:lnTo>
                    <a:pt x="245893" y="28145"/>
                  </a:lnTo>
                  <a:cubicBezTo>
                    <a:pt x="245893" y="12755"/>
                    <a:pt x="233239" y="101"/>
                    <a:pt x="217849" y="101"/>
                  </a:cubicBezTo>
                  <a:lnTo>
                    <a:pt x="27701" y="101"/>
                  </a:lnTo>
                  <a:cubicBezTo>
                    <a:pt x="10944" y="-1267"/>
                    <a:pt x="0" y="11387"/>
                    <a:pt x="0" y="26777"/>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nvGrpSpPr>
            <p:cNvPr id="34" name="Group 33">
              <a:extLst>
                <a:ext uri="{FF2B5EF4-FFF2-40B4-BE49-F238E27FC236}">
                  <a16:creationId xmlns:a16="http://schemas.microsoft.com/office/drawing/2014/main" id="{DB187205-6771-E108-034D-4EFE00785DBD}"/>
                </a:ext>
              </a:extLst>
            </p:cNvPr>
            <p:cNvGrpSpPr>
              <a:grpSpLocks noChangeAspect="1"/>
            </p:cNvGrpSpPr>
            <p:nvPr/>
          </p:nvGrpSpPr>
          <p:grpSpPr>
            <a:xfrm>
              <a:off x="8664411" y="385784"/>
              <a:ext cx="131786" cy="131293"/>
              <a:chOff x="7644836" y="1910200"/>
              <a:chExt cx="325217" cy="324000"/>
            </a:xfrm>
          </p:grpSpPr>
          <p:sp>
            <p:nvSpPr>
              <p:cNvPr id="45" name="Freeform: Shape 44">
                <a:extLst>
                  <a:ext uri="{FF2B5EF4-FFF2-40B4-BE49-F238E27FC236}">
                    <a16:creationId xmlns:a16="http://schemas.microsoft.com/office/drawing/2014/main" id="{480ADEC8-3617-C300-9B56-9C98604D0CA3}"/>
                  </a:ext>
                </a:extLst>
              </p:cNvPr>
              <p:cNvSpPr/>
              <p:nvPr/>
            </p:nvSpPr>
            <p:spPr>
              <a:xfrm>
                <a:off x="7845967" y="1910200"/>
                <a:ext cx="124084" cy="124084"/>
              </a:xfrm>
              <a:custGeom>
                <a:avLst/>
                <a:gdLst>
                  <a:gd name="connsiteX0" fmla="*/ 104650 w 104649"/>
                  <a:gd name="connsiteY0" fmla="*/ 104650 h 104649"/>
                  <a:gd name="connsiteX1" fmla="*/ 104650 w 104649"/>
                  <a:gd name="connsiteY1" fmla="*/ 0 h 104649"/>
                  <a:gd name="connsiteX2" fmla="*/ 0 w 104649"/>
                  <a:gd name="connsiteY2" fmla="*/ 0 h 104649"/>
                </a:gdLst>
                <a:ahLst/>
                <a:cxnLst>
                  <a:cxn ang="0">
                    <a:pos x="connsiteX0" y="connsiteY0"/>
                  </a:cxn>
                  <a:cxn ang="0">
                    <a:pos x="connsiteX1" y="connsiteY1"/>
                  </a:cxn>
                  <a:cxn ang="0">
                    <a:pos x="connsiteX2" y="connsiteY2"/>
                  </a:cxn>
                </a:cxnLst>
                <a:rect l="l" t="t" r="r" b="b"/>
                <a:pathLst>
                  <a:path w="104649" h="104649">
                    <a:moveTo>
                      <a:pt x="104650" y="104650"/>
                    </a:moveTo>
                    <a:lnTo>
                      <a:pt x="104650" y="0"/>
                    </a:lnTo>
                    <a:lnTo>
                      <a:pt x="0" y="0"/>
                    </a:lnTo>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6" name="Freeform: Shape 45">
                <a:extLst>
                  <a:ext uri="{FF2B5EF4-FFF2-40B4-BE49-F238E27FC236}">
                    <a16:creationId xmlns:a16="http://schemas.microsoft.com/office/drawing/2014/main" id="{0C56997B-F56D-DF37-E906-FD2C8DC5F32C}"/>
                  </a:ext>
                </a:extLst>
              </p:cNvPr>
              <p:cNvSpPr/>
              <p:nvPr/>
            </p:nvSpPr>
            <p:spPr>
              <a:xfrm>
                <a:off x="7645647" y="1910200"/>
                <a:ext cx="162203" cy="210202"/>
              </a:xfrm>
              <a:custGeom>
                <a:avLst/>
                <a:gdLst>
                  <a:gd name="connsiteX0" fmla="*/ 114226 w 136797"/>
                  <a:gd name="connsiteY0" fmla="*/ 46511 h 177278"/>
                  <a:gd name="connsiteX1" fmla="*/ 130983 w 136797"/>
                  <a:gd name="connsiteY1" fmla="*/ 51641 h 177278"/>
                  <a:gd name="connsiteX2" fmla="*/ 136455 w 136797"/>
                  <a:gd name="connsiteY2" fmla="*/ 49247 h 177278"/>
                  <a:gd name="connsiteX3" fmla="*/ 136455 w 136797"/>
                  <a:gd name="connsiteY3" fmla="*/ 0 h 177278"/>
                  <a:gd name="connsiteX4" fmla="*/ 0 w 136797"/>
                  <a:gd name="connsiteY4" fmla="*/ 0 h 177278"/>
                  <a:gd name="connsiteX5" fmla="*/ 0 w 136797"/>
                  <a:gd name="connsiteY5" fmla="*/ 136797 h 177278"/>
                  <a:gd name="connsiteX6" fmla="*/ 50615 w 136797"/>
                  <a:gd name="connsiteY6" fmla="*/ 136797 h 177278"/>
                  <a:gd name="connsiteX7" fmla="*/ 53009 w 136797"/>
                  <a:gd name="connsiteY7" fmla="*/ 142269 h 177278"/>
                  <a:gd name="connsiteX8" fmla="*/ 47879 w 136797"/>
                  <a:gd name="connsiteY8" fmla="*/ 159027 h 177278"/>
                  <a:gd name="connsiteX9" fmla="*/ 66347 w 136797"/>
                  <a:gd name="connsiteY9" fmla="*/ 177152 h 177278"/>
                  <a:gd name="connsiteX10" fmla="*/ 89944 w 136797"/>
                  <a:gd name="connsiteY10" fmla="*/ 156291 h 177278"/>
                  <a:gd name="connsiteX11" fmla="*/ 84472 w 136797"/>
                  <a:gd name="connsiteY11" fmla="*/ 142269 h 177278"/>
                  <a:gd name="connsiteX12" fmla="*/ 86866 w 136797"/>
                  <a:gd name="connsiteY12" fmla="*/ 137139 h 177278"/>
                  <a:gd name="connsiteX13" fmla="*/ 136797 w 136797"/>
                  <a:gd name="connsiteY13" fmla="*/ 137139 h 177278"/>
                  <a:gd name="connsiteX14" fmla="*/ 136797 w 136797"/>
                  <a:gd name="connsiteY14" fmla="*/ 86182 h 177278"/>
                  <a:gd name="connsiteX15" fmla="*/ 131667 w 136797"/>
                  <a:gd name="connsiteY15" fmla="*/ 83788 h 177278"/>
                  <a:gd name="connsiteX16" fmla="*/ 117303 w 136797"/>
                  <a:gd name="connsiteY16" fmla="*/ 89260 h 177278"/>
                  <a:gd name="connsiteX17" fmla="*/ 96100 w 136797"/>
                  <a:gd name="connsiteY17" fmla="*/ 65663 h 177278"/>
                  <a:gd name="connsiteX18" fmla="*/ 114226 w 136797"/>
                  <a:gd name="connsiteY18" fmla="*/ 46511 h 177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7278">
                    <a:moveTo>
                      <a:pt x="114226" y="46511"/>
                    </a:moveTo>
                    <a:cubicBezTo>
                      <a:pt x="120723" y="45827"/>
                      <a:pt x="126879" y="47879"/>
                      <a:pt x="130983" y="51641"/>
                    </a:cubicBezTo>
                    <a:cubicBezTo>
                      <a:pt x="133035" y="53351"/>
                      <a:pt x="136455" y="51983"/>
                      <a:pt x="136455" y="49247"/>
                    </a:cubicBezTo>
                    <a:lnTo>
                      <a:pt x="136455" y="0"/>
                    </a:lnTo>
                    <a:lnTo>
                      <a:pt x="0" y="0"/>
                    </a:lnTo>
                    <a:lnTo>
                      <a:pt x="0" y="136797"/>
                    </a:lnTo>
                    <a:lnTo>
                      <a:pt x="50615" y="136797"/>
                    </a:lnTo>
                    <a:cubicBezTo>
                      <a:pt x="53351" y="136797"/>
                      <a:pt x="54719" y="140217"/>
                      <a:pt x="53009" y="142269"/>
                    </a:cubicBezTo>
                    <a:cubicBezTo>
                      <a:pt x="49247" y="146715"/>
                      <a:pt x="46853" y="152529"/>
                      <a:pt x="47879" y="159027"/>
                    </a:cubicBezTo>
                    <a:cubicBezTo>
                      <a:pt x="49247" y="168602"/>
                      <a:pt x="56771" y="176126"/>
                      <a:pt x="66347" y="177152"/>
                    </a:cubicBezTo>
                    <a:cubicBezTo>
                      <a:pt x="79000" y="178520"/>
                      <a:pt x="89944" y="168602"/>
                      <a:pt x="89944" y="156291"/>
                    </a:cubicBezTo>
                    <a:cubicBezTo>
                      <a:pt x="89944" y="150819"/>
                      <a:pt x="87892" y="145689"/>
                      <a:pt x="84472" y="142269"/>
                    </a:cubicBezTo>
                    <a:cubicBezTo>
                      <a:pt x="82762" y="140217"/>
                      <a:pt x="84130" y="137139"/>
                      <a:pt x="86866" y="137139"/>
                    </a:cubicBezTo>
                    <a:lnTo>
                      <a:pt x="136797" y="137139"/>
                    </a:lnTo>
                    <a:lnTo>
                      <a:pt x="136797" y="86182"/>
                    </a:lnTo>
                    <a:cubicBezTo>
                      <a:pt x="136797" y="83446"/>
                      <a:pt x="133719" y="82078"/>
                      <a:pt x="131667" y="83788"/>
                    </a:cubicBezTo>
                    <a:cubicBezTo>
                      <a:pt x="127905" y="87208"/>
                      <a:pt x="122775" y="89260"/>
                      <a:pt x="117303" y="89260"/>
                    </a:cubicBezTo>
                    <a:cubicBezTo>
                      <a:pt x="104650" y="89260"/>
                      <a:pt x="94732" y="78316"/>
                      <a:pt x="96100" y="65663"/>
                    </a:cubicBezTo>
                    <a:cubicBezTo>
                      <a:pt x="97126" y="55745"/>
                      <a:pt x="104650" y="47537"/>
                      <a:pt x="114226" y="46511"/>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7" name="Freeform: Shape 46">
                <a:extLst>
                  <a:ext uri="{FF2B5EF4-FFF2-40B4-BE49-F238E27FC236}">
                    <a16:creationId xmlns:a16="http://schemas.microsoft.com/office/drawing/2014/main" id="{C0894001-03A6-B99C-A83F-D35E4A6286D3}"/>
                  </a:ext>
                </a:extLst>
              </p:cNvPr>
              <p:cNvSpPr/>
              <p:nvPr/>
            </p:nvSpPr>
            <p:spPr>
              <a:xfrm>
                <a:off x="7644836" y="2072403"/>
                <a:ext cx="210607" cy="161797"/>
              </a:xfrm>
              <a:custGeom>
                <a:avLst/>
                <a:gdLst>
                  <a:gd name="connsiteX0" fmla="*/ 159369 w 177620"/>
                  <a:gd name="connsiteY0" fmla="*/ 46853 h 136455"/>
                  <a:gd name="connsiteX1" fmla="*/ 142953 w 177620"/>
                  <a:gd name="connsiteY1" fmla="*/ 51983 h 136455"/>
                  <a:gd name="connsiteX2" fmla="*/ 137481 w 177620"/>
                  <a:gd name="connsiteY2" fmla="*/ 49931 h 136455"/>
                  <a:gd name="connsiteX3" fmla="*/ 137481 w 177620"/>
                  <a:gd name="connsiteY3" fmla="*/ 0 h 136455"/>
                  <a:gd name="connsiteX4" fmla="*/ 86866 w 177620"/>
                  <a:gd name="connsiteY4" fmla="*/ 0 h 136455"/>
                  <a:gd name="connsiteX5" fmla="*/ 84472 w 177620"/>
                  <a:gd name="connsiteY5" fmla="*/ 5472 h 136455"/>
                  <a:gd name="connsiteX6" fmla="*/ 89602 w 177620"/>
                  <a:gd name="connsiteY6" fmla="*/ 22230 h 136455"/>
                  <a:gd name="connsiteX7" fmla="*/ 71134 w 177620"/>
                  <a:gd name="connsiteY7" fmla="*/ 40355 h 136455"/>
                  <a:gd name="connsiteX8" fmla="*/ 47537 w 177620"/>
                  <a:gd name="connsiteY8" fmla="*/ 19494 h 136455"/>
                  <a:gd name="connsiteX9" fmla="*/ 53009 w 177620"/>
                  <a:gd name="connsiteY9" fmla="*/ 5472 h 136455"/>
                  <a:gd name="connsiteX10" fmla="*/ 50615 w 177620"/>
                  <a:gd name="connsiteY10" fmla="*/ 342 h 136455"/>
                  <a:gd name="connsiteX11" fmla="*/ 0 w 177620"/>
                  <a:gd name="connsiteY11" fmla="*/ 342 h 136455"/>
                  <a:gd name="connsiteX12" fmla="*/ 0 w 177620"/>
                  <a:gd name="connsiteY12" fmla="*/ 136455 h 136455"/>
                  <a:gd name="connsiteX13" fmla="*/ 137481 w 177620"/>
                  <a:gd name="connsiteY13" fmla="*/ 136455 h 136455"/>
                  <a:gd name="connsiteX14" fmla="*/ 137481 w 177620"/>
                  <a:gd name="connsiteY14" fmla="*/ 85498 h 136455"/>
                  <a:gd name="connsiteX15" fmla="*/ 142611 w 177620"/>
                  <a:gd name="connsiteY15" fmla="*/ 83104 h 136455"/>
                  <a:gd name="connsiteX16" fmla="*/ 156633 w 177620"/>
                  <a:gd name="connsiteY16" fmla="*/ 88576 h 136455"/>
                  <a:gd name="connsiteX17" fmla="*/ 177494 w 177620"/>
                  <a:gd name="connsiteY17" fmla="*/ 65321 h 136455"/>
                  <a:gd name="connsiteX18" fmla="*/ 159369 w 177620"/>
                  <a:gd name="connsiteY18" fmla="*/ 46853 h 13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20" h="136455">
                    <a:moveTo>
                      <a:pt x="159369" y="46853"/>
                    </a:moveTo>
                    <a:cubicBezTo>
                      <a:pt x="152871" y="46169"/>
                      <a:pt x="147057" y="48221"/>
                      <a:pt x="142953" y="51983"/>
                    </a:cubicBezTo>
                    <a:cubicBezTo>
                      <a:pt x="140901" y="54035"/>
                      <a:pt x="137481" y="52667"/>
                      <a:pt x="137481" y="49931"/>
                    </a:cubicBezTo>
                    <a:lnTo>
                      <a:pt x="137481" y="0"/>
                    </a:lnTo>
                    <a:lnTo>
                      <a:pt x="86866" y="0"/>
                    </a:lnTo>
                    <a:cubicBezTo>
                      <a:pt x="84130" y="0"/>
                      <a:pt x="82762" y="3420"/>
                      <a:pt x="84472" y="5472"/>
                    </a:cubicBezTo>
                    <a:cubicBezTo>
                      <a:pt x="88234" y="9918"/>
                      <a:pt x="90628" y="15732"/>
                      <a:pt x="89602" y="22230"/>
                    </a:cubicBezTo>
                    <a:cubicBezTo>
                      <a:pt x="88234" y="31805"/>
                      <a:pt x="80710" y="39329"/>
                      <a:pt x="71134" y="40355"/>
                    </a:cubicBezTo>
                    <a:cubicBezTo>
                      <a:pt x="58481" y="41723"/>
                      <a:pt x="47537" y="31805"/>
                      <a:pt x="47537" y="19494"/>
                    </a:cubicBezTo>
                    <a:cubicBezTo>
                      <a:pt x="47537" y="14022"/>
                      <a:pt x="49589" y="8892"/>
                      <a:pt x="53009" y="5472"/>
                    </a:cubicBezTo>
                    <a:cubicBezTo>
                      <a:pt x="54719" y="3420"/>
                      <a:pt x="53351" y="342"/>
                      <a:pt x="50615" y="342"/>
                    </a:cubicBezTo>
                    <a:lnTo>
                      <a:pt x="0" y="342"/>
                    </a:lnTo>
                    <a:lnTo>
                      <a:pt x="0" y="136455"/>
                    </a:lnTo>
                    <a:lnTo>
                      <a:pt x="137481" y="136455"/>
                    </a:lnTo>
                    <a:lnTo>
                      <a:pt x="137481" y="85498"/>
                    </a:lnTo>
                    <a:cubicBezTo>
                      <a:pt x="137481" y="82762"/>
                      <a:pt x="140559" y="81394"/>
                      <a:pt x="142611" y="83104"/>
                    </a:cubicBezTo>
                    <a:cubicBezTo>
                      <a:pt x="146373" y="86524"/>
                      <a:pt x="151161" y="88576"/>
                      <a:pt x="156633" y="88576"/>
                    </a:cubicBezTo>
                    <a:cubicBezTo>
                      <a:pt x="168944" y="88576"/>
                      <a:pt x="178862" y="77974"/>
                      <a:pt x="177494" y="65321"/>
                    </a:cubicBezTo>
                    <a:cubicBezTo>
                      <a:pt x="176468" y="55745"/>
                      <a:pt x="168944" y="48221"/>
                      <a:pt x="159369" y="46853"/>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8" name="Freeform: Shape 47">
                <a:extLst>
                  <a:ext uri="{FF2B5EF4-FFF2-40B4-BE49-F238E27FC236}">
                    <a16:creationId xmlns:a16="http://schemas.microsoft.com/office/drawing/2014/main" id="{15F7C56C-5791-3472-DE56-A4DD27F564A9}"/>
                  </a:ext>
                </a:extLst>
              </p:cNvPr>
              <p:cNvSpPr/>
              <p:nvPr/>
            </p:nvSpPr>
            <p:spPr>
              <a:xfrm>
                <a:off x="7807850" y="2024402"/>
                <a:ext cx="162203" cy="209391"/>
              </a:xfrm>
              <a:custGeom>
                <a:avLst/>
                <a:gdLst>
                  <a:gd name="connsiteX0" fmla="*/ 83788 w 136797"/>
                  <a:gd name="connsiteY0" fmla="*/ 35010 h 176594"/>
                  <a:gd name="connsiteX1" fmla="*/ 88918 w 136797"/>
                  <a:gd name="connsiteY1" fmla="*/ 18252 h 176594"/>
                  <a:gd name="connsiteX2" fmla="*/ 70450 w 136797"/>
                  <a:gd name="connsiteY2" fmla="*/ 126 h 176594"/>
                  <a:gd name="connsiteX3" fmla="*/ 46853 w 136797"/>
                  <a:gd name="connsiteY3" fmla="*/ 20988 h 176594"/>
                  <a:gd name="connsiteX4" fmla="*/ 52325 w 136797"/>
                  <a:gd name="connsiteY4" fmla="*/ 35352 h 176594"/>
                  <a:gd name="connsiteX5" fmla="*/ 49931 w 136797"/>
                  <a:gd name="connsiteY5" fmla="*/ 40482 h 176594"/>
                  <a:gd name="connsiteX6" fmla="*/ 0 w 136797"/>
                  <a:gd name="connsiteY6" fmla="*/ 40482 h 176594"/>
                  <a:gd name="connsiteX7" fmla="*/ 0 w 136797"/>
                  <a:gd name="connsiteY7" fmla="*/ 90412 h 176594"/>
                  <a:gd name="connsiteX8" fmla="*/ 5472 w 136797"/>
                  <a:gd name="connsiteY8" fmla="*/ 92806 h 176594"/>
                  <a:gd name="connsiteX9" fmla="*/ 22230 w 136797"/>
                  <a:gd name="connsiteY9" fmla="*/ 87677 h 176594"/>
                  <a:gd name="connsiteX10" fmla="*/ 40013 w 136797"/>
                  <a:gd name="connsiteY10" fmla="*/ 105802 h 176594"/>
                  <a:gd name="connsiteX11" fmla="*/ 19152 w 136797"/>
                  <a:gd name="connsiteY11" fmla="*/ 129058 h 176594"/>
                  <a:gd name="connsiteX12" fmla="*/ 5130 w 136797"/>
                  <a:gd name="connsiteY12" fmla="*/ 123586 h 176594"/>
                  <a:gd name="connsiteX13" fmla="*/ 0 w 136797"/>
                  <a:gd name="connsiteY13" fmla="*/ 125980 h 176594"/>
                  <a:gd name="connsiteX14" fmla="*/ 0 w 136797"/>
                  <a:gd name="connsiteY14" fmla="*/ 176595 h 176594"/>
                  <a:gd name="connsiteX15" fmla="*/ 136797 w 136797"/>
                  <a:gd name="connsiteY15" fmla="*/ 176595 h 176594"/>
                  <a:gd name="connsiteX16" fmla="*/ 136797 w 136797"/>
                  <a:gd name="connsiteY16" fmla="*/ 40482 h 176594"/>
                  <a:gd name="connsiteX17" fmla="*/ 86182 w 136797"/>
                  <a:gd name="connsiteY17" fmla="*/ 40482 h 176594"/>
                  <a:gd name="connsiteX18" fmla="*/ 83788 w 136797"/>
                  <a:gd name="connsiteY18" fmla="*/ 35010 h 17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97" h="176594">
                    <a:moveTo>
                      <a:pt x="83788" y="35010"/>
                    </a:moveTo>
                    <a:cubicBezTo>
                      <a:pt x="87892" y="30564"/>
                      <a:pt x="89944" y="24750"/>
                      <a:pt x="88918" y="18252"/>
                    </a:cubicBezTo>
                    <a:cubicBezTo>
                      <a:pt x="87550" y="8676"/>
                      <a:pt x="80026" y="1152"/>
                      <a:pt x="70450" y="126"/>
                    </a:cubicBezTo>
                    <a:cubicBezTo>
                      <a:pt x="57797" y="-1242"/>
                      <a:pt x="46853" y="8676"/>
                      <a:pt x="46853" y="20988"/>
                    </a:cubicBezTo>
                    <a:cubicBezTo>
                      <a:pt x="46853" y="26460"/>
                      <a:pt x="48905" y="31590"/>
                      <a:pt x="52325" y="35352"/>
                    </a:cubicBezTo>
                    <a:cubicBezTo>
                      <a:pt x="54035" y="37404"/>
                      <a:pt x="52667" y="40482"/>
                      <a:pt x="49931" y="40482"/>
                    </a:cubicBezTo>
                    <a:lnTo>
                      <a:pt x="0" y="40482"/>
                    </a:lnTo>
                    <a:lnTo>
                      <a:pt x="0" y="90412"/>
                    </a:lnTo>
                    <a:cubicBezTo>
                      <a:pt x="0" y="93148"/>
                      <a:pt x="3420" y="94516"/>
                      <a:pt x="5472" y="92806"/>
                    </a:cubicBezTo>
                    <a:cubicBezTo>
                      <a:pt x="9918" y="89044"/>
                      <a:pt x="15732" y="86993"/>
                      <a:pt x="22230" y="87677"/>
                    </a:cubicBezTo>
                    <a:cubicBezTo>
                      <a:pt x="31463" y="89044"/>
                      <a:pt x="38987" y="96568"/>
                      <a:pt x="40013" y="105802"/>
                    </a:cubicBezTo>
                    <a:cubicBezTo>
                      <a:pt x="41381" y="118456"/>
                      <a:pt x="31463" y="129058"/>
                      <a:pt x="19152" y="129058"/>
                    </a:cubicBezTo>
                    <a:cubicBezTo>
                      <a:pt x="13680" y="129058"/>
                      <a:pt x="8892" y="127006"/>
                      <a:pt x="5130" y="123586"/>
                    </a:cubicBezTo>
                    <a:cubicBezTo>
                      <a:pt x="3420" y="121876"/>
                      <a:pt x="0" y="123244"/>
                      <a:pt x="0" y="125980"/>
                    </a:cubicBezTo>
                    <a:lnTo>
                      <a:pt x="0" y="176595"/>
                    </a:lnTo>
                    <a:lnTo>
                      <a:pt x="136797" y="176595"/>
                    </a:lnTo>
                    <a:lnTo>
                      <a:pt x="136797" y="40482"/>
                    </a:lnTo>
                    <a:lnTo>
                      <a:pt x="86182" y="40482"/>
                    </a:lnTo>
                    <a:cubicBezTo>
                      <a:pt x="83446" y="40482"/>
                      <a:pt x="82078" y="37062"/>
                      <a:pt x="83788" y="35010"/>
                    </a:cubicBezTo>
                    <a:close/>
                  </a:path>
                </a:pathLst>
              </a:custGeom>
              <a:noFill/>
              <a:ln w="6350" cap="rnd">
                <a:solidFill>
                  <a:schemeClr val="bg1"/>
                </a:solidFill>
                <a:prstDash val="solid"/>
                <a:round/>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nvGrpSpPr>
            <p:cNvPr id="35" name="Group 34">
              <a:extLst>
                <a:ext uri="{FF2B5EF4-FFF2-40B4-BE49-F238E27FC236}">
                  <a16:creationId xmlns:a16="http://schemas.microsoft.com/office/drawing/2014/main" id="{3D7EDD71-1731-0AB8-4746-783A1421D8FF}"/>
                </a:ext>
              </a:extLst>
            </p:cNvPr>
            <p:cNvGrpSpPr>
              <a:grpSpLocks noChangeAspect="1"/>
            </p:cNvGrpSpPr>
            <p:nvPr/>
          </p:nvGrpSpPr>
          <p:grpSpPr>
            <a:xfrm>
              <a:off x="8641332" y="690364"/>
              <a:ext cx="194246" cy="107818"/>
              <a:chOff x="7555416" y="3035519"/>
              <a:chExt cx="518864" cy="288000"/>
            </a:xfrm>
          </p:grpSpPr>
          <p:sp>
            <p:nvSpPr>
              <p:cNvPr id="36" name="Freeform: Shape 35">
                <a:extLst>
                  <a:ext uri="{FF2B5EF4-FFF2-40B4-BE49-F238E27FC236}">
                    <a16:creationId xmlns:a16="http://schemas.microsoft.com/office/drawing/2014/main" id="{5E218A5D-CE63-3EC0-AEC6-728298F0877B}"/>
                  </a:ext>
                </a:extLst>
              </p:cNvPr>
              <p:cNvSpPr/>
              <p:nvPr/>
            </p:nvSpPr>
            <p:spPr>
              <a:xfrm>
                <a:off x="7795032" y="3159702"/>
                <a:ext cx="39632" cy="39632"/>
              </a:xfrm>
              <a:custGeom>
                <a:avLst/>
                <a:gdLst>
                  <a:gd name="connsiteX0" fmla="*/ 20520 w 20519"/>
                  <a:gd name="connsiteY0" fmla="*/ 10260 h 20519"/>
                  <a:gd name="connsiteX1" fmla="*/ 10260 w 20519"/>
                  <a:gd name="connsiteY1" fmla="*/ 20520 h 20519"/>
                  <a:gd name="connsiteX2" fmla="*/ 0 w 20519"/>
                  <a:gd name="connsiteY2" fmla="*/ 10260 h 20519"/>
                  <a:gd name="connsiteX3" fmla="*/ 10260 w 20519"/>
                  <a:gd name="connsiteY3" fmla="*/ 0 h 20519"/>
                  <a:gd name="connsiteX4" fmla="*/ 20520 w 20519"/>
                  <a:gd name="connsiteY4" fmla="*/ 10260 h 20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9" h="20519">
                    <a:moveTo>
                      <a:pt x="20520" y="10260"/>
                    </a:moveTo>
                    <a:cubicBezTo>
                      <a:pt x="20520" y="15926"/>
                      <a:pt x="15926" y="20520"/>
                      <a:pt x="10260" y="20520"/>
                    </a:cubicBezTo>
                    <a:cubicBezTo>
                      <a:pt x="4593" y="20520"/>
                      <a:pt x="0" y="15926"/>
                      <a:pt x="0" y="10260"/>
                    </a:cubicBezTo>
                    <a:cubicBezTo>
                      <a:pt x="0" y="4593"/>
                      <a:pt x="4593" y="0"/>
                      <a:pt x="10260" y="0"/>
                    </a:cubicBezTo>
                    <a:cubicBezTo>
                      <a:pt x="15926" y="0"/>
                      <a:pt x="20520" y="4593"/>
                      <a:pt x="20520" y="10260"/>
                    </a:cubicBezTo>
                    <a:close/>
                  </a:path>
                </a:pathLst>
              </a:custGeom>
              <a:solidFill>
                <a:schemeClr val="accent2"/>
              </a:solid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nvGrpSpPr>
              <p:cNvPr id="37" name="Graphic 28">
                <a:extLst>
                  <a:ext uri="{FF2B5EF4-FFF2-40B4-BE49-F238E27FC236}">
                    <a16:creationId xmlns:a16="http://schemas.microsoft.com/office/drawing/2014/main" id="{935EA82F-451E-60ED-AA48-E261271F3305}"/>
                  </a:ext>
                </a:extLst>
              </p:cNvPr>
              <p:cNvGrpSpPr/>
              <p:nvPr/>
            </p:nvGrpSpPr>
            <p:grpSpPr>
              <a:xfrm>
                <a:off x="7900060" y="3036180"/>
                <a:ext cx="174220" cy="287339"/>
                <a:chOff x="5573768" y="3664511"/>
                <a:chExt cx="90200" cy="148766"/>
              </a:xfrm>
              <a:noFill/>
            </p:grpSpPr>
            <p:sp>
              <p:nvSpPr>
                <p:cNvPr id="42" name="Freeform: Shape 41">
                  <a:extLst>
                    <a:ext uri="{FF2B5EF4-FFF2-40B4-BE49-F238E27FC236}">
                      <a16:creationId xmlns:a16="http://schemas.microsoft.com/office/drawing/2014/main" id="{4CA930E6-4399-37EA-51E8-C4923E175B64}"/>
                    </a:ext>
                  </a:extLst>
                </p:cNvPr>
                <p:cNvSpPr/>
                <p:nvPr/>
              </p:nvSpPr>
              <p:spPr>
                <a:xfrm>
                  <a:off x="5632933" y="3664511"/>
                  <a:ext cx="31035" cy="148766"/>
                </a:xfrm>
                <a:custGeom>
                  <a:avLst/>
                  <a:gdLst>
                    <a:gd name="connsiteX0" fmla="*/ 0 w 31035"/>
                    <a:gd name="connsiteY0" fmla="*/ 0 h 148766"/>
                    <a:gd name="connsiteX1" fmla="*/ 0 w 31035"/>
                    <a:gd name="connsiteY1" fmla="*/ 148767 h 148766"/>
                  </a:gdLst>
                  <a:ahLst/>
                  <a:cxnLst>
                    <a:cxn ang="0">
                      <a:pos x="connsiteX0" y="connsiteY0"/>
                    </a:cxn>
                    <a:cxn ang="0">
                      <a:pos x="connsiteX1" y="connsiteY1"/>
                    </a:cxn>
                  </a:cxnLst>
                  <a:rect l="l" t="t" r="r" b="b"/>
                  <a:pathLst>
                    <a:path w="31035" h="148766">
                      <a:moveTo>
                        <a:pt x="0" y="0"/>
                      </a:moveTo>
                      <a:cubicBezTo>
                        <a:pt x="41381" y="41381"/>
                        <a:pt x="41381" y="107386"/>
                        <a:pt x="0" y="148767"/>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3" name="Freeform: Shape 42">
                  <a:extLst>
                    <a:ext uri="{FF2B5EF4-FFF2-40B4-BE49-F238E27FC236}">
                      <a16:creationId xmlns:a16="http://schemas.microsoft.com/office/drawing/2014/main" id="{1CB2E569-44D3-1012-375F-3086D9931AB7}"/>
                    </a:ext>
                  </a:extLst>
                </p:cNvPr>
                <p:cNvSpPr/>
                <p:nvPr/>
              </p:nvSpPr>
              <p:spPr>
                <a:xfrm>
                  <a:off x="5604205" y="3689134"/>
                  <a:ext cx="20263" cy="99177"/>
                </a:xfrm>
                <a:custGeom>
                  <a:avLst/>
                  <a:gdLst>
                    <a:gd name="connsiteX0" fmla="*/ 0 w 20263"/>
                    <a:gd name="connsiteY0" fmla="*/ 0 h 99177"/>
                    <a:gd name="connsiteX1" fmla="*/ 0 w 20263"/>
                    <a:gd name="connsiteY1" fmla="*/ 99178 h 99177"/>
                  </a:gdLst>
                  <a:ahLst/>
                  <a:cxnLst>
                    <a:cxn ang="0">
                      <a:pos x="connsiteX0" y="connsiteY0"/>
                    </a:cxn>
                    <a:cxn ang="0">
                      <a:pos x="connsiteX1" y="connsiteY1"/>
                    </a:cxn>
                  </a:cxnLst>
                  <a:rect l="l" t="t" r="r" b="b"/>
                  <a:pathLst>
                    <a:path w="20263" h="99177">
                      <a:moveTo>
                        <a:pt x="0" y="0"/>
                      </a:moveTo>
                      <a:cubicBezTo>
                        <a:pt x="27017" y="27017"/>
                        <a:pt x="27017" y="72160"/>
                        <a:pt x="0" y="99178"/>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4" name="Freeform: Shape 43">
                  <a:extLst>
                    <a:ext uri="{FF2B5EF4-FFF2-40B4-BE49-F238E27FC236}">
                      <a16:creationId xmlns:a16="http://schemas.microsoft.com/office/drawing/2014/main" id="{A88C8AB5-0E46-33EC-1B05-061DDBC0E7E1}"/>
                    </a:ext>
                  </a:extLst>
                </p:cNvPr>
                <p:cNvSpPr/>
                <p:nvPr/>
              </p:nvSpPr>
              <p:spPr>
                <a:xfrm>
                  <a:off x="5573768" y="3714100"/>
                  <a:ext cx="10259" cy="49588"/>
                </a:xfrm>
                <a:custGeom>
                  <a:avLst/>
                  <a:gdLst>
                    <a:gd name="connsiteX0" fmla="*/ 0 w 10259"/>
                    <a:gd name="connsiteY0" fmla="*/ 0 h 49588"/>
                    <a:gd name="connsiteX1" fmla="*/ 0 w 10259"/>
                    <a:gd name="connsiteY1" fmla="*/ 49589 h 49588"/>
                  </a:gdLst>
                  <a:ahLst/>
                  <a:cxnLst>
                    <a:cxn ang="0">
                      <a:pos x="connsiteX0" y="connsiteY0"/>
                    </a:cxn>
                    <a:cxn ang="0">
                      <a:pos x="connsiteX1" y="connsiteY1"/>
                    </a:cxn>
                  </a:cxnLst>
                  <a:rect l="l" t="t" r="r" b="b"/>
                  <a:pathLst>
                    <a:path w="10259" h="49588">
                      <a:moveTo>
                        <a:pt x="0" y="0"/>
                      </a:moveTo>
                      <a:cubicBezTo>
                        <a:pt x="13680" y="13680"/>
                        <a:pt x="13680" y="35909"/>
                        <a:pt x="0" y="49589"/>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nvGrpSpPr>
              <p:cNvPr id="38" name="Graphic 28">
                <a:extLst>
                  <a:ext uri="{FF2B5EF4-FFF2-40B4-BE49-F238E27FC236}">
                    <a16:creationId xmlns:a16="http://schemas.microsoft.com/office/drawing/2014/main" id="{A80994C7-2CB2-FA51-F350-78B526DED119}"/>
                  </a:ext>
                </a:extLst>
              </p:cNvPr>
              <p:cNvGrpSpPr/>
              <p:nvPr/>
            </p:nvGrpSpPr>
            <p:grpSpPr>
              <a:xfrm>
                <a:off x="7555416" y="3035519"/>
                <a:ext cx="174220" cy="287339"/>
                <a:chOff x="5395333" y="3664169"/>
                <a:chExt cx="90200" cy="148766"/>
              </a:xfrm>
              <a:noFill/>
            </p:grpSpPr>
            <p:sp>
              <p:nvSpPr>
                <p:cNvPr id="39" name="Freeform: Shape 38">
                  <a:extLst>
                    <a:ext uri="{FF2B5EF4-FFF2-40B4-BE49-F238E27FC236}">
                      <a16:creationId xmlns:a16="http://schemas.microsoft.com/office/drawing/2014/main" id="{C05304DD-95F2-9A86-E1A5-8241354A82F7}"/>
                    </a:ext>
                  </a:extLst>
                </p:cNvPr>
                <p:cNvSpPr/>
                <p:nvPr/>
              </p:nvSpPr>
              <p:spPr>
                <a:xfrm>
                  <a:off x="5395333" y="3664169"/>
                  <a:ext cx="31035" cy="148766"/>
                </a:xfrm>
                <a:custGeom>
                  <a:avLst/>
                  <a:gdLst>
                    <a:gd name="connsiteX0" fmla="*/ 31036 w 31035"/>
                    <a:gd name="connsiteY0" fmla="*/ 148767 h 148766"/>
                    <a:gd name="connsiteX1" fmla="*/ 31036 w 31035"/>
                    <a:gd name="connsiteY1" fmla="*/ 0 h 148766"/>
                  </a:gdLst>
                  <a:ahLst/>
                  <a:cxnLst>
                    <a:cxn ang="0">
                      <a:pos x="connsiteX0" y="connsiteY0"/>
                    </a:cxn>
                    <a:cxn ang="0">
                      <a:pos x="connsiteX1" y="connsiteY1"/>
                    </a:cxn>
                  </a:cxnLst>
                  <a:rect l="l" t="t" r="r" b="b"/>
                  <a:pathLst>
                    <a:path w="31035" h="148766">
                      <a:moveTo>
                        <a:pt x="31036" y="148767"/>
                      </a:moveTo>
                      <a:cubicBezTo>
                        <a:pt x="-10345" y="107386"/>
                        <a:pt x="-10345" y="41381"/>
                        <a:pt x="31036"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0" name="Freeform: Shape 39">
                  <a:extLst>
                    <a:ext uri="{FF2B5EF4-FFF2-40B4-BE49-F238E27FC236}">
                      <a16:creationId xmlns:a16="http://schemas.microsoft.com/office/drawing/2014/main" id="{C14956C8-8F10-ABA0-2DC1-04222BFDA4D4}"/>
                    </a:ext>
                  </a:extLst>
                </p:cNvPr>
                <p:cNvSpPr/>
                <p:nvPr/>
              </p:nvSpPr>
              <p:spPr>
                <a:xfrm>
                  <a:off x="5434834" y="3689134"/>
                  <a:ext cx="20263" cy="99177"/>
                </a:xfrm>
                <a:custGeom>
                  <a:avLst/>
                  <a:gdLst>
                    <a:gd name="connsiteX0" fmla="*/ 20263 w 20263"/>
                    <a:gd name="connsiteY0" fmla="*/ 99178 h 99177"/>
                    <a:gd name="connsiteX1" fmla="*/ 20263 w 20263"/>
                    <a:gd name="connsiteY1" fmla="*/ 0 h 99177"/>
                  </a:gdLst>
                  <a:ahLst/>
                  <a:cxnLst>
                    <a:cxn ang="0">
                      <a:pos x="connsiteX0" y="connsiteY0"/>
                    </a:cxn>
                    <a:cxn ang="0">
                      <a:pos x="connsiteX1" y="connsiteY1"/>
                    </a:cxn>
                  </a:cxnLst>
                  <a:rect l="l" t="t" r="r" b="b"/>
                  <a:pathLst>
                    <a:path w="20263" h="99177">
                      <a:moveTo>
                        <a:pt x="20263" y="99178"/>
                      </a:moveTo>
                      <a:cubicBezTo>
                        <a:pt x="-6754" y="72160"/>
                        <a:pt x="-6754" y="27017"/>
                        <a:pt x="20263"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41" name="Freeform: Shape 40">
                  <a:extLst>
                    <a:ext uri="{FF2B5EF4-FFF2-40B4-BE49-F238E27FC236}">
                      <a16:creationId xmlns:a16="http://schemas.microsoft.com/office/drawing/2014/main" id="{56AA0A13-D418-2F28-0E21-1D23BEDD30C1}"/>
                    </a:ext>
                  </a:extLst>
                </p:cNvPr>
                <p:cNvSpPr/>
                <p:nvPr/>
              </p:nvSpPr>
              <p:spPr>
                <a:xfrm>
                  <a:off x="5475274" y="3713758"/>
                  <a:ext cx="10259" cy="49588"/>
                </a:xfrm>
                <a:custGeom>
                  <a:avLst/>
                  <a:gdLst>
                    <a:gd name="connsiteX0" fmla="*/ 10260 w 10259"/>
                    <a:gd name="connsiteY0" fmla="*/ 49589 h 49588"/>
                    <a:gd name="connsiteX1" fmla="*/ 10260 w 10259"/>
                    <a:gd name="connsiteY1" fmla="*/ 0 h 49588"/>
                  </a:gdLst>
                  <a:ahLst/>
                  <a:cxnLst>
                    <a:cxn ang="0">
                      <a:pos x="connsiteX0" y="connsiteY0"/>
                    </a:cxn>
                    <a:cxn ang="0">
                      <a:pos x="connsiteX1" y="connsiteY1"/>
                    </a:cxn>
                  </a:cxnLst>
                  <a:rect l="l" t="t" r="r" b="b"/>
                  <a:pathLst>
                    <a:path w="10259" h="49588">
                      <a:moveTo>
                        <a:pt x="10260" y="49589"/>
                      </a:moveTo>
                      <a:cubicBezTo>
                        <a:pt x="-3420" y="35909"/>
                        <a:pt x="-3420" y="13680"/>
                        <a:pt x="10260" y="0"/>
                      </a:cubicBezTo>
                    </a:path>
                  </a:pathLst>
                </a:custGeom>
                <a:noFill/>
                <a:ln w="6350" cap="flat">
                  <a:solidFill>
                    <a:schemeClr val="bg1"/>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CCCCCC"/>
                    </a:solidFill>
                    <a:effectLst/>
                    <a:uLnTx/>
                    <a:uFillTx/>
                    <a:latin typeface="Nokia Pure Text Light"/>
                    <a:ea typeface="+mn-ea"/>
                    <a:cs typeface="+mn-cs"/>
                  </a:endParaRPr>
                </a:p>
              </p:txBody>
            </p:sp>
          </p:grpSp>
        </p:grpSp>
      </p:grpSp>
      <p:sp>
        <p:nvSpPr>
          <p:cNvPr id="2" name="Footer Placeholder 1">
            <a:extLst>
              <a:ext uri="{FF2B5EF4-FFF2-40B4-BE49-F238E27FC236}">
                <a16:creationId xmlns:a16="http://schemas.microsoft.com/office/drawing/2014/main" id="{9C4DB80A-A01D-D8FD-6731-B172050E0845}"/>
              </a:ext>
            </a:extLst>
          </p:cNvPr>
          <p:cNvSpPr>
            <a:spLocks noGrp="1"/>
          </p:cNvSpPr>
          <p:nvPr>
            <p:ph type="ftr" sz="quarter" idx="3"/>
          </p:nvPr>
        </p:nvSpPr>
        <p:spPr>
          <a:xfrm>
            <a:off x="1504610" y="4858555"/>
            <a:ext cx="2880000" cy="122400"/>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246337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fade">
                                      <p:cBhvr>
                                        <p:cTn id="7"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2F5ED7-18AB-BAED-EB59-84AE0AA1CB8A}"/>
              </a:ext>
            </a:extLst>
          </p:cNvPr>
          <p:cNvSpPr>
            <a:spLocks noGrp="1"/>
          </p:cNvSpPr>
          <p:nvPr>
            <p:ph type="body" sz="quarter" idx="11"/>
          </p:nvPr>
        </p:nvSpPr>
        <p:spPr/>
        <p:txBody>
          <a:bodyPr/>
          <a:lstStyle/>
          <a:p>
            <a:r>
              <a:rPr lang="en-GB" dirty="0"/>
              <a:t>Agenda</a:t>
            </a:r>
            <a:endParaRPr lang="en-US" dirty="0"/>
          </a:p>
        </p:txBody>
      </p:sp>
      <p:sp>
        <p:nvSpPr>
          <p:cNvPr id="4" name="Rectangle 3">
            <a:extLst>
              <a:ext uri="{FF2B5EF4-FFF2-40B4-BE49-F238E27FC236}">
                <a16:creationId xmlns:a16="http://schemas.microsoft.com/office/drawing/2014/main" id="{60C9EAEB-DF3D-A380-EF9F-3BB27AD95118}"/>
              </a:ext>
            </a:extLst>
          </p:cNvPr>
          <p:cNvSpPr/>
          <p:nvPr/>
        </p:nvSpPr>
        <p:spPr>
          <a:xfrm>
            <a:off x="3758829" y="1724853"/>
            <a:ext cx="4726494" cy="2338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FFFFFF"/>
                </a:solidFill>
                <a:latin typeface="Nokia Pure Headline Light" panose="020B0304020202020204" pitchFamily="34" charset="0"/>
              </a:rPr>
              <a:t>Opportunity of the metaverses and  requirement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FFFFFF"/>
                </a:solidFill>
                <a:latin typeface="Nokia Pure Headline Light" panose="020B0304020202020204" pitchFamily="34" charset="0"/>
              </a:rPr>
              <a:t>6G timeline and focu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AU" sz="2000" dirty="0">
                <a:solidFill>
                  <a:srgbClr val="FFFFFF"/>
                </a:solidFill>
                <a:latin typeface="Nokia Pure Headline Light" panose="020B0304020202020204" pitchFamily="34" charset="0"/>
              </a:rPr>
              <a:t>Six key technology area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001135"/>
                </a:solidFill>
                <a:latin typeface="Nokia Pure Headline Light" panose="020B0304020202020204" pitchFamily="34" charset="0"/>
              </a:rPr>
              <a:t>6G collaborative advantage</a:t>
            </a:r>
          </a:p>
        </p:txBody>
      </p:sp>
      <p:sp>
        <p:nvSpPr>
          <p:cNvPr id="5" name="Footer Placeholder 1">
            <a:extLst>
              <a:ext uri="{FF2B5EF4-FFF2-40B4-BE49-F238E27FC236}">
                <a16:creationId xmlns:a16="http://schemas.microsoft.com/office/drawing/2014/main" id="{4075EE8D-6E8E-26A0-0EE1-D83218726C39}"/>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3053962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4B1AFA-CE7C-E9AD-0347-A66FCDDBF407}"/>
              </a:ext>
            </a:extLst>
          </p:cNvPr>
          <p:cNvSpPr>
            <a:spLocks noGrp="1"/>
          </p:cNvSpPr>
          <p:nvPr>
            <p:ph type="body" sz="quarter" idx="12"/>
          </p:nvPr>
        </p:nvSpPr>
        <p:spPr/>
        <p:txBody>
          <a:bodyPr/>
          <a:lstStyle/>
          <a:p>
            <a:r>
              <a:rPr lang="en-US" dirty="0"/>
              <a:t>Creating the future through research collaborations</a:t>
            </a:r>
          </a:p>
        </p:txBody>
      </p:sp>
      <p:sp>
        <p:nvSpPr>
          <p:cNvPr id="3" name="Text Placeholder 2">
            <a:extLst>
              <a:ext uri="{FF2B5EF4-FFF2-40B4-BE49-F238E27FC236}">
                <a16:creationId xmlns:a16="http://schemas.microsoft.com/office/drawing/2014/main" id="{DACBC57F-8286-3CA8-95D4-B966DCE433FA}"/>
              </a:ext>
            </a:extLst>
          </p:cNvPr>
          <p:cNvSpPr>
            <a:spLocks noGrp="1"/>
          </p:cNvSpPr>
          <p:nvPr>
            <p:ph type="body" sz="quarter" idx="13"/>
          </p:nvPr>
        </p:nvSpPr>
        <p:spPr/>
        <p:txBody>
          <a:bodyPr/>
          <a:lstStyle/>
          <a:p>
            <a:r>
              <a:rPr lang="en-US" dirty="0"/>
              <a:t>Working with academia and research institutions </a:t>
            </a:r>
          </a:p>
        </p:txBody>
      </p:sp>
      <p:sp>
        <p:nvSpPr>
          <p:cNvPr id="30" name="TextBox 29">
            <a:extLst>
              <a:ext uri="{FF2B5EF4-FFF2-40B4-BE49-F238E27FC236}">
                <a16:creationId xmlns:a16="http://schemas.microsoft.com/office/drawing/2014/main" id="{BAFE7AE3-F4A4-1FEF-2801-C9256C720AC7}"/>
              </a:ext>
            </a:extLst>
          </p:cNvPr>
          <p:cNvSpPr txBox="1"/>
          <p:nvPr/>
        </p:nvSpPr>
        <p:spPr>
          <a:xfrm>
            <a:off x="5176226" y="2401431"/>
            <a:ext cx="3338286" cy="653238"/>
          </a:xfrm>
          <a:prstGeom prst="rect">
            <a:avLst/>
          </a:prstGeom>
          <a:noFill/>
        </p:spPr>
        <p:txBody>
          <a:bodyPr wrap="square" lIns="72000" tIns="72000" rIns="72000" bIns="72000" rtlCol="0">
            <a:spAutoFit/>
          </a:bodyPr>
          <a:lstStyle/>
          <a:p>
            <a:pPr marL="0" marR="0" lvl="0" indent="0" algn="l" defTabSz="360000" rtl="0" eaLnBrk="1" fontAlgn="auto" latinLnBrk="0" hangingPunct="1">
              <a:lnSpc>
                <a:spcPct val="100000"/>
              </a:lnSpc>
              <a:spcBef>
                <a:spcPts val="0"/>
              </a:spcBef>
              <a:spcAft>
                <a:spcPts val="600"/>
              </a:spcAft>
              <a:buClrTx/>
              <a:buSzTx/>
              <a:buFontTx/>
              <a:buNone/>
              <a:tabLst>
                <a:tab pos="360000" algn="l"/>
              </a:tabLst>
              <a:defRPr/>
            </a:pPr>
            <a:r>
              <a:rPr kumimoji="0" lang="en-AU" sz="11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A landmark industry event created by Nokia and the NYU WIRELESS research center to charter the technical future of the wireless industry. </a:t>
            </a:r>
            <a:endParaRPr kumimoji="0" lang="en-US" sz="11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endParaRPr>
          </a:p>
        </p:txBody>
      </p:sp>
      <p:pic>
        <p:nvPicPr>
          <p:cNvPr id="31" name="Picture 30" descr="Brooklyn 6G Summit">
            <a:extLst>
              <a:ext uri="{FF2B5EF4-FFF2-40B4-BE49-F238E27FC236}">
                <a16:creationId xmlns:a16="http://schemas.microsoft.com/office/drawing/2014/main" id="{9D364F82-FF54-C13F-6856-47221A9244CE}"/>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5250739" y="1443743"/>
            <a:ext cx="3266141" cy="39830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A picture containing text, sign&#10;&#10;Description automatically generated">
            <a:extLst>
              <a:ext uri="{FF2B5EF4-FFF2-40B4-BE49-F238E27FC236}">
                <a16:creationId xmlns:a16="http://schemas.microsoft.com/office/drawing/2014/main" id="{65E43063-DF46-4D10-FCB2-5E405216F802}"/>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7615116" y="2034675"/>
            <a:ext cx="749122" cy="289161"/>
          </a:xfrm>
          <a:prstGeom prst="rect">
            <a:avLst/>
          </a:prstGeom>
        </p:spPr>
      </p:pic>
      <p:pic>
        <p:nvPicPr>
          <p:cNvPr id="33" name="Picture 32" descr="A picture containing logo&#10;&#10;Description automatically generated">
            <a:extLst>
              <a:ext uri="{FF2B5EF4-FFF2-40B4-BE49-F238E27FC236}">
                <a16:creationId xmlns:a16="http://schemas.microsoft.com/office/drawing/2014/main" id="{7C3F833A-720D-DADC-D2B9-9B934C68B389}"/>
              </a:ext>
            </a:extLst>
          </p:cNvPr>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6541661" y="2055749"/>
            <a:ext cx="749122" cy="263262"/>
          </a:xfrm>
          <a:prstGeom prst="rect">
            <a:avLst/>
          </a:prstGeom>
        </p:spPr>
      </p:pic>
      <p:sp>
        <p:nvSpPr>
          <p:cNvPr id="35" name="TextBox 34">
            <a:extLst>
              <a:ext uri="{FF2B5EF4-FFF2-40B4-BE49-F238E27FC236}">
                <a16:creationId xmlns:a16="http://schemas.microsoft.com/office/drawing/2014/main" id="{E56F7500-73CD-E57A-8C22-67C3222C19D7}"/>
              </a:ext>
            </a:extLst>
          </p:cNvPr>
          <p:cNvSpPr txBox="1"/>
          <p:nvPr/>
        </p:nvSpPr>
        <p:spPr>
          <a:xfrm>
            <a:off x="417513" y="1363186"/>
            <a:ext cx="4572000" cy="294808"/>
          </a:xfrm>
          <a:prstGeom prst="rect">
            <a:avLst/>
          </a:prstGeom>
          <a:noFill/>
        </p:spPr>
        <p:txBody>
          <a:bodyPr wrap="square" lIns="0" tIns="0" rIns="0">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AU" sz="1400" b="0" i="0" u="none" strike="noStrike" kern="1200" cap="none" spc="0" normalizeH="0" baseline="0" noProof="0" dirty="0">
                <a:ln>
                  <a:noFill/>
                </a:ln>
                <a:solidFill>
                  <a:srgbClr val="FFFFFF"/>
                </a:solidFill>
                <a:effectLst/>
                <a:uLnTx/>
                <a:uFillTx/>
                <a:latin typeface="Nokia Pure Text" panose="020B0503020202020204" pitchFamily="34" charset="0"/>
                <a:ea typeface="Nokia Pure Text" panose="020B0503020202020204" pitchFamily="34" charset="0"/>
                <a:cs typeface="+mn-cs"/>
              </a:rPr>
              <a:t>Academic partnerships on 6G research</a:t>
            </a:r>
          </a:p>
        </p:txBody>
      </p:sp>
      <p:pic>
        <p:nvPicPr>
          <p:cNvPr id="36" name="Picture 4" descr="University of Cambridge - Contra Agency">
            <a:extLst>
              <a:ext uri="{FF2B5EF4-FFF2-40B4-BE49-F238E27FC236}">
                <a16:creationId xmlns:a16="http://schemas.microsoft.com/office/drawing/2014/main" id="{B611128E-FE1F-5DBD-032A-02AE3B47149B}"/>
              </a:ext>
            </a:extLst>
          </p:cNvPr>
          <p:cNvPicPr>
            <a:picLocks noChangeAspect="1" noChangeArrowheads="1"/>
          </p:cNvPicPr>
          <p:nvPr/>
        </p:nvPicPr>
        <p:blipFill rotWithShape="1">
          <a:blip r:embed="rId6" cstate="print">
            <a:lum bright="70000" contrast="-70000"/>
            <a:extLst>
              <a:ext uri="{28A0092B-C50C-407E-A947-70E740481C1C}">
                <a14:useLocalDpi xmlns:a14="http://schemas.microsoft.com/office/drawing/2010/main" val="0"/>
              </a:ext>
            </a:extLst>
          </a:blip>
          <a:srcRect t="34011" b="32472"/>
          <a:stretch/>
        </p:blipFill>
        <p:spPr bwMode="auto">
          <a:xfrm>
            <a:off x="1022177" y="1859895"/>
            <a:ext cx="1047697" cy="27292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8" descr="Caroline Collange – PACAP">
            <a:extLst>
              <a:ext uri="{FF2B5EF4-FFF2-40B4-BE49-F238E27FC236}">
                <a16:creationId xmlns:a16="http://schemas.microsoft.com/office/drawing/2014/main" id="{42A7C27E-E3B7-A898-59C8-94418625488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8272" y="1821503"/>
            <a:ext cx="784228" cy="276000"/>
          </a:xfrm>
          <a:prstGeom prst="rect">
            <a:avLst/>
          </a:prstGeom>
          <a:noFill/>
          <a:extLst>
            <a:ext uri="{909E8E84-426E-40DD-AFC4-6F175D3DCCD1}">
              <a14:hiddenFill xmlns:a14="http://schemas.microsoft.com/office/drawing/2010/main">
                <a:solidFill>
                  <a:srgbClr val="FFFFFF"/>
                </a:solidFill>
              </a14:hiddenFill>
            </a:ext>
          </a:extLst>
        </p:spPr>
      </p:pic>
      <p:cxnSp>
        <p:nvCxnSpPr>
          <p:cNvPr id="39" name="Straight Connector 38">
            <a:extLst>
              <a:ext uri="{FF2B5EF4-FFF2-40B4-BE49-F238E27FC236}">
                <a16:creationId xmlns:a16="http://schemas.microsoft.com/office/drawing/2014/main" id="{448922E8-3D75-90DE-522A-348D0C621565}"/>
              </a:ext>
            </a:extLst>
          </p:cNvPr>
          <p:cNvCxnSpPr>
            <a:cxnSpLocks/>
          </p:cNvCxnSpPr>
          <p:nvPr/>
        </p:nvCxnSpPr>
        <p:spPr>
          <a:xfrm>
            <a:off x="399854" y="1673917"/>
            <a:ext cx="4436753"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10" descr="Representation Theory | Department of Mathematics">
            <a:extLst>
              <a:ext uri="{FF2B5EF4-FFF2-40B4-BE49-F238E27FC236}">
                <a16:creationId xmlns:a16="http://schemas.microsoft.com/office/drawing/2014/main" id="{907671BB-41E0-A379-B887-87CE90F123D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84343" y="3967147"/>
            <a:ext cx="1054043" cy="20056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6" descr="University of Oulu | Terranova">
            <a:extLst>
              <a:ext uri="{FF2B5EF4-FFF2-40B4-BE49-F238E27FC236}">
                <a16:creationId xmlns:a16="http://schemas.microsoft.com/office/drawing/2014/main" id="{EACF4C10-43E2-2DA0-5C52-C985C66A1B83}"/>
              </a:ext>
            </a:extLst>
          </p:cNvPr>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3262757" y="2688084"/>
            <a:ext cx="1590744" cy="40983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8">
            <a:extLst>
              <a:ext uri="{FF2B5EF4-FFF2-40B4-BE49-F238E27FC236}">
                <a16:creationId xmlns:a16="http://schemas.microsoft.com/office/drawing/2014/main" id="{5E812186-DBB6-BA49-D0AB-533E8DF7B164}"/>
              </a:ext>
            </a:extLst>
          </p:cNvPr>
          <p:cNvPicPr>
            <a:picLocks noChangeAspect="1" noChangeArrowheads="1"/>
          </p:cNvPicPr>
          <p:nvPr/>
        </p:nvPicPr>
        <p:blipFill>
          <a:blip r:embed="rId10" cstate="print">
            <a:lum bright="70000" contrast="-70000"/>
            <a:extLst>
              <a:ext uri="{28A0092B-C50C-407E-A947-70E740481C1C}">
                <a14:useLocalDpi xmlns:a14="http://schemas.microsoft.com/office/drawing/2010/main" val="0"/>
              </a:ext>
            </a:extLst>
          </a:blip>
          <a:srcRect/>
          <a:stretch>
            <a:fillRect/>
          </a:stretch>
        </p:blipFill>
        <p:spPr bwMode="auto">
          <a:xfrm>
            <a:off x="3109920" y="1797270"/>
            <a:ext cx="1458540" cy="32994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2">
            <a:extLst>
              <a:ext uri="{FF2B5EF4-FFF2-40B4-BE49-F238E27FC236}">
                <a16:creationId xmlns:a16="http://schemas.microsoft.com/office/drawing/2014/main" id="{B4B97577-FA37-227F-CDCA-575E7F8AB5B0}"/>
              </a:ext>
            </a:extLst>
          </p:cNvPr>
          <p:cNvPicPr>
            <a:picLocks noChangeAspect="1" noChangeArrowheads="1"/>
          </p:cNvPicPr>
          <p:nvPr/>
        </p:nvPicPr>
        <p:blipFill>
          <a:blip r:embed="rId11" cstate="print">
            <a:lum bright="70000" contrast="-70000"/>
            <a:extLst>
              <a:ext uri="{28A0092B-C50C-407E-A947-70E740481C1C}">
                <a14:useLocalDpi xmlns:a14="http://schemas.microsoft.com/office/drawing/2010/main" val="0"/>
              </a:ext>
            </a:extLst>
          </a:blip>
          <a:srcRect/>
          <a:stretch>
            <a:fillRect/>
          </a:stretch>
        </p:blipFill>
        <p:spPr bwMode="auto">
          <a:xfrm>
            <a:off x="417513" y="2757069"/>
            <a:ext cx="737419" cy="25067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30" descr="Aalto University Brand Library">
            <a:extLst>
              <a:ext uri="{FF2B5EF4-FFF2-40B4-BE49-F238E27FC236}">
                <a16:creationId xmlns:a16="http://schemas.microsoft.com/office/drawing/2014/main" id="{5BBC1766-1F99-8423-4830-68A9C0994EC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7854" y="1831727"/>
            <a:ext cx="388329" cy="31856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32" descr="Download Aalborg Universitet Logo White - Full Size PNG Image - PNGkit">
            <a:extLst>
              <a:ext uri="{FF2B5EF4-FFF2-40B4-BE49-F238E27FC236}">
                <a16:creationId xmlns:a16="http://schemas.microsoft.com/office/drawing/2014/main" id="{CF4B1586-AFB0-A0D0-61AB-4ADB30E50FC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1986" y="3211825"/>
            <a:ext cx="776557" cy="41219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6" descr="Logo • Brand Guidelines">
            <a:extLst>
              <a:ext uri="{FF2B5EF4-FFF2-40B4-BE49-F238E27FC236}">
                <a16:creationId xmlns:a16="http://schemas.microsoft.com/office/drawing/2014/main" id="{B2FD66C2-A475-AC78-CC70-14906CD79B1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76690" y="3302550"/>
            <a:ext cx="823697" cy="328436"/>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descr="Logo&#10;&#10;Description automatically generated">
            <a:extLst>
              <a:ext uri="{FF2B5EF4-FFF2-40B4-BE49-F238E27FC236}">
                <a16:creationId xmlns:a16="http://schemas.microsoft.com/office/drawing/2014/main" id="{1DFEE1AC-DDF6-22EB-3329-3E6BB867943F}"/>
              </a:ext>
            </a:extLst>
          </p:cNvPr>
          <p:cNvPicPr>
            <a:picLocks noChangeAspect="1"/>
          </p:cNvPicPr>
          <p:nvPr/>
        </p:nvPicPr>
        <p:blipFill>
          <a:blip r:embed="rId15">
            <a:biLevel thresh="25000"/>
          </a:blip>
          <a:stretch>
            <a:fillRect/>
          </a:stretch>
        </p:blipFill>
        <p:spPr>
          <a:xfrm>
            <a:off x="3224463" y="3218605"/>
            <a:ext cx="903962" cy="473973"/>
          </a:xfrm>
          <a:prstGeom prst="rect">
            <a:avLst/>
          </a:prstGeom>
        </p:spPr>
      </p:pic>
      <p:pic>
        <p:nvPicPr>
          <p:cNvPr id="53" name="Picture 52" descr="Graphical user interface, text&#10;&#10;Description automatically generated">
            <a:extLst>
              <a:ext uri="{FF2B5EF4-FFF2-40B4-BE49-F238E27FC236}">
                <a16:creationId xmlns:a16="http://schemas.microsoft.com/office/drawing/2014/main" id="{B6113E4F-80C8-9266-3E72-C4CF6434BB46}"/>
              </a:ext>
            </a:extLst>
          </p:cNvPr>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2787943" y="2330713"/>
            <a:ext cx="1692501" cy="264195"/>
          </a:xfrm>
          <a:prstGeom prst="rect">
            <a:avLst/>
          </a:prstGeom>
        </p:spPr>
      </p:pic>
      <p:cxnSp>
        <p:nvCxnSpPr>
          <p:cNvPr id="54" name="Straight Connector 53">
            <a:extLst>
              <a:ext uri="{FF2B5EF4-FFF2-40B4-BE49-F238E27FC236}">
                <a16:creationId xmlns:a16="http://schemas.microsoft.com/office/drawing/2014/main" id="{0C3C402F-F163-9AE8-54ED-EE7700FCA25C}"/>
              </a:ext>
            </a:extLst>
          </p:cNvPr>
          <p:cNvCxnSpPr>
            <a:cxnSpLocks/>
          </p:cNvCxnSpPr>
          <p:nvPr/>
        </p:nvCxnSpPr>
        <p:spPr>
          <a:xfrm>
            <a:off x="5039755" y="1412958"/>
            <a:ext cx="0" cy="3129274"/>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3ABFB1F-698F-EAEF-8EBB-569B240C7DF4}"/>
              </a:ext>
            </a:extLst>
          </p:cNvPr>
          <p:cNvCxnSpPr>
            <a:cxnSpLocks/>
          </p:cNvCxnSpPr>
          <p:nvPr/>
        </p:nvCxnSpPr>
        <p:spPr>
          <a:xfrm flipH="1">
            <a:off x="5232264" y="3112341"/>
            <a:ext cx="353433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AutoShape 2" descr="logo">
            <a:extLst>
              <a:ext uri="{FF2B5EF4-FFF2-40B4-BE49-F238E27FC236}">
                <a16:creationId xmlns:a16="http://schemas.microsoft.com/office/drawing/2014/main" id="{45E966E1-1C00-E94B-B9E7-66AB7652B35A}"/>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CCCCCC"/>
              </a:solidFill>
              <a:effectLst/>
              <a:uLnTx/>
              <a:uFillTx/>
              <a:latin typeface="Nokia Pure Text Light"/>
              <a:ea typeface="+mn-ea"/>
              <a:cs typeface="+mn-cs"/>
            </a:endParaRPr>
          </a:p>
        </p:txBody>
      </p:sp>
      <p:pic>
        <p:nvPicPr>
          <p:cNvPr id="60" name="Picture 4" descr="Alternative Energies and Atomic Energy Commission - Wikidata">
            <a:extLst>
              <a:ext uri="{FF2B5EF4-FFF2-40B4-BE49-F238E27FC236}">
                <a16:creationId xmlns:a16="http://schemas.microsoft.com/office/drawing/2014/main" id="{ED1A7CE9-DC65-4D26-501D-B85B5AFA0D35}"/>
              </a:ext>
            </a:extLst>
          </p:cNvPr>
          <p:cNvPicPr>
            <a:picLocks noChangeAspect="1" noChangeArrowheads="1"/>
          </p:cNvPicPr>
          <p:nvPr/>
        </p:nvPicPr>
        <p:blipFill rotWithShape="1">
          <a:blip r:embed="rId17" cstate="print">
            <a:clrChange>
              <a:clrFrom>
                <a:srgbClr val="B81420"/>
              </a:clrFrom>
              <a:clrTo>
                <a:srgbClr val="B81420">
                  <a:alpha val="0"/>
                </a:srgbClr>
              </a:clrTo>
            </a:clrChange>
            <a:lum bright="70000" contrast="-70000"/>
            <a:extLst>
              <a:ext uri="{28A0092B-C50C-407E-A947-70E740481C1C}">
                <a14:useLocalDpi xmlns:a14="http://schemas.microsoft.com/office/drawing/2010/main" val="0"/>
              </a:ext>
            </a:extLst>
          </a:blip>
          <a:srcRect b="12410"/>
          <a:stretch/>
        </p:blipFill>
        <p:spPr bwMode="auto">
          <a:xfrm>
            <a:off x="4149900" y="3169874"/>
            <a:ext cx="661087" cy="47397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1BBB9B9-E20C-6752-F814-F5CD856DABD1}"/>
              </a:ext>
            </a:extLst>
          </p:cNvPr>
          <p:cNvSpPr/>
          <p:nvPr/>
        </p:nvSpPr>
        <p:spPr>
          <a:xfrm>
            <a:off x="5176226" y="3785766"/>
            <a:ext cx="2950595" cy="60016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Nokia is a member of 6G@UT, a funded collaboration between industry and University of Texas at Austin. </a:t>
            </a:r>
          </a:p>
        </p:txBody>
      </p:sp>
      <p:sp>
        <p:nvSpPr>
          <p:cNvPr id="13" name="TextBox 12">
            <a:extLst>
              <a:ext uri="{FF2B5EF4-FFF2-40B4-BE49-F238E27FC236}">
                <a16:creationId xmlns:a16="http://schemas.microsoft.com/office/drawing/2014/main" id="{07D3C28C-A9CC-5731-0FFB-C830F575D7B0}"/>
              </a:ext>
            </a:extLst>
          </p:cNvPr>
          <p:cNvSpPr txBox="1"/>
          <p:nvPr/>
        </p:nvSpPr>
        <p:spPr>
          <a:xfrm>
            <a:off x="5201941" y="3254136"/>
            <a:ext cx="2738565" cy="43088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Nokia is a co-creator member of University of Oulu 6G </a:t>
            </a:r>
            <a:r>
              <a:rPr kumimoji="0" lang="en-GB" sz="1100" b="0" i="0" u="none" strike="noStrike" kern="1200" cap="none" spc="0" normalizeH="0" baseline="0" noProof="0">
                <a:ln>
                  <a:noFill/>
                </a:ln>
                <a:solidFill>
                  <a:srgbClr val="FFFFFF"/>
                </a:solidFill>
                <a:effectLst/>
                <a:uLnTx/>
                <a:uFillTx/>
                <a:latin typeface="Nokia Pure Headline Light" panose="020B0304020202020204" pitchFamily="34" charset="0"/>
                <a:ea typeface="+mn-ea"/>
                <a:cs typeface="+mn-cs"/>
              </a:rPr>
              <a:t>flagship program.</a:t>
            </a:r>
            <a:endParaRPr kumimoji="0" lang="en-US" sz="11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endParaRPr>
          </a:p>
        </p:txBody>
      </p:sp>
      <p:pic>
        <p:nvPicPr>
          <p:cNvPr id="56" name="Picture 2" descr="University of Texas at Austin - Interfolio">
            <a:extLst>
              <a:ext uri="{FF2B5EF4-FFF2-40B4-BE49-F238E27FC236}">
                <a16:creationId xmlns:a16="http://schemas.microsoft.com/office/drawing/2014/main" id="{C925611A-DD93-460B-8B25-7BE4E3BD59AA}"/>
              </a:ext>
            </a:extLst>
          </p:cNvPr>
          <p:cNvPicPr>
            <a:picLocks noChangeAspect="1" noChangeArrowheads="1"/>
          </p:cNvPicPr>
          <p:nvPr/>
        </p:nvPicPr>
        <p:blipFill rotWithShape="1">
          <a:blip r:embed="rId18" cstate="print">
            <a:duotone>
              <a:schemeClr val="bg2">
                <a:shade val="45000"/>
                <a:satMod val="135000"/>
              </a:schemeClr>
              <a:prstClr val="white"/>
            </a:duotone>
            <a:extLst>
              <a:ext uri="{28A0092B-C50C-407E-A947-70E740481C1C}">
                <a14:useLocalDpi xmlns:a14="http://schemas.microsoft.com/office/drawing/2010/main" val="0"/>
              </a:ext>
            </a:extLst>
          </a:blip>
          <a:srcRect t="35495" r="76149" b="36674"/>
          <a:stretch/>
        </p:blipFill>
        <p:spPr bwMode="auto">
          <a:xfrm>
            <a:off x="1531747" y="2315867"/>
            <a:ext cx="246316" cy="2874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University of Texas at Austin - Interfolio">
            <a:extLst>
              <a:ext uri="{FF2B5EF4-FFF2-40B4-BE49-F238E27FC236}">
                <a16:creationId xmlns:a16="http://schemas.microsoft.com/office/drawing/2014/main" id="{7E06A2A7-EF61-0A90-51DC-6ECD1860B220}"/>
              </a:ext>
            </a:extLst>
          </p:cNvPr>
          <p:cNvPicPr>
            <a:picLocks noChangeAspect="1" noChangeArrowheads="1"/>
          </p:cNvPicPr>
          <p:nvPr/>
        </p:nvPicPr>
        <p:blipFill rotWithShape="1">
          <a:blip r:embed="rId19"/>
          <a:srcRect/>
          <a:stretch/>
        </p:blipFill>
        <p:spPr bwMode="auto">
          <a:xfrm>
            <a:off x="1778063" y="2315867"/>
            <a:ext cx="786406" cy="28742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icture containing text&#10;&#10;Description automatically generated">
            <a:extLst>
              <a:ext uri="{FF2B5EF4-FFF2-40B4-BE49-F238E27FC236}">
                <a16:creationId xmlns:a16="http://schemas.microsoft.com/office/drawing/2014/main" id="{6BFABBC7-4D9A-C0FB-DF2B-8440BE42DD3E}"/>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4167154" y="3767930"/>
            <a:ext cx="633048" cy="608693"/>
          </a:xfrm>
          <a:prstGeom prst="rect">
            <a:avLst/>
          </a:prstGeom>
        </p:spPr>
      </p:pic>
      <p:pic>
        <p:nvPicPr>
          <p:cNvPr id="17" name="Picture 16" descr="A picture containing qr code&#10;&#10;Description automatically generated">
            <a:extLst>
              <a:ext uri="{FF2B5EF4-FFF2-40B4-BE49-F238E27FC236}">
                <a16:creationId xmlns:a16="http://schemas.microsoft.com/office/drawing/2014/main" id="{57D4C203-63B2-F45B-FC8A-D5BE9C05FDEC}"/>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114438" y="3194122"/>
            <a:ext cx="465473" cy="465473"/>
          </a:xfrm>
          <a:prstGeom prst="rect">
            <a:avLst/>
          </a:prstGeom>
        </p:spPr>
      </p:pic>
      <p:pic>
        <p:nvPicPr>
          <p:cNvPr id="20" name="Picture 19" descr="Logo&#10;&#10;Description automatically generated">
            <a:extLst>
              <a:ext uri="{FF2B5EF4-FFF2-40B4-BE49-F238E27FC236}">
                <a16:creationId xmlns:a16="http://schemas.microsoft.com/office/drawing/2014/main" id="{987E885D-14AF-0CFE-9007-4E49E8B46A4F}"/>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428823" y="3885633"/>
            <a:ext cx="1281992" cy="365568"/>
          </a:xfrm>
          <a:prstGeom prst="rect">
            <a:avLst/>
          </a:prstGeom>
        </p:spPr>
      </p:pic>
      <p:pic>
        <p:nvPicPr>
          <p:cNvPr id="23" name="Picture 22" descr="Logo, company name&#10;&#10;Description automatically generated">
            <a:extLst>
              <a:ext uri="{FF2B5EF4-FFF2-40B4-BE49-F238E27FC236}">
                <a16:creationId xmlns:a16="http://schemas.microsoft.com/office/drawing/2014/main" id="{214DAA89-10E0-7D53-AFD8-77812154A945}"/>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15779" y="3630524"/>
            <a:ext cx="858482" cy="858482"/>
          </a:xfrm>
          <a:prstGeom prst="rect">
            <a:avLst/>
          </a:prstGeom>
        </p:spPr>
      </p:pic>
      <p:pic>
        <p:nvPicPr>
          <p:cNvPr id="24" name="Graphic 23">
            <a:extLst>
              <a:ext uri="{FF2B5EF4-FFF2-40B4-BE49-F238E27FC236}">
                <a16:creationId xmlns:a16="http://schemas.microsoft.com/office/drawing/2014/main" id="{97D8EBE2-7D09-CE53-61AF-04855806C0C8}"/>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331566" y="2055749"/>
            <a:ext cx="972000" cy="219014"/>
          </a:xfrm>
          <a:prstGeom prst="rect">
            <a:avLst/>
          </a:prstGeom>
        </p:spPr>
      </p:pic>
      <p:pic>
        <p:nvPicPr>
          <p:cNvPr id="6" name="Picture 5" descr="Icon&#10;&#10;Description automatically generated">
            <a:extLst>
              <a:ext uri="{FF2B5EF4-FFF2-40B4-BE49-F238E27FC236}">
                <a16:creationId xmlns:a16="http://schemas.microsoft.com/office/drawing/2014/main" id="{1EE878F2-E567-B2C2-3EB7-70EC4C5EA06F}"/>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061894" y="3770045"/>
            <a:ext cx="650475" cy="487857"/>
          </a:xfrm>
          <a:prstGeom prst="rect">
            <a:avLst/>
          </a:prstGeom>
        </p:spPr>
      </p:pic>
      <p:pic>
        <p:nvPicPr>
          <p:cNvPr id="9" name="Picture 8" descr="Text&#10;&#10;Description automatically generated">
            <a:extLst>
              <a:ext uri="{FF2B5EF4-FFF2-40B4-BE49-F238E27FC236}">
                <a16:creationId xmlns:a16="http://schemas.microsoft.com/office/drawing/2014/main" id="{16CD054C-8D83-8D06-75D9-5D12331154DC}"/>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407439" y="2717162"/>
            <a:ext cx="953807" cy="520955"/>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E2A70767-75FC-B793-FB9F-6294435737F2}"/>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2234869" y="3297551"/>
            <a:ext cx="859956" cy="258617"/>
          </a:xfrm>
          <a:prstGeom prst="rect">
            <a:avLst/>
          </a:prstGeom>
        </p:spPr>
      </p:pic>
      <p:pic>
        <p:nvPicPr>
          <p:cNvPr id="18" name="Picture 17" descr="Qr code&#10;&#10;Description automatically generated with low confidence">
            <a:extLst>
              <a:ext uri="{FF2B5EF4-FFF2-40B4-BE49-F238E27FC236}">
                <a16:creationId xmlns:a16="http://schemas.microsoft.com/office/drawing/2014/main" id="{E588B58D-8A82-F35A-8219-72FA8CD3A21D}"/>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436220" y="2348820"/>
            <a:ext cx="875568" cy="254061"/>
          </a:xfrm>
          <a:prstGeom prst="rect">
            <a:avLst/>
          </a:prstGeom>
        </p:spPr>
      </p:pic>
      <p:pic>
        <p:nvPicPr>
          <p:cNvPr id="22" name="Picture 21" descr="A picture containing text&#10;&#10;Description automatically generated">
            <a:extLst>
              <a:ext uri="{FF2B5EF4-FFF2-40B4-BE49-F238E27FC236}">
                <a16:creationId xmlns:a16="http://schemas.microsoft.com/office/drawing/2014/main" id="{2D430354-3343-9D1D-D0C3-29B8503C2992}"/>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252319" y="2680474"/>
            <a:ext cx="1171183" cy="489400"/>
          </a:xfrm>
          <a:prstGeom prst="rect">
            <a:avLst/>
          </a:prstGeom>
        </p:spPr>
      </p:pic>
      <p:sp>
        <p:nvSpPr>
          <p:cNvPr id="5" name="Footer Placeholder 1">
            <a:extLst>
              <a:ext uri="{FF2B5EF4-FFF2-40B4-BE49-F238E27FC236}">
                <a16:creationId xmlns:a16="http://schemas.microsoft.com/office/drawing/2014/main" id="{51741ED4-0A7E-0F25-6769-2E2810C77C96}"/>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56733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2F5ED7-18AB-BAED-EB59-84AE0AA1CB8A}"/>
              </a:ext>
            </a:extLst>
          </p:cNvPr>
          <p:cNvSpPr>
            <a:spLocks noGrp="1"/>
          </p:cNvSpPr>
          <p:nvPr>
            <p:ph type="body" sz="quarter" idx="11"/>
          </p:nvPr>
        </p:nvSpPr>
        <p:spPr/>
        <p:txBody>
          <a:bodyPr/>
          <a:lstStyle/>
          <a:p>
            <a:r>
              <a:rPr lang="en-GB" dirty="0"/>
              <a:t>Agenda</a:t>
            </a:r>
            <a:endParaRPr lang="en-US" dirty="0"/>
          </a:p>
        </p:txBody>
      </p:sp>
      <p:sp>
        <p:nvSpPr>
          <p:cNvPr id="4" name="Rectangle 3">
            <a:extLst>
              <a:ext uri="{FF2B5EF4-FFF2-40B4-BE49-F238E27FC236}">
                <a16:creationId xmlns:a16="http://schemas.microsoft.com/office/drawing/2014/main" id="{60C9EAEB-DF3D-A380-EF9F-3BB27AD95118}"/>
              </a:ext>
            </a:extLst>
          </p:cNvPr>
          <p:cNvSpPr/>
          <p:nvPr/>
        </p:nvSpPr>
        <p:spPr>
          <a:xfrm>
            <a:off x="3758829" y="1724853"/>
            <a:ext cx="4726494" cy="2338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001135"/>
                </a:solidFill>
                <a:latin typeface="Nokia Pure Headline Light" panose="020B0304020202020204" pitchFamily="34" charset="0"/>
              </a:rPr>
              <a:t>Opportunity of the metaverses and  requirements</a:t>
            </a:r>
            <a:endParaRPr kumimoji="0" lang="en-GB" sz="2000" b="0" i="0" u="none" strike="noStrike" kern="1200" cap="none" spc="0" normalizeH="0" baseline="0" noProof="0" dirty="0">
              <a:ln>
                <a:noFill/>
              </a:ln>
              <a:solidFill>
                <a:srgbClr val="001135"/>
              </a:solidFill>
              <a:effectLst/>
              <a:uLnTx/>
              <a:uFillTx/>
              <a:latin typeface="Nokia Pure Headline Light" panose="020B0304020202020204" pitchFamily="34" charset="0"/>
              <a:ea typeface="+mn-ea"/>
              <a:cs typeface="+mn-cs"/>
            </a:endParaRP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GB"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6G timeline and focu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AU"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Six key technology area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GB"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6G collaborative advantage</a:t>
            </a:r>
          </a:p>
        </p:txBody>
      </p:sp>
      <p:sp>
        <p:nvSpPr>
          <p:cNvPr id="5" name="Footer Placeholder 1">
            <a:extLst>
              <a:ext uri="{FF2B5EF4-FFF2-40B4-BE49-F238E27FC236}">
                <a16:creationId xmlns:a16="http://schemas.microsoft.com/office/drawing/2014/main" id="{0A5E168A-0660-C008-4830-EC204C1DC670}"/>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94038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2521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a:extLst>
              <a:ext uri="{FF2B5EF4-FFF2-40B4-BE49-F238E27FC236}">
                <a16:creationId xmlns:a16="http://schemas.microsoft.com/office/drawing/2014/main" id="{4E1BECDF-252D-4A3E-A4F3-C220B4B73D52}"/>
              </a:ext>
            </a:extLst>
          </p:cNvPr>
          <p:cNvSpPr/>
          <p:nvPr/>
        </p:nvSpPr>
        <p:spPr>
          <a:xfrm>
            <a:off x="3535872" y="1477968"/>
            <a:ext cx="2073931" cy="174769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42" name="Oval 41">
            <a:extLst>
              <a:ext uri="{FF2B5EF4-FFF2-40B4-BE49-F238E27FC236}">
                <a16:creationId xmlns:a16="http://schemas.microsoft.com/office/drawing/2014/main" id="{B4E9A6CD-7C60-4A6F-86E0-C9E26942A057}"/>
              </a:ext>
            </a:extLst>
          </p:cNvPr>
          <p:cNvSpPr/>
          <p:nvPr/>
        </p:nvSpPr>
        <p:spPr>
          <a:xfrm>
            <a:off x="3357319" y="2306207"/>
            <a:ext cx="1535525" cy="13742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43" name="Oval 42">
            <a:extLst>
              <a:ext uri="{FF2B5EF4-FFF2-40B4-BE49-F238E27FC236}">
                <a16:creationId xmlns:a16="http://schemas.microsoft.com/office/drawing/2014/main" id="{457FD7FC-59C5-445C-B7B4-659DAFDAC9D6}"/>
              </a:ext>
            </a:extLst>
          </p:cNvPr>
          <p:cNvSpPr/>
          <p:nvPr/>
        </p:nvSpPr>
        <p:spPr>
          <a:xfrm>
            <a:off x="4243460" y="2310459"/>
            <a:ext cx="1535525" cy="13742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4" name="Text Placeholder 3">
            <a:extLst>
              <a:ext uri="{FF2B5EF4-FFF2-40B4-BE49-F238E27FC236}">
                <a16:creationId xmlns:a16="http://schemas.microsoft.com/office/drawing/2014/main" id="{1A3684F6-0DE4-4659-B851-698B849EE083}"/>
              </a:ext>
            </a:extLst>
          </p:cNvPr>
          <p:cNvSpPr>
            <a:spLocks noGrp="1"/>
          </p:cNvSpPr>
          <p:nvPr>
            <p:ph type="body" sz="quarter" idx="12"/>
          </p:nvPr>
        </p:nvSpPr>
        <p:spPr/>
        <p:txBody>
          <a:bodyPr/>
          <a:lstStyle/>
          <a:p>
            <a:r>
              <a:rPr lang="en-GB" dirty="0"/>
              <a:t>Key trends shaping the world of 2030</a:t>
            </a:r>
          </a:p>
        </p:txBody>
      </p:sp>
      <p:sp>
        <p:nvSpPr>
          <p:cNvPr id="5" name="Text Placeholder 4">
            <a:extLst>
              <a:ext uri="{FF2B5EF4-FFF2-40B4-BE49-F238E27FC236}">
                <a16:creationId xmlns:a16="http://schemas.microsoft.com/office/drawing/2014/main" id="{985816F1-F2AE-426E-BE38-58CCF4A0902C}"/>
              </a:ext>
            </a:extLst>
          </p:cNvPr>
          <p:cNvSpPr>
            <a:spLocks noGrp="1"/>
          </p:cNvSpPr>
          <p:nvPr>
            <p:ph type="body" sz="quarter" idx="13"/>
          </p:nvPr>
        </p:nvSpPr>
        <p:spPr/>
        <p:txBody>
          <a:bodyPr/>
          <a:lstStyle/>
          <a:p>
            <a:r>
              <a:rPr lang="en-GB" dirty="0"/>
              <a:t>Driving requirements for the ecosystem and the network</a:t>
            </a:r>
          </a:p>
        </p:txBody>
      </p:sp>
      <p:sp>
        <p:nvSpPr>
          <p:cNvPr id="2" name="Footer Placeholder 1">
            <a:extLst>
              <a:ext uri="{FF2B5EF4-FFF2-40B4-BE49-F238E27FC236}">
                <a16:creationId xmlns:a16="http://schemas.microsoft.com/office/drawing/2014/main" id="{4318BCCC-E13A-43C1-822A-40F9E24C2A98}"/>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
        <p:nvSpPr>
          <p:cNvPr id="6" name="Oval 5">
            <a:extLst>
              <a:ext uri="{FF2B5EF4-FFF2-40B4-BE49-F238E27FC236}">
                <a16:creationId xmlns:a16="http://schemas.microsoft.com/office/drawing/2014/main" id="{7BF4AC44-AD21-49FD-825A-61C6DDA17D3F}"/>
              </a:ext>
            </a:extLst>
          </p:cNvPr>
          <p:cNvSpPr/>
          <p:nvPr/>
        </p:nvSpPr>
        <p:spPr>
          <a:xfrm>
            <a:off x="3539720" y="1473716"/>
            <a:ext cx="2073931" cy="1747697"/>
          </a:xfrm>
          <a:prstGeom prst="ellipse">
            <a:avLst/>
          </a:prstGeom>
          <a:solidFill>
            <a:srgbClr val="00B050">
              <a:alpha val="80000"/>
            </a:srgb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7" name="Oval 6">
            <a:extLst>
              <a:ext uri="{FF2B5EF4-FFF2-40B4-BE49-F238E27FC236}">
                <a16:creationId xmlns:a16="http://schemas.microsoft.com/office/drawing/2014/main" id="{ACCDCF0A-F3B0-4982-8168-8FA0C427AA55}"/>
              </a:ext>
            </a:extLst>
          </p:cNvPr>
          <p:cNvSpPr/>
          <p:nvPr/>
        </p:nvSpPr>
        <p:spPr>
          <a:xfrm>
            <a:off x="3361167" y="2301955"/>
            <a:ext cx="1535525" cy="1374209"/>
          </a:xfrm>
          <a:prstGeom prst="ellipse">
            <a:avLst/>
          </a:prstGeom>
          <a:solidFill>
            <a:srgbClr val="00B050">
              <a:alpha val="80000"/>
            </a:srgb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8" name="Oval 7">
            <a:extLst>
              <a:ext uri="{FF2B5EF4-FFF2-40B4-BE49-F238E27FC236}">
                <a16:creationId xmlns:a16="http://schemas.microsoft.com/office/drawing/2014/main" id="{BBF12F6B-E59A-4127-8426-14334CEC1BB9}"/>
              </a:ext>
            </a:extLst>
          </p:cNvPr>
          <p:cNvSpPr/>
          <p:nvPr/>
        </p:nvSpPr>
        <p:spPr>
          <a:xfrm>
            <a:off x="4247308" y="2306207"/>
            <a:ext cx="1535525" cy="1374209"/>
          </a:xfrm>
          <a:prstGeom prst="ellipse">
            <a:avLst/>
          </a:prstGeom>
          <a:solidFill>
            <a:srgbClr val="00B050">
              <a:alpha val="80000"/>
            </a:srgbClr>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9" name="Oval 8">
            <a:extLst>
              <a:ext uri="{FF2B5EF4-FFF2-40B4-BE49-F238E27FC236}">
                <a16:creationId xmlns:a16="http://schemas.microsoft.com/office/drawing/2014/main" id="{468829BF-8F68-463D-9CD6-97CEEB05BC5E}"/>
              </a:ext>
            </a:extLst>
          </p:cNvPr>
          <p:cNvSpPr/>
          <p:nvPr/>
        </p:nvSpPr>
        <p:spPr>
          <a:xfrm>
            <a:off x="1223610" y="1547904"/>
            <a:ext cx="1161265" cy="1102597"/>
          </a:xfrm>
          <a:prstGeom prst="ellipse">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0" name="Rectangle: Rounded Corners 16">
            <a:extLst>
              <a:ext uri="{FF2B5EF4-FFF2-40B4-BE49-F238E27FC236}">
                <a16:creationId xmlns:a16="http://schemas.microsoft.com/office/drawing/2014/main" id="{7E24C289-BFCD-4815-A996-2BA1BF179758}"/>
              </a:ext>
            </a:extLst>
          </p:cNvPr>
          <p:cNvSpPr/>
          <p:nvPr/>
        </p:nvSpPr>
        <p:spPr>
          <a:xfrm>
            <a:off x="1329396" y="1544714"/>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Deglobalization &amp; techno-nationalism</a:t>
            </a:r>
          </a:p>
        </p:txBody>
      </p:sp>
      <p:sp>
        <p:nvSpPr>
          <p:cNvPr id="11" name="Oval 10">
            <a:extLst>
              <a:ext uri="{FF2B5EF4-FFF2-40B4-BE49-F238E27FC236}">
                <a16:creationId xmlns:a16="http://schemas.microsoft.com/office/drawing/2014/main" id="{F959A341-638F-4537-B104-4A53AC660348}"/>
              </a:ext>
            </a:extLst>
          </p:cNvPr>
          <p:cNvSpPr/>
          <p:nvPr/>
        </p:nvSpPr>
        <p:spPr>
          <a:xfrm>
            <a:off x="1774540" y="2527319"/>
            <a:ext cx="1161265" cy="1102597"/>
          </a:xfrm>
          <a:prstGeom prst="ellipse">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2" name="Oval 11">
            <a:extLst>
              <a:ext uri="{FF2B5EF4-FFF2-40B4-BE49-F238E27FC236}">
                <a16:creationId xmlns:a16="http://schemas.microsoft.com/office/drawing/2014/main" id="{54A15B74-4C73-4A61-8FB7-33A2ADE9BC44}"/>
              </a:ext>
            </a:extLst>
          </p:cNvPr>
          <p:cNvSpPr/>
          <p:nvPr/>
        </p:nvSpPr>
        <p:spPr>
          <a:xfrm>
            <a:off x="609738" y="2484403"/>
            <a:ext cx="1161265" cy="1102597"/>
          </a:xfrm>
          <a:prstGeom prst="ellipse">
            <a:avLst/>
          </a:prstGeom>
          <a:solidFill>
            <a:schemeClr val="accent4"/>
          </a:soli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3" name="Rectangle: Rounded Corners 16">
            <a:extLst>
              <a:ext uri="{FF2B5EF4-FFF2-40B4-BE49-F238E27FC236}">
                <a16:creationId xmlns:a16="http://schemas.microsoft.com/office/drawing/2014/main" id="{C7A80B35-E1EE-47B5-B12A-69B9EC59009E}"/>
              </a:ext>
            </a:extLst>
          </p:cNvPr>
          <p:cNvSpPr/>
          <p:nvPr/>
        </p:nvSpPr>
        <p:spPr>
          <a:xfrm>
            <a:off x="705962" y="2507877"/>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Cyberthreats &amp; cybersecurity</a:t>
            </a:r>
          </a:p>
        </p:txBody>
      </p:sp>
      <p:sp>
        <p:nvSpPr>
          <p:cNvPr id="14" name="Rectangle: Rounded Corners 16">
            <a:extLst>
              <a:ext uri="{FF2B5EF4-FFF2-40B4-BE49-F238E27FC236}">
                <a16:creationId xmlns:a16="http://schemas.microsoft.com/office/drawing/2014/main" id="{C7473388-0BDA-4F92-9769-D3C9FD4C6AF4}"/>
              </a:ext>
            </a:extLst>
          </p:cNvPr>
          <p:cNvSpPr/>
          <p:nvPr/>
        </p:nvSpPr>
        <p:spPr>
          <a:xfrm>
            <a:off x="1870922" y="2519167"/>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Sustainability</a:t>
            </a:r>
          </a:p>
        </p:txBody>
      </p:sp>
      <p:sp>
        <p:nvSpPr>
          <p:cNvPr id="15" name="Oval 14">
            <a:extLst>
              <a:ext uri="{FF2B5EF4-FFF2-40B4-BE49-F238E27FC236}">
                <a16:creationId xmlns:a16="http://schemas.microsoft.com/office/drawing/2014/main" id="{00937E2E-F8B7-4089-81F7-823287BE22DA}"/>
              </a:ext>
            </a:extLst>
          </p:cNvPr>
          <p:cNvSpPr/>
          <p:nvPr/>
        </p:nvSpPr>
        <p:spPr>
          <a:xfrm>
            <a:off x="6806877" y="1545486"/>
            <a:ext cx="1161265" cy="1102597"/>
          </a:xfrm>
          <a:prstGeom prst="ellipse">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6" name="Rectangle: Rounded Corners 16">
            <a:extLst>
              <a:ext uri="{FF2B5EF4-FFF2-40B4-BE49-F238E27FC236}">
                <a16:creationId xmlns:a16="http://schemas.microsoft.com/office/drawing/2014/main" id="{60F49F59-DCBF-4337-9DBC-E2D9A23F8DDD}"/>
              </a:ext>
            </a:extLst>
          </p:cNvPr>
          <p:cNvSpPr/>
          <p:nvPr/>
        </p:nvSpPr>
        <p:spPr>
          <a:xfrm>
            <a:off x="6914742" y="1527878"/>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Digital-native, evolved experiences</a:t>
            </a:r>
          </a:p>
        </p:txBody>
      </p:sp>
      <p:sp>
        <p:nvSpPr>
          <p:cNvPr id="17" name="Oval 16">
            <a:extLst>
              <a:ext uri="{FF2B5EF4-FFF2-40B4-BE49-F238E27FC236}">
                <a16:creationId xmlns:a16="http://schemas.microsoft.com/office/drawing/2014/main" id="{8F83BBEE-4A33-4763-B291-2AF3E34DB558}"/>
              </a:ext>
            </a:extLst>
          </p:cNvPr>
          <p:cNvSpPr/>
          <p:nvPr/>
        </p:nvSpPr>
        <p:spPr>
          <a:xfrm>
            <a:off x="7357807" y="2524901"/>
            <a:ext cx="1161265" cy="1102597"/>
          </a:xfrm>
          <a:prstGeom prst="ellipse">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8" name="Oval 17">
            <a:extLst>
              <a:ext uri="{FF2B5EF4-FFF2-40B4-BE49-F238E27FC236}">
                <a16:creationId xmlns:a16="http://schemas.microsoft.com/office/drawing/2014/main" id="{1DCAFA54-EE76-4128-A60E-68868C808865}"/>
              </a:ext>
            </a:extLst>
          </p:cNvPr>
          <p:cNvSpPr/>
          <p:nvPr/>
        </p:nvSpPr>
        <p:spPr>
          <a:xfrm>
            <a:off x="6193005" y="2481985"/>
            <a:ext cx="1161265" cy="1102597"/>
          </a:xfrm>
          <a:prstGeom prst="ellipse">
            <a:avLst/>
          </a:prstGeom>
          <a:solidFill>
            <a:schemeClr val="accent6"/>
          </a:solidFill>
          <a:ln>
            <a:solidFill>
              <a:schemeClr val="accent6"/>
            </a:solidFill>
          </a:ln>
          <a:effectLst/>
        </p:spPr>
        <p:style>
          <a:lnRef idx="1">
            <a:schemeClr val="accent1"/>
          </a:lnRef>
          <a:fillRef idx="3">
            <a:schemeClr val="accent1"/>
          </a:fillRef>
          <a:effectRef idx="2">
            <a:schemeClr val="accent1"/>
          </a:effectRef>
          <a:fontRef idx="minor">
            <a:schemeClr val="lt1"/>
          </a:fontRef>
        </p:style>
        <p:txBody>
          <a:bodyPr tIns="90000" bIns="9000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3154"/>
              </a:solidFill>
              <a:effectLst/>
              <a:uLnTx/>
              <a:uFillTx/>
              <a:latin typeface="Nokia Pure Text Light"/>
              <a:ea typeface="+mn-ea"/>
              <a:cs typeface="+mn-cs"/>
            </a:endParaRPr>
          </a:p>
        </p:txBody>
      </p:sp>
      <p:sp>
        <p:nvSpPr>
          <p:cNvPr id="19" name="Rectangle: Rounded Corners 16">
            <a:extLst>
              <a:ext uri="{FF2B5EF4-FFF2-40B4-BE49-F238E27FC236}">
                <a16:creationId xmlns:a16="http://schemas.microsoft.com/office/drawing/2014/main" id="{21142842-51B7-48BB-A287-B40141EAEF60}"/>
              </a:ext>
            </a:extLst>
          </p:cNvPr>
          <p:cNvSpPr/>
          <p:nvPr/>
        </p:nvSpPr>
        <p:spPr>
          <a:xfrm>
            <a:off x="6265899" y="2432016"/>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Service-optimized connectivity</a:t>
            </a:r>
          </a:p>
        </p:txBody>
      </p:sp>
      <p:sp>
        <p:nvSpPr>
          <p:cNvPr id="20" name="Rectangle: Rounded Corners 16">
            <a:extLst>
              <a:ext uri="{FF2B5EF4-FFF2-40B4-BE49-F238E27FC236}">
                <a16:creationId xmlns:a16="http://schemas.microsoft.com/office/drawing/2014/main" id="{8AF50BE6-7EC7-4172-A552-0167162028A0}"/>
              </a:ext>
            </a:extLst>
          </p:cNvPr>
          <p:cNvSpPr/>
          <p:nvPr/>
        </p:nvSpPr>
        <p:spPr>
          <a:xfrm>
            <a:off x="7458479" y="2516257"/>
            <a:ext cx="1057248" cy="95410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New purchasing priorities</a:t>
            </a:r>
          </a:p>
        </p:txBody>
      </p:sp>
      <p:sp>
        <p:nvSpPr>
          <p:cNvPr id="21" name="Rectangle: Rounded Corners 16">
            <a:extLst>
              <a:ext uri="{FF2B5EF4-FFF2-40B4-BE49-F238E27FC236}">
                <a16:creationId xmlns:a16="http://schemas.microsoft.com/office/drawing/2014/main" id="{8288A6CE-E9C8-4DF8-BCD2-7C2111C0748A}"/>
              </a:ext>
            </a:extLst>
          </p:cNvPr>
          <p:cNvSpPr/>
          <p:nvPr/>
        </p:nvSpPr>
        <p:spPr>
          <a:xfrm>
            <a:off x="4097775" y="1550436"/>
            <a:ext cx="1057248" cy="555675"/>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Metaverse</a:t>
            </a:r>
          </a:p>
        </p:txBody>
      </p:sp>
      <p:sp>
        <p:nvSpPr>
          <p:cNvPr id="22" name="Rectangle: Rounded Corners 16">
            <a:extLst>
              <a:ext uri="{FF2B5EF4-FFF2-40B4-BE49-F238E27FC236}">
                <a16:creationId xmlns:a16="http://schemas.microsoft.com/office/drawing/2014/main" id="{390E0D1B-F336-4839-B104-EE4F9BB4587E}"/>
              </a:ext>
            </a:extLst>
          </p:cNvPr>
          <p:cNvSpPr/>
          <p:nvPr/>
        </p:nvSpPr>
        <p:spPr>
          <a:xfrm>
            <a:off x="3158937" y="2850745"/>
            <a:ext cx="1057248" cy="439300"/>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Cloud</a:t>
            </a:r>
          </a:p>
        </p:txBody>
      </p:sp>
      <p:sp>
        <p:nvSpPr>
          <p:cNvPr id="23" name="Rectangle: Rounded Corners 16">
            <a:extLst>
              <a:ext uri="{FF2B5EF4-FFF2-40B4-BE49-F238E27FC236}">
                <a16:creationId xmlns:a16="http://schemas.microsoft.com/office/drawing/2014/main" id="{FF2EE3C4-E4BA-47CD-937D-D47CD4AB55D0}"/>
              </a:ext>
            </a:extLst>
          </p:cNvPr>
          <p:cNvSpPr/>
          <p:nvPr/>
        </p:nvSpPr>
        <p:spPr>
          <a:xfrm>
            <a:off x="5031548" y="2851335"/>
            <a:ext cx="1057248" cy="46095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Web3</a:t>
            </a:r>
          </a:p>
        </p:txBody>
      </p:sp>
      <p:sp>
        <p:nvSpPr>
          <p:cNvPr id="24" name="Rectangle 23">
            <a:extLst>
              <a:ext uri="{FF2B5EF4-FFF2-40B4-BE49-F238E27FC236}">
                <a16:creationId xmlns:a16="http://schemas.microsoft.com/office/drawing/2014/main" id="{7F0543A2-6310-47C9-BCCB-502222736043}"/>
              </a:ext>
            </a:extLst>
          </p:cNvPr>
          <p:cNvSpPr/>
          <p:nvPr/>
        </p:nvSpPr>
        <p:spPr>
          <a:xfrm>
            <a:off x="6193005" y="3888485"/>
            <a:ext cx="2237798" cy="346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457178" rtl="0" eaLnBrk="1" fontAlgn="auto" latinLnBrk="0" hangingPunct="1">
              <a:lnSpc>
                <a:spcPct val="100000"/>
              </a:lnSpc>
              <a:spcBef>
                <a:spcPts val="0"/>
              </a:spcBef>
              <a:spcAft>
                <a:spcPts val="900"/>
              </a:spcAft>
              <a:buClrTx/>
              <a:buSzPct val="100000"/>
              <a:buFontTx/>
              <a:buNone/>
              <a:tabLst/>
              <a:defRPr/>
            </a:pPr>
            <a:r>
              <a:rPr kumimoji="0" lang="en-US" sz="1500" b="0" i="0" u="none" strike="noStrike" kern="1200" cap="none" spc="0" normalizeH="0" baseline="0" noProof="0" dirty="0">
                <a:ln>
                  <a:noFill/>
                </a:ln>
                <a:solidFill>
                  <a:srgbClr val="7D33F2"/>
                </a:solidFill>
                <a:effectLst/>
                <a:uLnTx/>
                <a:uFillTx/>
                <a:latin typeface="Nokia Pure Text Light" panose="020B0403020202020204" pitchFamily="34" charset="0"/>
                <a:ea typeface="Nokia Pure Text Light" panose="020B0403020202020204" pitchFamily="34" charset="0"/>
                <a:cs typeface="+mn-cs"/>
              </a:rPr>
              <a:t>User needs</a:t>
            </a:r>
          </a:p>
        </p:txBody>
      </p:sp>
      <p:sp>
        <p:nvSpPr>
          <p:cNvPr id="25" name="TextBox 24">
            <a:extLst>
              <a:ext uri="{FF2B5EF4-FFF2-40B4-BE49-F238E27FC236}">
                <a16:creationId xmlns:a16="http://schemas.microsoft.com/office/drawing/2014/main" id="{3A3DD6D2-8284-447E-9FA0-F48431CD1AC9}"/>
              </a:ext>
            </a:extLst>
          </p:cNvPr>
          <p:cNvSpPr txBox="1"/>
          <p:nvPr/>
        </p:nvSpPr>
        <p:spPr>
          <a:xfrm>
            <a:off x="6150065" y="4212277"/>
            <a:ext cx="2350549" cy="235125"/>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7D33F2"/>
                </a:solidFill>
                <a:effectLst/>
                <a:uLnTx/>
                <a:uFillTx/>
                <a:latin typeface="Nokia Pure Text" panose="020B0503020202020204" pitchFamily="34" charset="0"/>
                <a:ea typeface="Nokia Pure Text" panose="020B0503020202020204" pitchFamily="34" charset="0"/>
                <a:cs typeface="Arial"/>
                <a:sym typeface="Arial"/>
                <a:rtl val="0"/>
              </a:rPr>
              <a:t>Industry-Enterprise-Consumer-Developer</a:t>
            </a:r>
            <a:endParaRPr kumimoji="0" lang="en-GB" sz="900" b="0" i="0" u="none" strike="noStrike" kern="1200" cap="none" spc="0" normalizeH="0" baseline="0" noProof="0" dirty="0">
              <a:ln>
                <a:noFill/>
              </a:ln>
              <a:solidFill>
                <a:srgbClr val="7D33F2"/>
              </a:solidFill>
              <a:effectLst/>
              <a:uLnTx/>
              <a:uFillTx/>
              <a:latin typeface="Nokia Pure Text" panose="020B0503020202020204" pitchFamily="34" charset="0"/>
              <a:ea typeface="Nokia Pure Text" panose="020B0503020202020204" pitchFamily="34" charset="0"/>
              <a:cs typeface="+mn-cs"/>
            </a:endParaRPr>
          </a:p>
        </p:txBody>
      </p:sp>
      <p:sp>
        <p:nvSpPr>
          <p:cNvPr id="26" name="Rectangle 25">
            <a:extLst>
              <a:ext uri="{FF2B5EF4-FFF2-40B4-BE49-F238E27FC236}">
                <a16:creationId xmlns:a16="http://schemas.microsoft.com/office/drawing/2014/main" id="{8AB69D39-F2B9-4DC8-99BF-D98125AA5225}"/>
              </a:ext>
            </a:extLst>
          </p:cNvPr>
          <p:cNvSpPr/>
          <p:nvPr/>
        </p:nvSpPr>
        <p:spPr>
          <a:xfrm>
            <a:off x="3537245" y="3973452"/>
            <a:ext cx="2178308" cy="535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457178" rtl="0" eaLnBrk="1" fontAlgn="auto" latinLnBrk="0" hangingPunct="1">
              <a:lnSpc>
                <a:spcPct val="100000"/>
              </a:lnSpc>
              <a:spcBef>
                <a:spcPts val="0"/>
              </a:spcBef>
              <a:spcAft>
                <a:spcPts val="900"/>
              </a:spcAft>
              <a:buClrTx/>
              <a:buSzPct val="100000"/>
              <a:buFontTx/>
              <a:buNone/>
              <a:tabLst/>
              <a:defRPr/>
            </a:pPr>
            <a:r>
              <a:rPr kumimoji="0" lang="en-US" sz="1500" b="0" i="0" u="none" strike="noStrike" kern="1200" cap="none" spc="0" normalizeH="0" baseline="0" noProof="0" dirty="0">
                <a:ln>
                  <a:noFill/>
                </a:ln>
                <a:solidFill>
                  <a:srgbClr val="37CC73"/>
                </a:solidFill>
                <a:effectLst/>
                <a:uLnTx/>
                <a:uFillTx/>
                <a:latin typeface="Nokia Pure Text Light" panose="020B0403020202020204" pitchFamily="34" charset="0"/>
                <a:ea typeface="Nokia Pure Text Light" panose="020B0403020202020204" pitchFamily="34" charset="0"/>
                <a:cs typeface="+mn-cs"/>
              </a:rPr>
              <a:t>Technology</a:t>
            </a:r>
          </a:p>
        </p:txBody>
      </p:sp>
      <p:sp>
        <p:nvSpPr>
          <p:cNvPr id="27" name="Rectangle 26">
            <a:extLst>
              <a:ext uri="{FF2B5EF4-FFF2-40B4-BE49-F238E27FC236}">
                <a16:creationId xmlns:a16="http://schemas.microsoft.com/office/drawing/2014/main" id="{9DDC3301-CDE7-4D84-BE52-59BA6212509F}"/>
              </a:ext>
            </a:extLst>
          </p:cNvPr>
          <p:cNvSpPr/>
          <p:nvPr/>
        </p:nvSpPr>
        <p:spPr>
          <a:xfrm>
            <a:off x="684891" y="3905956"/>
            <a:ext cx="2271676" cy="5180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457178" rtl="0" eaLnBrk="1" fontAlgn="auto" latinLnBrk="0" hangingPunct="1">
              <a:lnSpc>
                <a:spcPct val="100000"/>
              </a:lnSpc>
              <a:spcBef>
                <a:spcPts val="0"/>
              </a:spcBef>
              <a:spcAft>
                <a:spcPts val="900"/>
              </a:spcAft>
              <a:buClrTx/>
              <a:buSzPct val="100000"/>
              <a:buFontTx/>
              <a:buNone/>
              <a:tabLst/>
              <a:defRPr/>
            </a:pPr>
            <a:r>
              <a:rPr kumimoji="0" lang="en-US" sz="1500" b="0" i="0" u="none" strike="noStrike" kern="1200" cap="none" spc="0" normalizeH="0" baseline="0" noProof="0" dirty="0">
                <a:ln>
                  <a:noFill/>
                </a:ln>
                <a:solidFill>
                  <a:srgbClr val="F47F31"/>
                </a:solidFill>
                <a:effectLst/>
                <a:uLnTx/>
                <a:uFillTx/>
                <a:latin typeface="Nokia Pure Text Light" panose="020B0403020202020204" pitchFamily="34" charset="0"/>
                <a:ea typeface="Nokia Pure Text Light" panose="020B0403020202020204" pitchFamily="34" charset="0"/>
                <a:cs typeface="+mn-cs"/>
              </a:rPr>
              <a:t>Socio-economic &amp; geopolitical</a:t>
            </a:r>
          </a:p>
        </p:txBody>
      </p:sp>
      <p:sp>
        <p:nvSpPr>
          <p:cNvPr id="28" name="Rectangle: Rounded Corners 16">
            <a:extLst>
              <a:ext uri="{FF2B5EF4-FFF2-40B4-BE49-F238E27FC236}">
                <a16:creationId xmlns:a16="http://schemas.microsoft.com/office/drawing/2014/main" id="{93BDDEA6-9DF2-4FC6-ACF5-6FC5A08B2C57}"/>
              </a:ext>
            </a:extLst>
          </p:cNvPr>
          <p:cNvSpPr/>
          <p:nvPr/>
        </p:nvSpPr>
        <p:spPr>
          <a:xfrm>
            <a:off x="4120753" y="2859689"/>
            <a:ext cx="1057248" cy="460957"/>
          </a:xfrm>
          <a:prstGeom prst="roundRect">
            <a:avLst>
              <a:gd name="adj" fmla="val 0"/>
            </a:avLst>
          </a:prstGeom>
          <a:noFill/>
          <a:ln w="952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135"/>
                </a:solidFill>
                <a:effectLst/>
                <a:uLnTx/>
                <a:uFillTx/>
                <a:latin typeface="Nokia Pure Text Light" panose="020B0403020202020204" pitchFamily="34" charset="0"/>
                <a:ea typeface="Nokia Pure Text Light" panose="020B0403020202020204" pitchFamily="34" charset="0"/>
                <a:cs typeface="+mn-cs"/>
              </a:rPr>
              <a:t>AI/ML</a:t>
            </a:r>
          </a:p>
        </p:txBody>
      </p:sp>
      <p:pic>
        <p:nvPicPr>
          <p:cNvPr id="29" name="Picture 28" descr="A picture containing icon&#10;&#10;Description automatically generated">
            <a:extLst>
              <a:ext uri="{FF2B5EF4-FFF2-40B4-BE49-F238E27FC236}">
                <a16:creationId xmlns:a16="http://schemas.microsoft.com/office/drawing/2014/main" id="{F78C7638-0A3B-4F4B-B20A-B0FACEAECC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34298" y="3207154"/>
            <a:ext cx="399401" cy="399401"/>
          </a:xfrm>
          <a:prstGeom prst="rect">
            <a:avLst/>
          </a:prstGeom>
        </p:spPr>
      </p:pic>
      <p:pic>
        <p:nvPicPr>
          <p:cNvPr id="30" name="Picture 29" descr="Icon&#10;&#10;Description automatically generated">
            <a:extLst>
              <a:ext uri="{FF2B5EF4-FFF2-40B4-BE49-F238E27FC236}">
                <a16:creationId xmlns:a16="http://schemas.microsoft.com/office/drawing/2014/main" id="{34085593-A4E8-4825-8993-DF7DB5B297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85110" y="1877101"/>
            <a:ext cx="342897" cy="342897"/>
          </a:xfrm>
          <a:prstGeom prst="rect">
            <a:avLst/>
          </a:prstGeom>
        </p:spPr>
      </p:pic>
      <p:pic>
        <p:nvPicPr>
          <p:cNvPr id="31" name="Picture 30" descr="Icon&#10;&#10;Description automatically generated">
            <a:extLst>
              <a:ext uri="{FF2B5EF4-FFF2-40B4-BE49-F238E27FC236}">
                <a16:creationId xmlns:a16="http://schemas.microsoft.com/office/drawing/2014/main" id="{C0F4695E-AADC-4592-8A8B-CD2A27E628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45796" y="2659593"/>
            <a:ext cx="286572" cy="286572"/>
          </a:xfrm>
          <a:prstGeom prst="rect">
            <a:avLst/>
          </a:prstGeom>
        </p:spPr>
      </p:pic>
      <p:pic>
        <p:nvPicPr>
          <p:cNvPr id="32" name="Picture 31" descr="Icon&#10;&#10;Description automatically generated">
            <a:extLst>
              <a:ext uri="{FF2B5EF4-FFF2-40B4-BE49-F238E27FC236}">
                <a16:creationId xmlns:a16="http://schemas.microsoft.com/office/drawing/2014/main" id="{CA9F44C6-36D2-4839-B8D8-31E96F1499C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62199" y="2234125"/>
            <a:ext cx="337625" cy="337625"/>
          </a:xfrm>
          <a:prstGeom prst="rect">
            <a:avLst/>
          </a:prstGeom>
        </p:spPr>
      </p:pic>
      <p:pic>
        <p:nvPicPr>
          <p:cNvPr id="33" name="Picture 32" descr="Icon&#10;&#10;Description automatically generated">
            <a:extLst>
              <a:ext uri="{FF2B5EF4-FFF2-40B4-BE49-F238E27FC236}">
                <a16:creationId xmlns:a16="http://schemas.microsoft.com/office/drawing/2014/main" id="{62E83DB4-F326-4215-8515-091E728A0E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96235" y="3144713"/>
            <a:ext cx="444347" cy="444347"/>
          </a:xfrm>
          <a:prstGeom prst="rect">
            <a:avLst/>
          </a:prstGeom>
        </p:spPr>
      </p:pic>
      <p:pic>
        <p:nvPicPr>
          <p:cNvPr id="34" name="Picture 33" descr="Icon&#10;&#10;Description automatically generated">
            <a:extLst>
              <a:ext uri="{FF2B5EF4-FFF2-40B4-BE49-F238E27FC236}">
                <a16:creationId xmlns:a16="http://schemas.microsoft.com/office/drawing/2014/main" id="{E5E9708A-5340-4A7E-8805-F9259CD212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410" y="3153541"/>
            <a:ext cx="323480" cy="323480"/>
          </a:xfrm>
          <a:prstGeom prst="rect">
            <a:avLst/>
          </a:prstGeom>
        </p:spPr>
      </p:pic>
      <p:pic>
        <p:nvPicPr>
          <p:cNvPr id="35" name="Picture 34" descr="A picture containing spectacles&#10;&#10;Description automatically generated">
            <a:extLst>
              <a:ext uri="{FF2B5EF4-FFF2-40B4-BE49-F238E27FC236}">
                <a16:creationId xmlns:a16="http://schemas.microsoft.com/office/drawing/2014/main" id="{1204ACC8-E6C6-428E-85B7-C07254328CD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56679" y="1877101"/>
            <a:ext cx="368318" cy="368318"/>
          </a:xfrm>
          <a:prstGeom prst="rect">
            <a:avLst/>
          </a:prstGeom>
        </p:spPr>
      </p:pic>
      <p:pic>
        <p:nvPicPr>
          <p:cNvPr id="36" name="Picture 35" descr="Shape&#10;&#10;Description automatically generated with low confidence">
            <a:extLst>
              <a:ext uri="{FF2B5EF4-FFF2-40B4-BE49-F238E27FC236}">
                <a16:creationId xmlns:a16="http://schemas.microsoft.com/office/drawing/2014/main" id="{6BA77FF4-5621-437A-A120-93E8D3CA5B8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73519" y="3153541"/>
            <a:ext cx="317502" cy="317502"/>
          </a:xfrm>
          <a:prstGeom prst="rect">
            <a:avLst/>
          </a:prstGeom>
        </p:spPr>
      </p:pic>
      <p:pic>
        <p:nvPicPr>
          <p:cNvPr id="37" name="Graphic 36">
            <a:extLst>
              <a:ext uri="{FF2B5EF4-FFF2-40B4-BE49-F238E27FC236}">
                <a16:creationId xmlns:a16="http://schemas.microsoft.com/office/drawing/2014/main" id="{D6A4D409-15E8-445E-83FD-70E06F3C7CC5}"/>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40366" y="3146746"/>
            <a:ext cx="374376" cy="374376"/>
          </a:xfrm>
          <a:prstGeom prst="rect">
            <a:avLst/>
          </a:prstGeom>
        </p:spPr>
      </p:pic>
      <p:pic>
        <p:nvPicPr>
          <p:cNvPr id="38" name="Picture 37" descr="Icon&#10;&#10;Description automatically generated with medium confidence">
            <a:extLst>
              <a:ext uri="{FF2B5EF4-FFF2-40B4-BE49-F238E27FC236}">
                <a16:creationId xmlns:a16="http://schemas.microsoft.com/office/drawing/2014/main" id="{4EAD2EEB-C026-4E01-A751-CC1BCD7EA9F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701631" y="3161589"/>
            <a:ext cx="346989" cy="346989"/>
          </a:xfrm>
          <a:prstGeom prst="rect">
            <a:avLst/>
          </a:prstGeom>
        </p:spPr>
      </p:pic>
      <p:pic>
        <p:nvPicPr>
          <p:cNvPr id="39" name="Picture 38" descr="Icon&#10;&#10;Description automatically generated">
            <a:extLst>
              <a:ext uri="{FF2B5EF4-FFF2-40B4-BE49-F238E27FC236}">
                <a16:creationId xmlns:a16="http://schemas.microsoft.com/office/drawing/2014/main" id="{AB4A4994-5E23-4121-B2AD-F43C817C628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664268" y="2269018"/>
            <a:ext cx="267086" cy="267086"/>
          </a:xfrm>
          <a:prstGeom prst="rect">
            <a:avLst/>
          </a:prstGeom>
        </p:spPr>
      </p:pic>
    </p:spTree>
    <p:extLst>
      <p:ext uri="{BB962C8B-B14F-4D97-AF65-F5344CB8AC3E}">
        <p14:creationId xmlns:p14="http://schemas.microsoft.com/office/powerpoint/2010/main" val="1756585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4ED30FB3-0F3E-4D42-9587-4F0D2F4208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87105" y="2503518"/>
            <a:ext cx="1700318" cy="885188"/>
          </a:xfrm>
          <a:prstGeom prst="rect">
            <a:avLst/>
          </a:prstGeom>
        </p:spPr>
      </p:pic>
      <p:pic>
        <p:nvPicPr>
          <p:cNvPr id="60" name="Picture 59">
            <a:extLst>
              <a:ext uri="{FF2B5EF4-FFF2-40B4-BE49-F238E27FC236}">
                <a16:creationId xmlns:a16="http://schemas.microsoft.com/office/drawing/2014/main" id="{5B249F48-D951-40C4-9973-1AB71614291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87104" y="3449749"/>
            <a:ext cx="1700318" cy="885188"/>
          </a:xfrm>
          <a:prstGeom prst="rect">
            <a:avLst/>
          </a:prstGeom>
        </p:spPr>
      </p:pic>
      <p:pic>
        <p:nvPicPr>
          <p:cNvPr id="62" name="Picture 61">
            <a:extLst>
              <a:ext uri="{FF2B5EF4-FFF2-40B4-BE49-F238E27FC236}">
                <a16:creationId xmlns:a16="http://schemas.microsoft.com/office/drawing/2014/main" id="{0F1116FF-E5D4-4EAA-A6FD-D9B1131A74D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87106" y="1539303"/>
            <a:ext cx="1700318" cy="884728"/>
          </a:xfrm>
          <a:prstGeom prst="rect">
            <a:avLst/>
          </a:prstGeom>
        </p:spPr>
      </p:pic>
      <p:pic>
        <p:nvPicPr>
          <p:cNvPr id="13" name="Picture 12">
            <a:extLst>
              <a:ext uri="{FF2B5EF4-FFF2-40B4-BE49-F238E27FC236}">
                <a16:creationId xmlns:a16="http://schemas.microsoft.com/office/drawing/2014/main" id="{AC8C6C2A-6B82-4F7D-9B9A-749A057240C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768665" y="2804366"/>
            <a:ext cx="1016346" cy="1008904"/>
          </a:xfrm>
          <a:prstGeom prst="rect">
            <a:avLst/>
          </a:prstGeom>
        </p:spPr>
      </p:pic>
      <p:sp>
        <p:nvSpPr>
          <p:cNvPr id="6" name="Rectangle 5">
            <a:extLst>
              <a:ext uri="{FF2B5EF4-FFF2-40B4-BE49-F238E27FC236}">
                <a16:creationId xmlns:a16="http://schemas.microsoft.com/office/drawing/2014/main" id="{E5BF3C9A-EBF3-D3BD-CDB5-8C12D206A4B8}"/>
              </a:ext>
            </a:extLst>
          </p:cNvPr>
          <p:cNvSpPr/>
          <p:nvPr/>
        </p:nvSpPr>
        <p:spPr>
          <a:xfrm>
            <a:off x="2968965" y="1438119"/>
            <a:ext cx="2304327" cy="2879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225"/>
              </a:spcAft>
              <a:buClrTx/>
              <a:buSzPct val="100000"/>
              <a:buFontTx/>
              <a:buNone/>
              <a:tabLst/>
              <a:defRPr/>
            </a:pPr>
            <a:endParaRPr kumimoji="0" lang="en-US" sz="9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7" name="Rectangle 6">
            <a:extLst>
              <a:ext uri="{FF2B5EF4-FFF2-40B4-BE49-F238E27FC236}">
                <a16:creationId xmlns:a16="http://schemas.microsoft.com/office/drawing/2014/main" id="{1A38FE08-820A-D4A5-4566-A964B4C35EE4}"/>
              </a:ext>
            </a:extLst>
          </p:cNvPr>
          <p:cNvSpPr/>
          <p:nvPr/>
        </p:nvSpPr>
        <p:spPr>
          <a:xfrm>
            <a:off x="647242" y="1438120"/>
            <a:ext cx="2253373" cy="28790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225"/>
              </a:spcAft>
              <a:buClrTx/>
              <a:buSzPct val="100000"/>
              <a:buFontTx/>
              <a:buNone/>
              <a:tabLst/>
              <a:defRPr/>
            </a:pPr>
            <a:endParaRPr kumimoji="0" lang="en-US" sz="9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2" name="Text Placeholder 1">
            <a:extLst>
              <a:ext uri="{FF2B5EF4-FFF2-40B4-BE49-F238E27FC236}">
                <a16:creationId xmlns:a16="http://schemas.microsoft.com/office/drawing/2014/main" id="{74F072EE-7AA1-4EB9-87F7-08AE99BBF304}"/>
              </a:ext>
            </a:extLst>
          </p:cNvPr>
          <p:cNvSpPr>
            <a:spLocks noGrp="1"/>
          </p:cNvSpPr>
          <p:nvPr>
            <p:ph type="body" sz="quarter" idx="12"/>
          </p:nvPr>
        </p:nvSpPr>
        <p:spPr/>
        <p:txBody>
          <a:bodyPr/>
          <a:lstStyle/>
          <a:p>
            <a:r>
              <a:rPr lang="en-GB" sz="2250" dirty="0"/>
              <a:t>We have a clear and definitive vision of the metaverse opportunities</a:t>
            </a:r>
          </a:p>
        </p:txBody>
      </p:sp>
      <p:sp>
        <p:nvSpPr>
          <p:cNvPr id="3" name="Text Placeholder 2">
            <a:extLst>
              <a:ext uri="{FF2B5EF4-FFF2-40B4-BE49-F238E27FC236}">
                <a16:creationId xmlns:a16="http://schemas.microsoft.com/office/drawing/2014/main" id="{DC70C5FF-1D75-44E8-8DF3-29CE07F984E5}"/>
              </a:ext>
            </a:extLst>
          </p:cNvPr>
          <p:cNvSpPr>
            <a:spLocks noGrp="1"/>
          </p:cNvSpPr>
          <p:nvPr>
            <p:ph type="body" sz="quarter" idx="13"/>
          </p:nvPr>
        </p:nvSpPr>
        <p:spPr/>
        <p:txBody>
          <a:bodyPr lIns="0" tIns="0" rIns="0" bIns="0" anchor="t"/>
          <a:lstStyle/>
          <a:p>
            <a:r>
              <a:rPr lang="en-GB" dirty="0">
                <a:latin typeface="Nokia Pure Headline Ultra Light"/>
              </a:rPr>
              <a:t>Concepts developed through Bell </a:t>
            </a:r>
            <a:r>
              <a:rPr lang="en-GB">
                <a:latin typeface="Nokia Pure Headline Ultra Light"/>
              </a:rPr>
              <a:t>Labs Research frame </a:t>
            </a:r>
            <a:r>
              <a:rPr lang="en-GB" dirty="0">
                <a:latin typeface="Nokia Pure Headline Ultra Light"/>
              </a:rPr>
              <a:t>this vision </a:t>
            </a:r>
            <a:endParaRPr lang="en-GB" dirty="0"/>
          </a:p>
        </p:txBody>
      </p:sp>
      <p:grpSp>
        <p:nvGrpSpPr>
          <p:cNvPr id="111" name="Group 110">
            <a:extLst>
              <a:ext uri="{FF2B5EF4-FFF2-40B4-BE49-F238E27FC236}">
                <a16:creationId xmlns:a16="http://schemas.microsoft.com/office/drawing/2014/main" id="{6044E468-3918-F85D-9D68-FF021ACCDB07}"/>
              </a:ext>
            </a:extLst>
          </p:cNvPr>
          <p:cNvGrpSpPr/>
          <p:nvPr/>
        </p:nvGrpSpPr>
        <p:grpSpPr>
          <a:xfrm>
            <a:off x="748497" y="1443308"/>
            <a:ext cx="2144040" cy="507831"/>
            <a:chOff x="755805" y="1514149"/>
            <a:chExt cx="2795506" cy="677108"/>
          </a:xfrm>
        </p:grpSpPr>
        <p:grpSp>
          <p:nvGrpSpPr>
            <p:cNvPr id="8" name="Graphic 3">
              <a:extLst>
                <a:ext uri="{FF2B5EF4-FFF2-40B4-BE49-F238E27FC236}">
                  <a16:creationId xmlns:a16="http://schemas.microsoft.com/office/drawing/2014/main" id="{1BD6E387-5E3D-5B9E-1EB1-7AE7D44DE0FD}"/>
                </a:ext>
              </a:extLst>
            </p:cNvPr>
            <p:cNvGrpSpPr>
              <a:grpSpLocks noChangeAspect="1"/>
            </p:cNvGrpSpPr>
            <p:nvPr/>
          </p:nvGrpSpPr>
          <p:grpSpPr>
            <a:xfrm>
              <a:off x="755805" y="1658308"/>
              <a:ext cx="643440" cy="320151"/>
              <a:chOff x="5311806" y="2971975"/>
              <a:chExt cx="429958" cy="190228"/>
            </a:xfrm>
          </p:grpSpPr>
          <p:sp>
            <p:nvSpPr>
              <p:cNvPr id="9" name="Freeform: Shape 28">
                <a:extLst>
                  <a:ext uri="{FF2B5EF4-FFF2-40B4-BE49-F238E27FC236}">
                    <a16:creationId xmlns:a16="http://schemas.microsoft.com/office/drawing/2014/main" id="{B330FB60-29DD-2132-724F-A499DE67F07C}"/>
                  </a:ext>
                </a:extLst>
              </p:cNvPr>
              <p:cNvSpPr/>
              <p:nvPr/>
            </p:nvSpPr>
            <p:spPr>
              <a:xfrm>
                <a:off x="5311806" y="2971975"/>
                <a:ext cx="429958" cy="190228"/>
              </a:xfrm>
              <a:custGeom>
                <a:avLst/>
                <a:gdLst>
                  <a:gd name="connsiteX0" fmla="*/ 54197 w 429958"/>
                  <a:gd name="connsiteY0" fmla="*/ 136794 h 190228"/>
                  <a:gd name="connsiteX1" fmla="*/ 50387 w 429958"/>
                  <a:gd name="connsiteY1" fmla="*/ 23637 h 190228"/>
                  <a:gd name="connsiteX2" fmla="*/ 376333 w 429958"/>
                  <a:gd name="connsiteY2" fmla="*/ 138794 h 190228"/>
                  <a:gd name="connsiteX3" fmla="*/ 381571 w 429958"/>
                  <a:gd name="connsiteY3" fmla="*/ 25637 h 190228"/>
                  <a:gd name="connsiteX4" fmla="*/ 376714 w 429958"/>
                  <a:gd name="connsiteY4" fmla="*/ 138413 h 190228"/>
                  <a:gd name="connsiteX5" fmla="*/ 429673 w 429958"/>
                  <a:gd name="connsiteY5" fmla="*/ 110314 h 190228"/>
                  <a:gd name="connsiteX6" fmla="*/ 429958 w 429958"/>
                  <a:gd name="connsiteY6" fmla="*/ 56974 h 190228"/>
                  <a:gd name="connsiteX7" fmla="*/ 216313 w 429958"/>
                  <a:gd name="connsiteY7" fmla="*/ 15 h 190228"/>
                  <a:gd name="connsiteX8" fmla="*/ 286 w 429958"/>
                  <a:gd name="connsiteY8" fmla="*/ 53736 h 190228"/>
                  <a:gd name="connsiteX9" fmla="*/ 0 w 429958"/>
                  <a:gd name="connsiteY9" fmla="*/ 108028 h 190228"/>
                  <a:gd name="connsiteX10" fmla="*/ 54007 w 429958"/>
                  <a:gd name="connsiteY10" fmla="*/ 135556 h 190228"/>
                  <a:gd name="connsiteX11" fmla="*/ 175165 w 429958"/>
                  <a:gd name="connsiteY11" fmla="*/ 188896 h 190228"/>
                  <a:gd name="connsiteX12" fmla="*/ 194500 w 429958"/>
                  <a:gd name="connsiteY12" fmla="*/ 176132 h 190228"/>
                  <a:gd name="connsiteX13" fmla="*/ 233458 w 429958"/>
                  <a:gd name="connsiteY13" fmla="*/ 176037 h 190228"/>
                  <a:gd name="connsiteX14" fmla="*/ 253460 w 429958"/>
                  <a:gd name="connsiteY14" fmla="*/ 190134 h 190228"/>
                  <a:gd name="connsiteX15" fmla="*/ 376714 w 429958"/>
                  <a:gd name="connsiteY15" fmla="*/ 138413 h 190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58" h="190228">
                    <a:moveTo>
                      <a:pt x="54197" y="136794"/>
                    </a:moveTo>
                    <a:cubicBezTo>
                      <a:pt x="54197" y="136794"/>
                      <a:pt x="46767" y="107647"/>
                      <a:pt x="50387" y="23637"/>
                    </a:cubicBezTo>
                    <a:moveTo>
                      <a:pt x="376333" y="138794"/>
                    </a:moveTo>
                    <a:cubicBezTo>
                      <a:pt x="376333" y="138794"/>
                      <a:pt x="384048" y="109743"/>
                      <a:pt x="381571" y="25637"/>
                    </a:cubicBezTo>
                    <a:moveTo>
                      <a:pt x="376714" y="138413"/>
                    </a:moveTo>
                    <a:cubicBezTo>
                      <a:pt x="419481" y="134889"/>
                      <a:pt x="429673" y="110314"/>
                      <a:pt x="429673" y="110314"/>
                    </a:cubicBezTo>
                    <a:lnTo>
                      <a:pt x="429958" y="56974"/>
                    </a:lnTo>
                    <a:cubicBezTo>
                      <a:pt x="429958" y="56974"/>
                      <a:pt x="392239" y="1063"/>
                      <a:pt x="216313" y="15"/>
                    </a:cubicBezTo>
                    <a:cubicBezTo>
                      <a:pt x="40291" y="-1033"/>
                      <a:pt x="286" y="53736"/>
                      <a:pt x="286" y="53736"/>
                    </a:cubicBezTo>
                    <a:lnTo>
                      <a:pt x="0" y="108028"/>
                    </a:lnTo>
                    <a:cubicBezTo>
                      <a:pt x="0" y="108028"/>
                      <a:pt x="8572" y="133841"/>
                      <a:pt x="54007" y="135556"/>
                    </a:cubicBezTo>
                    <a:cubicBezTo>
                      <a:pt x="54007" y="135556"/>
                      <a:pt x="58959" y="192324"/>
                      <a:pt x="175165" y="188896"/>
                    </a:cubicBezTo>
                    <a:cubicBezTo>
                      <a:pt x="175165" y="188896"/>
                      <a:pt x="183071" y="190800"/>
                      <a:pt x="194500" y="176132"/>
                    </a:cubicBezTo>
                    <a:cubicBezTo>
                      <a:pt x="205930" y="161464"/>
                      <a:pt x="217741" y="152034"/>
                      <a:pt x="233458" y="176037"/>
                    </a:cubicBezTo>
                    <a:cubicBezTo>
                      <a:pt x="233458" y="176037"/>
                      <a:pt x="242792" y="189943"/>
                      <a:pt x="253460" y="190134"/>
                    </a:cubicBezTo>
                    <a:cubicBezTo>
                      <a:pt x="368808" y="192801"/>
                      <a:pt x="376714" y="138413"/>
                      <a:pt x="376714" y="138413"/>
                    </a:cubicBezTo>
                    <a:close/>
                  </a:path>
                </a:pathLst>
              </a:custGeom>
              <a:noFill/>
              <a:ln w="15875" cap="flat">
                <a:solidFill>
                  <a:schemeClr val="tx2"/>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0" name="Freeform: Shape 29">
                <a:extLst>
                  <a:ext uri="{FF2B5EF4-FFF2-40B4-BE49-F238E27FC236}">
                    <a16:creationId xmlns:a16="http://schemas.microsoft.com/office/drawing/2014/main" id="{29B4E907-C875-5F7E-325E-9D68BED07805}"/>
                  </a:ext>
                </a:extLst>
              </p:cNvPr>
              <p:cNvSpPr/>
              <p:nvPr/>
            </p:nvSpPr>
            <p:spPr>
              <a:xfrm>
                <a:off x="5401137" y="3019315"/>
                <a:ext cx="39555" cy="39513"/>
              </a:xfrm>
              <a:custGeom>
                <a:avLst/>
                <a:gdLst>
                  <a:gd name="connsiteX0" fmla="*/ 3347 w 39555"/>
                  <a:gd name="connsiteY0" fmla="*/ 30779 h 39513"/>
                  <a:gd name="connsiteX1" fmla="*/ 8776 w 39555"/>
                  <a:gd name="connsiteY1" fmla="*/ 3347 h 39513"/>
                  <a:gd name="connsiteX2" fmla="*/ 36209 w 39555"/>
                  <a:gd name="connsiteY2" fmla="*/ 8777 h 39513"/>
                  <a:gd name="connsiteX3" fmla="*/ 30779 w 39555"/>
                  <a:gd name="connsiteY3" fmla="*/ 36208 h 39513"/>
                  <a:gd name="connsiteX4" fmla="*/ 3347 w 39555"/>
                  <a:gd name="connsiteY4" fmla="*/ 30779 h 39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555" h="39513">
                    <a:moveTo>
                      <a:pt x="3347" y="30779"/>
                    </a:moveTo>
                    <a:cubicBezTo>
                      <a:pt x="-2749" y="21731"/>
                      <a:pt x="-272" y="9443"/>
                      <a:pt x="8776" y="3347"/>
                    </a:cubicBezTo>
                    <a:cubicBezTo>
                      <a:pt x="17825" y="-2749"/>
                      <a:pt x="30112" y="-272"/>
                      <a:pt x="36209" y="8777"/>
                    </a:cubicBezTo>
                    <a:cubicBezTo>
                      <a:pt x="42304" y="17825"/>
                      <a:pt x="39828" y="30112"/>
                      <a:pt x="30779" y="36208"/>
                    </a:cubicBezTo>
                    <a:cubicBezTo>
                      <a:pt x="21730" y="42209"/>
                      <a:pt x="9443" y="39828"/>
                      <a:pt x="3347" y="30779"/>
                    </a:cubicBezTo>
                  </a:path>
                </a:pathLst>
              </a:custGeom>
              <a:noFill/>
              <a:ln w="15875" cap="flat">
                <a:solidFill>
                  <a:schemeClr val="tx2"/>
                </a:solidFill>
                <a:prstDash val="solid"/>
                <a:miter/>
              </a:ln>
            </p:spPr>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grpSp>
        <p:sp>
          <p:nvSpPr>
            <p:cNvPr id="61" name="TextBox 60">
              <a:extLst>
                <a:ext uri="{FF2B5EF4-FFF2-40B4-BE49-F238E27FC236}">
                  <a16:creationId xmlns:a16="http://schemas.microsoft.com/office/drawing/2014/main" id="{8635446D-9EE8-8584-7125-F7E836F8C1F6}"/>
                </a:ext>
              </a:extLst>
            </p:cNvPr>
            <p:cNvSpPr txBox="1"/>
            <p:nvPr/>
          </p:nvSpPr>
          <p:spPr>
            <a:xfrm>
              <a:off x="1448564" y="1514149"/>
              <a:ext cx="2102747" cy="677108"/>
            </a:xfrm>
            <a:prstGeom prst="rect">
              <a:avLst/>
            </a:prstGeom>
            <a:noFill/>
            <a:ln>
              <a:solidFill>
                <a:schemeClr val="bg1"/>
              </a:solid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Human Augmentation</a:t>
              </a:r>
              <a:endParaRPr kumimoji="0" lang="en-US" sz="13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endParaRPr>
            </a:p>
          </p:txBody>
        </p:sp>
      </p:grpSp>
      <p:grpSp>
        <p:nvGrpSpPr>
          <p:cNvPr id="112" name="Group 111">
            <a:extLst>
              <a:ext uri="{FF2B5EF4-FFF2-40B4-BE49-F238E27FC236}">
                <a16:creationId xmlns:a16="http://schemas.microsoft.com/office/drawing/2014/main" id="{6007F34E-F00C-5881-8E51-4B80BB7CA133}"/>
              </a:ext>
            </a:extLst>
          </p:cNvPr>
          <p:cNvGrpSpPr/>
          <p:nvPr/>
        </p:nvGrpSpPr>
        <p:grpSpPr>
          <a:xfrm>
            <a:off x="3117810" y="1455973"/>
            <a:ext cx="2286025" cy="715581"/>
            <a:chOff x="3842033" y="1517362"/>
            <a:chExt cx="2980632" cy="954108"/>
          </a:xfrm>
        </p:grpSpPr>
        <p:grpSp>
          <p:nvGrpSpPr>
            <p:cNvPr id="11" name="Group 4">
              <a:extLst>
                <a:ext uri="{FF2B5EF4-FFF2-40B4-BE49-F238E27FC236}">
                  <a16:creationId xmlns:a16="http://schemas.microsoft.com/office/drawing/2014/main" id="{DEEF3E86-2583-311D-5F65-DD0798B902CD}"/>
                </a:ext>
              </a:extLst>
            </p:cNvPr>
            <p:cNvGrpSpPr>
              <a:grpSpLocks noChangeAspect="1"/>
            </p:cNvGrpSpPr>
            <p:nvPr/>
          </p:nvGrpSpPr>
          <p:grpSpPr bwMode="auto">
            <a:xfrm>
              <a:off x="3842033" y="1645965"/>
              <a:ext cx="746276" cy="360794"/>
              <a:chOff x="2003" y="2635"/>
              <a:chExt cx="393" cy="190"/>
            </a:xfrm>
          </p:grpSpPr>
          <p:sp>
            <p:nvSpPr>
              <p:cNvPr id="15" name="Freeform 5">
                <a:extLst>
                  <a:ext uri="{FF2B5EF4-FFF2-40B4-BE49-F238E27FC236}">
                    <a16:creationId xmlns:a16="http://schemas.microsoft.com/office/drawing/2014/main" id="{08B77BDB-791C-E63B-8EFC-FB2EC16285CC}"/>
                  </a:ext>
                </a:extLst>
              </p:cNvPr>
              <p:cNvSpPr>
                <a:spLocks noEditPoints="1"/>
              </p:cNvSpPr>
              <p:nvPr/>
            </p:nvSpPr>
            <p:spPr bwMode="auto">
              <a:xfrm>
                <a:off x="2003" y="2635"/>
                <a:ext cx="184" cy="190"/>
              </a:xfrm>
              <a:custGeom>
                <a:avLst/>
                <a:gdLst>
                  <a:gd name="T0" fmla="*/ 385 w 474"/>
                  <a:gd name="T1" fmla="*/ 473 h 473"/>
                  <a:gd name="T2" fmla="*/ 385 w 474"/>
                  <a:gd name="T3" fmla="*/ 473 h 473"/>
                  <a:gd name="T4" fmla="*/ 385 w 474"/>
                  <a:gd name="T5" fmla="*/ 357 h 473"/>
                  <a:gd name="T6" fmla="*/ 312 w 474"/>
                  <a:gd name="T7" fmla="*/ 357 h 473"/>
                  <a:gd name="T8" fmla="*/ 312 w 474"/>
                  <a:gd name="T9" fmla="*/ 473 h 473"/>
                  <a:gd name="T10" fmla="*/ 0 w 474"/>
                  <a:gd name="T11" fmla="*/ 473 h 473"/>
                  <a:gd name="T12" fmla="*/ 0 w 474"/>
                  <a:gd name="T13" fmla="*/ 177 h 473"/>
                  <a:gd name="T14" fmla="*/ 119 w 474"/>
                  <a:gd name="T15" fmla="*/ 236 h 473"/>
                  <a:gd name="T16" fmla="*/ 119 w 474"/>
                  <a:gd name="T17" fmla="*/ 177 h 473"/>
                  <a:gd name="T18" fmla="*/ 237 w 474"/>
                  <a:gd name="T19" fmla="*/ 236 h 473"/>
                  <a:gd name="T20" fmla="*/ 237 w 474"/>
                  <a:gd name="T21" fmla="*/ 177 h 473"/>
                  <a:gd name="T22" fmla="*/ 356 w 474"/>
                  <a:gd name="T23" fmla="*/ 236 h 473"/>
                  <a:gd name="T24" fmla="*/ 413 w 474"/>
                  <a:gd name="T25" fmla="*/ 0 h 473"/>
                  <a:gd name="T26" fmla="*/ 474 w 474"/>
                  <a:gd name="T27" fmla="*/ 0 h 473"/>
                  <a:gd name="T28" fmla="*/ 474 w 474"/>
                  <a:gd name="T29" fmla="*/ 295 h 473"/>
                  <a:gd name="T30" fmla="*/ 474 w 474"/>
                  <a:gd name="T31" fmla="*/ 473 h 473"/>
                  <a:gd name="T32" fmla="*/ 385 w 474"/>
                  <a:gd name="T33" fmla="*/ 473 h 473"/>
                  <a:gd name="T34" fmla="*/ 385 w 474"/>
                  <a:gd name="T35" fmla="*/ 473 h 473"/>
                  <a:gd name="T36" fmla="*/ 59 w 474"/>
                  <a:gd name="T37" fmla="*/ 416 h 473"/>
                  <a:gd name="T38" fmla="*/ 59 w 474"/>
                  <a:gd name="T39" fmla="*/ 416 h 473"/>
                  <a:gd name="T40" fmla="*/ 119 w 474"/>
                  <a:gd name="T41" fmla="*/ 416 h 473"/>
                  <a:gd name="T42" fmla="*/ 119 w 474"/>
                  <a:gd name="T43" fmla="*/ 357 h 473"/>
                  <a:gd name="T44" fmla="*/ 59 w 474"/>
                  <a:gd name="T45" fmla="*/ 357 h 473"/>
                  <a:gd name="T46" fmla="*/ 59 w 474"/>
                  <a:gd name="T47" fmla="*/ 416 h 473"/>
                  <a:gd name="T48" fmla="*/ 178 w 474"/>
                  <a:gd name="T49" fmla="*/ 416 h 473"/>
                  <a:gd name="T50" fmla="*/ 178 w 474"/>
                  <a:gd name="T51" fmla="*/ 416 h 473"/>
                  <a:gd name="T52" fmla="*/ 237 w 474"/>
                  <a:gd name="T53" fmla="*/ 416 h 473"/>
                  <a:gd name="T54" fmla="*/ 237 w 474"/>
                  <a:gd name="T55" fmla="*/ 357 h 473"/>
                  <a:gd name="T56" fmla="*/ 178 w 474"/>
                  <a:gd name="T57" fmla="*/ 357 h 473"/>
                  <a:gd name="T58" fmla="*/ 178 w 474"/>
                  <a:gd name="T59" fmla="*/ 4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4" h="473">
                    <a:moveTo>
                      <a:pt x="385" y="473"/>
                    </a:moveTo>
                    <a:lnTo>
                      <a:pt x="385" y="473"/>
                    </a:lnTo>
                    <a:lnTo>
                      <a:pt x="385" y="357"/>
                    </a:lnTo>
                    <a:lnTo>
                      <a:pt x="312" y="357"/>
                    </a:lnTo>
                    <a:lnTo>
                      <a:pt x="312" y="473"/>
                    </a:lnTo>
                    <a:lnTo>
                      <a:pt x="0" y="473"/>
                    </a:lnTo>
                    <a:lnTo>
                      <a:pt x="0" y="177"/>
                    </a:lnTo>
                    <a:lnTo>
                      <a:pt x="119" y="236"/>
                    </a:lnTo>
                    <a:lnTo>
                      <a:pt x="119" y="177"/>
                    </a:lnTo>
                    <a:lnTo>
                      <a:pt x="237" y="236"/>
                    </a:lnTo>
                    <a:lnTo>
                      <a:pt x="237" y="177"/>
                    </a:lnTo>
                    <a:lnTo>
                      <a:pt x="356" y="236"/>
                    </a:lnTo>
                    <a:lnTo>
                      <a:pt x="413" y="0"/>
                    </a:lnTo>
                    <a:lnTo>
                      <a:pt x="474" y="0"/>
                    </a:lnTo>
                    <a:lnTo>
                      <a:pt x="474" y="295"/>
                    </a:lnTo>
                    <a:lnTo>
                      <a:pt x="474" y="473"/>
                    </a:lnTo>
                    <a:lnTo>
                      <a:pt x="385" y="473"/>
                    </a:lnTo>
                    <a:lnTo>
                      <a:pt x="385" y="473"/>
                    </a:lnTo>
                    <a:close/>
                    <a:moveTo>
                      <a:pt x="59" y="416"/>
                    </a:moveTo>
                    <a:lnTo>
                      <a:pt x="59" y="416"/>
                    </a:lnTo>
                    <a:lnTo>
                      <a:pt x="119" y="416"/>
                    </a:lnTo>
                    <a:lnTo>
                      <a:pt x="119" y="357"/>
                    </a:lnTo>
                    <a:lnTo>
                      <a:pt x="59" y="357"/>
                    </a:lnTo>
                    <a:lnTo>
                      <a:pt x="59" y="416"/>
                    </a:lnTo>
                    <a:close/>
                    <a:moveTo>
                      <a:pt x="178" y="416"/>
                    </a:moveTo>
                    <a:lnTo>
                      <a:pt x="178" y="416"/>
                    </a:lnTo>
                    <a:lnTo>
                      <a:pt x="237" y="416"/>
                    </a:lnTo>
                    <a:lnTo>
                      <a:pt x="237" y="357"/>
                    </a:lnTo>
                    <a:lnTo>
                      <a:pt x="178" y="357"/>
                    </a:lnTo>
                    <a:lnTo>
                      <a:pt x="178" y="416"/>
                    </a:ln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6" name="Freeform 6">
                <a:extLst>
                  <a:ext uri="{FF2B5EF4-FFF2-40B4-BE49-F238E27FC236}">
                    <a16:creationId xmlns:a16="http://schemas.microsoft.com/office/drawing/2014/main" id="{54E31888-9FF1-6AE5-1267-C1AB135C50BA}"/>
                  </a:ext>
                </a:extLst>
              </p:cNvPr>
              <p:cNvSpPr>
                <a:spLocks/>
              </p:cNvSpPr>
              <p:nvPr/>
            </p:nvSpPr>
            <p:spPr bwMode="auto">
              <a:xfrm>
                <a:off x="2281" y="2778"/>
                <a:ext cx="23" cy="24"/>
              </a:xfrm>
              <a:custGeom>
                <a:avLst/>
                <a:gdLst>
                  <a:gd name="T0" fmla="*/ 0 w 59"/>
                  <a:gd name="T1" fmla="*/ 59 h 59"/>
                  <a:gd name="T2" fmla="*/ 0 w 59"/>
                  <a:gd name="T3" fmla="*/ 59 h 59"/>
                  <a:gd name="T4" fmla="*/ 59 w 59"/>
                  <a:gd name="T5" fmla="*/ 59 h 59"/>
                  <a:gd name="T6" fmla="*/ 59 w 59"/>
                  <a:gd name="T7" fmla="*/ 0 h 59"/>
                  <a:gd name="T8" fmla="*/ 0 w 59"/>
                  <a:gd name="T9" fmla="*/ 0 h 59"/>
                  <a:gd name="T10" fmla="*/ 0 w 59"/>
                  <a:gd name="T11" fmla="*/ 59 h 59"/>
                </a:gdLst>
                <a:ahLst/>
                <a:cxnLst>
                  <a:cxn ang="0">
                    <a:pos x="T0" y="T1"/>
                  </a:cxn>
                  <a:cxn ang="0">
                    <a:pos x="T2" y="T3"/>
                  </a:cxn>
                  <a:cxn ang="0">
                    <a:pos x="T4" y="T5"/>
                  </a:cxn>
                  <a:cxn ang="0">
                    <a:pos x="T6" y="T7"/>
                  </a:cxn>
                  <a:cxn ang="0">
                    <a:pos x="T8" y="T9"/>
                  </a:cxn>
                  <a:cxn ang="0">
                    <a:pos x="T10" y="T11"/>
                  </a:cxn>
                </a:cxnLst>
                <a:rect l="0" t="0" r="r" b="b"/>
                <a:pathLst>
                  <a:path w="59" h="59">
                    <a:moveTo>
                      <a:pt x="0" y="59"/>
                    </a:moveTo>
                    <a:lnTo>
                      <a:pt x="0" y="59"/>
                    </a:lnTo>
                    <a:lnTo>
                      <a:pt x="59" y="59"/>
                    </a:lnTo>
                    <a:lnTo>
                      <a:pt x="59" y="0"/>
                    </a:lnTo>
                    <a:lnTo>
                      <a:pt x="0" y="0"/>
                    </a:lnTo>
                    <a:lnTo>
                      <a:pt x="0" y="59"/>
                    </a:ln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8" name="Freeform 7">
                <a:extLst>
                  <a:ext uri="{FF2B5EF4-FFF2-40B4-BE49-F238E27FC236}">
                    <a16:creationId xmlns:a16="http://schemas.microsoft.com/office/drawing/2014/main" id="{38586962-F139-F72A-8C5C-4722786B101F}"/>
                  </a:ext>
                </a:extLst>
              </p:cNvPr>
              <p:cNvSpPr>
                <a:spLocks/>
              </p:cNvSpPr>
              <p:nvPr/>
            </p:nvSpPr>
            <p:spPr bwMode="auto">
              <a:xfrm>
                <a:off x="2236" y="2778"/>
                <a:ext cx="23" cy="24"/>
              </a:xfrm>
              <a:custGeom>
                <a:avLst/>
                <a:gdLst>
                  <a:gd name="T0" fmla="*/ 0 w 59"/>
                  <a:gd name="T1" fmla="*/ 59 h 59"/>
                  <a:gd name="T2" fmla="*/ 0 w 59"/>
                  <a:gd name="T3" fmla="*/ 59 h 59"/>
                  <a:gd name="T4" fmla="*/ 59 w 59"/>
                  <a:gd name="T5" fmla="*/ 59 h 59"/>
                  <a:gd name="T6" fmla="*/ 59 w 59"/>
                  <a:gd name="T7" fmla="*/ 0 h 59"/>
                  <a:gd name="T8" fmla="*/ 0 w 59"/>
                  <a:gd name="T9" fmla="*/ 0 h 59"/>
                  <a:gd name="T10" fmla="*/ 0 w 59"/>
                  <a:gd name="T11" fmla="*/ 59 h 59"/>
                </a:gdLst>
                <a:ahLst/>
                <a:cxnLst>
                  <a:cxn ang="0">
                    <a:pos x="T0" y="T1"/>
                  </a:cxn>
                  <a:cxn ang="0">
                    <a:pos x="T2" y="T3"/>
                  </a:cxn>
                  <a:cxn ang="0">
                    <a:pos x="T4" y="T5"/>
                  </a:cxn>
                  <a:cxn ang="0">
                    <a:pos x="T6" y="T7"/>
                  </a:cxn>
                  <a:cxn ang="0">
                    <a:pos x="T8" y="T9"/>
                  </a:cxn>
                  <a:cxn ang="0">
                    <a:pos x="T10" y="T11"/>
                  </a:cxn>
                </a:cxnLst>
                <a:rect l="0" t="0" r="r" b="b"/>
                <a:pathLst>
                  <a:path w="59" h="59">
                    <a:moveTo>
                      <a:pt x="0" y="59"/>
                    </a:moveTo>
                    <a:lnTo>
                      <a:pt x="0" y="59"/>
                    </a:lnTo>
                    <a:lnTo>
                      <a:pt x="59" y="59"/>
                    </a:lnTo>
                    <a:lnTo>
                      <a:pt x="59" y="0"/>
                    </a:lnTo>
                    <a:lnTo>
                      <a:pt x="0" y="0"/>
                    </a:lnTo>
                    <a:lnTo>
                      <a:pt x="0" y="59"/>
                    </a:lnTo>
                    <a:close/>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9" name="Freeform 8">
                <a:extLst>
                  <a:ext uri="{FF2B5EF4-FFF2-40B4-BE49-F238E27FC236}">
                    <a16:creationId xmlns:a16="http://schemas.microsoft.com/office/drawing/2014/main" id="{86369B84-60EE-8A7A-9093-CFD35DC53D3A}"/>
                  </a:ext>
                </a:extLst>
              </p:cNvPr>
              <p:cNvSpPr>
                <a:spLocks/>
              </p:cNvSpPr>
              <p:nvPr/>
            </p:nvSpPr>
            <p:spPr bwMode="auto">
              <a:xfrm>
                <a:off x="2362" y="2812"/>
                <a:ext cx="12" cy="13"/>
              </a:xfrm>
              <a:custGeom>
                <a:avLst/>
                <a:gdLst>
                  <a:gd name="T0" fmla="*/ 33 w 33"/>
                  <a:gd name="T1" fmla="*/ 33 h 33"/>
                  <a:gd name="T2" fmla="*/ 33 w 33"/>
                  <a:gd name="T3" fmla="*/ 33 h 33"/>
                  <a:gd name="T4" fmla="*/ 0 w 33"/>
                  <a:gd name="T5" fmla="*/ 33 h 33"/>
                  <a:gd name="T6" fmla="*/ 0 w 33"/>
                  <a:gd name="T7" fmla="*/ 0 h 33"/>
                </a:gdLst>
                <a:ahLst/>
                <a:cxnLst>
                  <a:cxn ang="0">
                    <a:pos x="T0" y="T1"/>
                  </a:cxn>
                  <a:cxn ang="0">
                    <a:pos x="T2" y="T3"/>
                  </a:cxn>
                  <a:cxn ang="0">
                    <a:pos x="T4" y="T5"/>
                  </a:cxn>
                  <a:cxn ang="0">
                    <a:pos x="T6" y="T7"/>
                  </a:cxn>
                </a:cxnLst>
                <a:rect l="0" t="0" r="r" b="b"/>
                <a:pathLst>
                  <a:path w="33" h="33">
                    <a:moveTo>
                      <a:pt x="33" y="33"/>
                    </a:moveTo>
                    <a:lnTo>
                      <a:pt x="33" y="33"/>
                    </a:lnTo>
                    <a:lnTo>
                      <a:pt x="0" y="33"/>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0" name="Freeform 9">
                <a:extLst>
                  <a:ext uri="{FF2B5EF4-FFF2-40B4-BE49-F238E27FC236}">
                    <a16:creationId xmlns:a16="http://schemas.microsoft.com/office/drawing/2014/main" id="{6B08F856-FFCB-7A79-A6A1-7BBD424F89AA}"/>
                  </a:ext>
                </a:extLst>
              </p:cNvPr>
              <p:cNvSpPr>
                <a:spLocks/>
              </p:cNvSpPr>
              <p:nvPr/>
            </p:nvSpPr>
            <p:spPr bwMode="auto">
              <a:xfrm>
                <a:off x="2349" y="2778"/>
                <a:ext cx="13" cy="14"/>
              </a:xfrm>
              <a:custGeom>
                <a:avLst/>
                <a:gdLst>
                  <a:gd name="T0" fmla="*/ 33 w 33"/>
                  <a:gd name="T1" fmla="*/ 34 h 34"/>
                  <a:gd name="T2" fmla="*/ 33 w 33"/>
                  <a:gd name="T3" fmla="*/ 34 h 34"/>
                  <a:gd name="T4" fmla="*/ 33 w 33"/>
                  <a:gd name="T5" fmla="*/ 0 h 34"/>
                  <a:gd name="T6" fmla="*/ 0 w 33"/>
                  <a:gd name="T7" fmla="*/ 0 h 34"/>
                </a:gdLst>
                <a:ahLst/>
                <a:cxnLst>
                  <a:cxn ang="0">
                    <a:pos x="T0" y="T1"/>
                  </a:cxn>
                  <a:cxn ang="0">
                    <a:pos x="T2" y="T3"/>
                  </a:cxn>
                  <a:cxn ang="0">
                    <a:pos x="T4" y="T5"/>
                  </a:cxn>
                  <a:cxn ang="0">
                    <a:pos x="T6" y="T7"/>
                  </a:cxn>
                </a:cxnLst>
                <a:rect l="0" t="0" r="r" b="b"/>
                <a:pathLst>
                  <a:path w="33" h="34">
                    <a:moveTo>
                      <a:pt x="33" y="34"/>
                    </a:moveTo>
                    <a:lnTo>
                      <a:pt x="33" y="34"/>
                    </a:lnTo>
                    <a:lnTo>
                      <a:pt x="33"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1" name="Freeform 10">
                <a:extLst>
                  <a:ext uri="{FF2B5EF4-FFF2-40B4-BE49-F238E27FC236}">
                    <a16:creationId xmlns:a16="http://schemas.microsoft.com/office/drawing/2014/main" id="{C00A06E5-BE00-6DF5-67BD-FE2DD147BF4C}"/>
                  </a:ext>
                </a:extLst>
              </p:cNvPr>
              <p:cNvSpPr>
                <a:spLocks/>
              </p:cNvSpPr>
              <p:nvPr/>
            </p:nvSpPr>
            <p:spPr bwMode="auto">
              <a:xfrm>
                <a:off x="2334" y="2778"/>
                <a:ext cx="12" cy="14"/>
              </a:xfrm>
              <a:custGeom>
                <a:avLst/>
                <a:gdLst>
                  <a:gd name="T0" fmla="*/ 33 w 33"/>
                  <a:gd name="T1" fmla="*/ 0 h 34"/>
                  <a:gd name="T2" fmla="*/ 33 w 33"/>
                  <a:gd name="T3" fmla="*/ 0 h 34"/>
                  <a:gd name="T4" fmla="*/ 0 w 33"/>
                  <a:gd name="T5" fmla="*/ 0 h 34"/>
                  <a:gd name="T6" fmla="*/ 0 w 33"/>
                  <a:gd name="T7" fmla="*/ 34 h 34"/>
                </a:gdLst>
                <a:ahLst/>
                <a:cxnLst>
                  <a:cxn ang="0">
                    <a:pos x="T0" y="T1"/>
                  </a:cxn>
                  <a:cxn ang="0">
                    <a:pos x="T2" y="T3"/>
                  </a:cxn>
                  <a:cxn ang="0">
                    <a:pos x="T4" y="T5"/>
                  </a:cxn>
                  <a:cxn ang="0">
                    <a:pos x="T6" y="T7"/>
                  </a:cxn>
                </a:cxnLst>
                <a:rect l="0" t="0" r="r" b="b"/>
                <a:pathLst>
                  <a:path w="33" h="34">
                    <a:moveTo>
                      <a:pt x="33" y="0"/>
                    </a:moveTo>
                    <a:lnTo>
                      <a:pt x="33" y="0"/>
                    </a:lnTo>
                    <a:lnTo>
                      <a:pt x="0" y="0"/>
                    </a:lnTo>
                    <a:lnTo>
                      <a:pt x="0" y="34"/>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2" name="Freeform 11">
                <a:extLst>
                  <a:ext uri="{FF2B5EF4-FFF2-40B4-BE49-F238E27FC236}">
                    <a16:creationId xmlns:a16="http://schemas.microsoft.com/office/drawing/2014/main" id="{C2437282-4F96-B7BF-996F-B16CCE68C49C}"/>
                  </a:ext>
                </a:extLst>
              </p:cNvPr>
              <p:cNvSpPr>
                <a:spLocks/>
              </p:cNvSpPr>
              <p:nvPr/>
            </p:nvSpPr>
            <p:spPr bwMode="auto">
              <a:xfrm>
                <a:off x="2321" y="2812"/>
                <a:ext cx="13" cy="13"/>
              </a:xfrm>
              <a:custGeom>
                <a:avLst/>
                <a:gdLst>
                  <a:gd name="T0" fmla="*/ 34 w 34"/>
                  <a:gd name="T1" fmla="*/ 0 h 33"/>
                  <a:gd name="T2" fmla="*/ 34 w 34"/>
                  <a:gd name="T3" fmla="*/ 0 h 33"/>
                  <a:gd name="T4" fmla="*/ 34 w 34"/>
                  <a:gd name="T5" fmla="*/ 33 h 33"/>
                  <a:gd name="T6" fmla="*/ 0 w 34"/>
                  <a:gd name="T7" fmla="*/ 33 h 33"/>
                </a:gdLst>
                <a:ahLst/>
                <a:cxnLst>
                  <a:cxn ang="0">
                    <a:pos x="T0" y="T1"/>
                  </a:cxn>
                  <a:cxn ang="0">
                    <a:pos x="T2" y="T3"/>
                  </a:cxn>
                  <a:cxn ang="0">
                    <a:pos x="T4" y="T5"/>
                  </a:cxn>
                  <a:cxn ang="0">
                    <a:pos x="T6" y="T7"/>
                  </a:cxn>
                </a:cxnLst>
                <a:rect l="0" t="0" r="r" b="b"/>
                <a:pathLst>
                  <a:path w="34" h="33">
                    <a:moveTo>
                      <a:pt x="34" y="0"/>
                    </a:moveTo>
                    <a:lnTo>
                      <a:pt x="34" y="0"/>
                    </a:lnTo>
                    <a:lnTo>
                      <a:pt x="34" y="33"/>
                    </a:lnTo>
                    <a:lnTo>
                      <a:pt x="0" y="3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3" name="Freeform 12">
                <a:extLst>
                  <a:ext uri="{FF2B5EF4-FFF2-40B4-BE49-F238E27FC236}">
                    <a16:creationId xmlns:a16="http://schemas.microsoft.com/office/drawing/2014/main" id="{4DC52AF4-43CD-2A10-0222-0A52639138F9}"/>
                  </a:ext>
                </a:extLst>
              </p:cNvPr>
              <p:cNvSpPr>
                <a:spLocks noEditPoints="1"/>
              </p:cNvSpPr>
              <p:nvPr/>
            </p:nvSpPr>
            <p:spPr bwMode="auto">
              <a:xfrm>
                <a:off x="2240" y="2825"/>
                <a:ext cx="65" cy="0"/>
              </a:xfrm>
              <a:custGeom>
                <a:avLst/>
                <a:gdLst>
                  <a:gd name="T0" fmla="*/ 168 w 168"/>
                  <a:gd name="T1" fmla="*/ 168 w 168"/>
                  <a:gd name="T2" fmla="*/ 104 w 168"/>
                  <a:gd name="T3" fmla="*/ 65 w 168"/>
                  <a:gd name="T4" fmla="*/ 65 w 168"/>
                  <a:gd name="T5" fmla="*/ 0 w 168"/>
                </a:gdLst>
                <a:ahLst/>
                <a:cxnLst>
                  <a:cxn ang="0">
                    <a:pos x="T0" y="0"/>
                  </a:cxn>
                  <a:cxn ang="0">
                    <a:pos x="T1" y="0"/>
                  </a:cxn>
                  <a:cxn ang="0">
                    <a:pos x="T2" y="0"/>
                  </a:cxn>
                  <a:cxn ang="0">
                    <a:pos x="T3" y="0"/>
                  </a:cxn>
                  <a:cxn ang="0">
                    <a:pos x="T4" y="0"/>
                  </a:cxn>
                  <a:cxn ang="0">
                    <a:pos x="T5" y="0"/>
                  </a:cxn>
                </a:cxnLst>
                <a:rect l="0" t="0" r="r" b="b"/>
                <a:pathLst>
                  <a:path w="168">
                    <a:moveTo>
                      <a:pt x="168" y="0"/>
                    </a:moveTo>
                    <a:lnTo>
                      <a:pt x="168" y="0"/>
                    </a:lnTo>
                    <a:lnTo>
                      <a:pt x="104" y="0"/>
                    </a:lnTo>
                    <a:moveTo>
                      <a:pt x="65" y="0"/>
                    </a:moveTo>
                    <a:lnTo>
                      <a:pt x="65" y="0"/>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4" name="Freeform 13">
                <a:extLst>
                  <a:ext uri="{FF2B5EF4-FFF2-40B4-BE49-F238E27FC236}">
                    <a16:creationId xmlns:a16="http://schemas.microsoft.com/office/drawing/2014/main" id="{DE2CC5E5-73DD-53A4-16A5-AC9B706E6958}"/>
                  </a:ext>
                </a:extLst>
              </p:cNvPr>
              <p:cNvSpPr>
                <a:spLocks/>
              </p:cNvSpPr>
              <p:nvPr/>
            </p:nvSpPr>
            <p:spPr bwMode="auto">
              <a:xfrm>
                <a:off x="2212" y="2812"/>
                <a:ext cx="14" cy="13"/>
              </a:xfrm>
              <a:custGeom>
                <a:avLst/>
                <a:gdLst>
                  <a:gd name="T0" fmla="*/ 34 w 34"/>
                  <a:gd name="T1" fmla="*/ 33 h 33"/>
                  <a:gd name="T2" fmla="*/ 34 w 34"/>
                  <a:gd name="T3" fmla="*/ 33 h 33"/>
                  <a:gd name="T4" fmla="*/ 0 w 34"/>
                  <a:gd name="T5" fmla="*/ 33 h 33"/>
                  <a:gd name="T6" fmla="*/ 0 w 34"/>
                  <a:gd name="T7" fmla="*/ 0 h 33"/>
                </a:gdLst>
                <a:ahLst/>
                <a:cxnLst>
                  <a:cxn ang="0">
                    <a:pos x="T0" y="T1"/>
                  </a:cxn>
                  <a:cxn ang="0">
                    <a:pos x="T2" y="T3"/>
                  </a:cxn>
                  <a:cxn ang="0">
                    <a:pos x="T4" y="T5"/>
                  </a:cxn>
                  <a:cxn ang="0">
                    <a:pos x="T6" y="T7"/>
                  </a:cxn>
                </a:cxnLst>
                <a:rect l="0" t="0" r="r" b="b"/>
                <a:pathLst>
                  <a:path w="34" h="33">
                    <a:moveTo>
                      <a:pt x="34" y="33"/>
                    </a:moveTo>
                    <a:lnTo>
                      <a:pt x="34" y="33"/>
                    </a:lnTo>
                    <a:lnTo>
                      <a:pt x="0" y="33"/>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5" name="Freeform 14">
                <a:extLst>
                  <a:ext uri="{FF2B5EF4-FFF2-40B4-BE49-F238E27FC236}">
                    <a16:creationId xmlns:a16="http://schemas.microsoft.com/office/drawing/2014/main" id="{2F16EF80-842B-25C2-BBAB-407B9872C64E}"/>
                  </a:ext>
                </a:extLst>
              </p:cNvPr>
              <p:cNvSpPr>
                <a:spLocks noEditPoints="1"/>
              </p:cNvSpPr>
              <p:nvPr/>
            </p:nvSpPr>
            <p:spPr bwMode="auto">
              <a:xfrm>
                <a:off x="2212" y="2734"/>
                <a:ext cx="0" cy="63"/>
              </a:xfrm>
              <a:custGeom>
                <a:avLst/>
                <a:gdLst>
                  <a:gd name="T0" fmla="*/ 157 h 157"/>
                  <a:gd name="T1" fmla="*/ 157 h 157"/>
                  <a:gd name="T2" fmla="*/ 97 h 157"/>
                  <a:gd name="T3" fmla="*/ 61 h 157"/>
                  <a:gd name="T4" fmla="*/ 61 h 157"/>
                  <a:gd name="T5" fmla="*/ 0 h 157"/>
                </a:gdLst>
                <a:ahLst/>
                <a:cxnLst>
                  <a:cxn ang="0">
                    <a:pos x="0" y="T0"/>
                  </a:cxn>
                  <a:cxn ang="0">
                    <a:pos x="0" y="T1"/>
                  </a:cxn>
                  <a:cxn ang="0">
                    <a:pos x="0" y="T2"/>
                  </a:cxn>
                  <a:cxn ang="0">
                    <a:pos x="0" y="T3"/>
                  </a:cxn>
                  <a:cxn ang="0">
                    <a:pos x="0" y="T4"/>
                  </a:cxn>
                  <a:cxn ang="0">
                    <a:pos x="0" y="T5"/>
                  </a:cxn>
                </a:cxnLst>
                <a:rect l="0" t="0" r="r" b="b"/>
                <a:pathLst>
                  <a:path h="157">
                    <a:moveTo>
                      <a:pt x="0" y="157"/>
                    </a:moveTo>
                    <a:lnTo>
                      <a:pt x="0" y="157"/>
                    </a:lnTo>
                    <a:lnTo>
                      <a:pt x="0" y="97"/>
                    </a:lnTo>
                    <a:moveTo>
                      <a:pt x="0" y="61"/>
                    </a:moveTo>
                    <a:lnTo>
                      <a:pt x="0" y="61"/>
                    </a:lnTo>
                    <a:lnTo>
                      <a:pt x="0"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6" name="Freeform 15">
                <a:extLst>
                  <a:ext uri="{FF2B5EF4-FFF2-40B4-BE49-F238E27FC236}">
                    <a16:creationId xmlns:a16="http://schemas.microsoft.com/office/drawing/2014/main" id="{043BDAD5-B38F-E4A7-74E5-181BF1467DC0}"/>
                  </a:ext>
                </a:extLst>
              </p:cNvPr>
              <p:cNvSpPr>
                <a:spLocks/>
              </p:cNvSpPr>
              <p:nvPr/>
            </p:nvSpPr>
            <p:spPr bwMode="auto">
              <a:xfrm>
                <a:off x="2212" y="2706"/>
                <a:ext cx="12" cy="13"/>
              </a:xfrm>
              <a:custGeom>
                <a:avLst/>
                <a:gdLst>
                  <a:gd name="T0" fmla="*/ 0 w 30"/>
                  <a:gd name="T1" fmla="*/ 33 h 33"/>
                  <a:gd name="T2" fmla="*/ 0 w 30"/>
                  <a:gd name="T3" fmla="*/ 33 h 33"/>
                  <a:gd name="T4" fmla="*/ 0 w 30"/>
                  <a:gd name="T5" fmla="*/ 0 h 33"/>
                  <a:gd name="T6" fmla="*/ 30 w 30"/>
                  <a:gd name="T7" fmla="*/ 15 h 33"/>
                </a:gdLst>
                <a:ahLst/>
                <a:cxnLst>
                  <a:cxn ang="0">
                    <a:pos x="T0" y="T1"/>
                  </a:cxn>
                  <a:cxn ang="0">
                    <a:pos x="T2" y="T3"/>
                  </a:cxn>
                  <a:cxn ang="0">
                    <a:pos x="T4" y="T5"/>
                  </a:cxn>
                  <a:cxn ang="0">
                    <a:pos x="T6" y="T7"/>
                  </a:cxn>
                </a:cxnLst>
                <a:rect l="0" t="0" r="r" b="b"/>
                <a:pathLst>
                  <a:path w="30" h="33">
                    <a:moveTo>
                      <a:pt x="0" y="33"/>
                    </a:moveTo>
                    <a:lnTo>
                      <a:pt x="0" y="33"/>
                    </a:lnTo>
                    <a:lnTo>
                      <a:pt x="0" y="0"/>
                    </a:lnTo>
                    <a:lnTo>
                      <a:pt x="30" y="15"/>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27" name="Freeform 16">
                <a:extLst>
                  <a:ext uri="{FF2B5EF4-FFF2-40B4-BE49-F238E27FC236}">
                    <a16:creationId xmlns:a16="http://schemas.microsoft.com/office/drawing/2014/main" id="{4AA719BC-711F-56C1-05F7-410D94B2671C}"/>
                  </a:ext>
                </a:extLst>
              </p:cNvPr>
              <p:cNvSpPr>
                <a:spLocks/>
              </p:cNvSpPr>
              <p:nvPr/>
            </p:nvSpPr>
            <p:spPr bwMode="auto">
              <a:xfrm>
                <a:off x="2247" y="2706"/>
                <a:ext cx="23" cy="24"/>
              </a:xfrm>
              <a:custGeom>
                <a:avLst/>
                <a:gdLst>
                  <a:gd name="T0" fmla="*/ 0 w 60"/>
                  <a:gd name="T1" fmla="*/ 44 h 59"/>
                  <a:gd name="T2" fmla="*/ 0 w 60"/>
                  <a:gd name="T3" fmla="*/ 44 h 59"/>
                  <a:gd name="T4" fmla="*/ 30 w 60"/>
                  <a:gd name="T5" fmla="*/ 59 h 59"/>
                  <a:gd name="T6" fmla="*/ 30 w 60"/>
                  <a:gd name="T7" fmla="*/ 0 h 59"/>
                  <a:gd name="T8" fmla="*/ 60 w 60"/>
                  <a:gd name="T9" fmla="*/ 15 h 59"/>
                </a:gdLst>
                <a:ahLst/>
                <a:cxnLst>
                  <a:cxn ang="0">
                    <a:pos x="T0" y="T1"/>
                  </a:cxn>
                  <a:cxn ang="0">
                    <a:pos x="T2" y="T3"/>
                  </a:cxn>
                  <a:cxn ang="0">
                    <a:pos x="T4" y="T5"/>
                  </a:cxn>
                  <a:cxn ang="0">
                    <a:pos x="T6" y="T7"/>
                  </a:cxn>
                  <a:cxn ang="0">
                    <a:pos x="T8" y="T9"/>
                  </a:cxn>
                </a:cxnLst>
                <a:rect l="0" t="0" r="r" b="b"/>
                <a:pathLst>
                  <a:path w="60" h="59">
                    <a:moveTo>
                      <a:pt x="0" y="44"/>
                    </a:moveTo>
                    <a:lnTo>
                      <a:pt x="0" y="44"/>
                    </a:lnTo>
                    <a:lnTo>
                      <a:pt x="30" y="59"/>
                    </a:lnTo>
                    <a:lnTo>
                      <a:pt x="30" y="0"/>
                    </a:lnTo>
                    <a:lnTo>
                      <a:pt x="60" y="15"/>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3" name="Freeform 17">
                <a:extLst>
                  <a:ext uri="{FF2B5EF4-FFF2-40B4-BE49-F238E27FC236}">
                    <a16:creationId xmlns:a16="http://schemas.microsoft.com/office/drawing/2014/main" id="{35EEE16E-35FA-377E-4A5D-0BAA3B8F803D}"/>
                  </a:ext>
                </a:extLst>
              </p:cNvPr>
              <p:cNvSpPr>
                <a:spLocks/>
              </p:cNvSpPr>
              <p:nvPr/>
            </p:nvSpPr>
            <p:spPr bwMode="auto">
              <a:xfrm>
                <a:off x="2293" y="2706"/>
                <a:ext cx="23" cy="24"/>
              </a:xfrm>
              <a:custGeom>
                <a:avLst/>
                <a:gdLst>
                  <a:gd name="T0" fmla="*/ 0 w 60"/>
                  <a:gd name="T1" fmla="*/ 44 h 59"/>
                  <a:gd name="T2" fmla="*/ 0 w 60"/>
                  <a:gd name="T3" fmla="*/ 44 h 59"/>
                  <a:gd name="T4" fmla="*/ 30 w 60"/>
                  <a:gd name="T5" fmla="*/ 59 h 59"/>
                  <a:gd name="T6" fmla="*/ 30 w 60"/>
                  <a:gd name="T7" fmla="*/ 0 h 59"/>
                  <a:gd name="T8" fmla="*/ 60 w 60"/>
                  <a:gd name="T9" fmla="*/ 15 h 59"/>
                </a:gdLst>
                <a:ahLst/>
                <a:cxnLst>
                  <a:cxn ang="0">
                    <a:pos x="T0" y="T1"/>
                  </a:cxn>
                  <a:cxn ang="0">
                    <a:pos x="T2" y="T3"/>
                  </a:cxn>
                  <a:cxn ang="0">
                    <a:pos x="T4" y="T5"/>
                  </a:cxn>
                  <a:cxn ang="0">
                    <a:pos x="T6" y="T7"/>
                  </a:cxn>
                  <a:cxn ang="0">
                    <a:pos x="T8" y="T9"/>
                  </a:cxn>
                </a:cxnLst>
                <a:rect l="0" t="0" r="r" b="b"/>
                <a:pathLst>
                  <a:path w="60" h="59">
                    <a:moveTo>
                      <a:pt x="0" y="44"/>
                    </a:moveTo>
                    <a:lnTo>
                      <a:pt x="0" y="44"/>
                    </a:lnTo>
                    <a:lnTo>
                      <a:pt x="30" y="59"/>
                    </a:lnTo>
                    <a:lnTo>
                      <a:pt x="30" y="0"/>
                    </a:lnTo>
                    <a:lnTo>
                      <a:pt x="60" y="15"/>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4" name="Freeform 18">
                <a:extLst>
                  <a:ext uri="{FF2B5EF4-FFF2-40B4-BE49-F238E27FC236}">
                    <a16:creationId xmlns:a16="http://schemas.microsoft.com/office/drawing/2014/main" id="{30D812C0-BAC6-24FC-E645-FF11D54C4410}"/>
                  </a:ext>
                </a:extLst>
              </p:cNvPr>
              <p:cNvSpPr>
                <a:spLocks/>
              </p:cNvSpPr>
              <p:nvPr/>
            </p:nvSpPr>
            <p:spPr bwMode="auto">
              <a:xfrm>
                <a:off x="2339" y="2717"/>
                <a:ext cx="14" cy="13"/>
              </a:xfrm>
              <a:custGeom>
                <a:avLst/>
                <a:gdLst>
                  <a:gd name="T0" fmla="*/ 0 w 38"/>
                  <a:gd name="T1" fmla="*/ 17 h 32"/>
                  <a:gd name="T2" fmla="*/ 0 w 38"/>
                  <a:gd name="T3" fmla="*/ 17 h 32"/>
                  <a:gd name="T4" fmla="*/ 30 w 38"/>
                  <a:gd name="T5" fmla="*/ 32 h 32"/>
                  <a:gd name="T6" fmla="*/ 38 w 38"/>
                  <a:gd name="T7" fmla="*/ 0 h 32"/>
                </a:gdLst>
                <a:ahLst/>
                <a:cxnLst>
                  <a:cxn ang="0">
                    <a:pos x="T0" y="T1"/>
                  </a:cxn>
                  <a:cxn ang="0">
                    <a:pos x="T2" y="T3"/>
                  </a:cxn>
                  <a:cxn ang="0">
                    <a:pos x="T4" y="T5"/>
                  </a:cxn>
                  <a:cxn ang="0">
                    <a:pos x="T6" y="T7"/>
                  </a:cxn>
                </a:cxnLst>
                <a:rect l="0" t="0" r="r" b="b"/>
                <a:pathLst>
                  <a:path w="38" h="32">
                    <a:moveTo>
                      <a:pt x="0" y="17"/>
                    </a:moveTo>
                    <a:lnTo>
                      <a:pt x="0" y="17"/>
                    </a:lnTo>
                    <a:lnTo>
                      <a:pt x="30" y="32"/>
                    </a:lnTo>
                    <a:lnTo>
                      <a:pt x="38"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5" name="Freeform 19">
                <a:extLst>
                  <a:ext uri="{FF2B5EF4-FFF2-40B4-BE49-F238E27FC236}">
                    <a16:creationId xmlns:a16="http://schemas.microsoft.com/office/drawing/2014/main" id="{4E586D78-479D-61AA-9808-D69A0E656B5A}"/>
                  </a:ext>
                </a:extLst>
              </p:cNvPr>
              <p:cNvSpPr>
                <a:spLocks/>
              </p:cNvSpPr>
              <p:nvPr/>
            </p:nvSpPr>
            <p:spPr bwMode="auto">
              <a:xfrm>
                <a:off x="2358" y="2666"/>
                <a:ext cx="7" cy="32"/>
              </a:xfrm>
              <a:custGeom>
                <a:avLst/>
                <a:gdLst>
                  <a:gd name="T0" fmla="*/ 0 w 19"/>
                  <a:gd name="T1" fmla="*/ 79 h 79"/>
                  <a:gd name="T2" fmla="*/ 0 w 19"/>
                  <a:gd name="T3" fmla="*/ 79 h 79"/>
                  <a:gd name="T4" fmla="*/ 19 w 19"/>
                  <a:gd name="T5" fmla="*/ 0 h 79"/>
                </a:gdLst>
                <a:ahLst/>
                <a:cxnLst>
                  <a:cxn ang="0">
                    <a:pos x="T0" y="T1"/>
                  </a:cxn>
                  <a:cxn ang="0">
                    <a:pos x="T2" y="T3"/>
                  </a:cxn>
                  <a:cxn ang="0">
                    <a:pos x="T4" y="T5"/>
                  </a:cxn>
                </a:cxnLst>
                <a:rect l="0" t="0" r="r" b="b"/>
                <a:pathLst>
                  <a:path w="19" h="79">
                    <a:moveTo>
                      <a:pt x="0" y="79"/>
                    </a:moveTo>
                    <a:lnTo>
                      <a:pt x="0" y="79"/>
                    </a:lnTo>
                    <a:lnTo>
                      <a:pt x="19" y="0"/>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6" name="Freeform 20">
                <a:extLst>
                  <a:ext uri="{FF2B5EF4-FFF2-40B4-BE49-F238E27FC236}">
                    <a16:creationId xmlns:a16="http://schemas.microsoft.com/office/drawing/2014/main" id="{A5376B17-B380-09B9-3770-52945243DA89}"/>
                  </a:ext>
                </a:extLst>
              </p:cNvPr>
              <p:cNvSpPr>
                <a:spLocks/>
              </p:cNvSpPr>
              <p:nvPr/>
            </p:nvSpPr>
            <p:spPr bwMode="auto">
              <a:xfrm>
                <a:off x="2370" y="2635"/>
                <a:ext cx="26" cy="13"/>
              </a:xfrm>
              <a:custGeom>
                <a:avLst/>
                <a:gdLst>
                  <a:gd name="T0" fmla="*/ 0 w 68"/>
                  <a:gd name="T1" fmla="*/ 31 h 32"/>
                  <a:gd name="T2" fmla="*/ 0 w 68"/>
                  <a:gd name="T3" fmla="*/ 31 h 32"/>
                  <a:gd name="T4" fmla="*/ 7 w 68"/>
                  <a:gd name="T5" fmla="*/ 0 h 32"/>
                  <a:gd name="T6" fmla="*/ 68 w 68"/>
                  <a:gd name="T7" fmla="*/ 0 h 32"/>
                  <a:gd name="T8" fmla="*/ 68 w 68"/>
                  <a:gd name="T9" fmla="*/ 32 h 32"/>
                </a:gdLst>
                <a:ahLst/>
                <a:cxnLst>
                  <a:cxn ang="0">
                    <a:pos x="T0" y="T1"/>
                  </a:cxn>
                  <a:cxn ang="0">
                    <a:pos x="T2" y="T3"/>
                  </a:cxn>
                  <a:cxn ang="0">
                    <a:pos x="T4" y="T5"/>
                  </a:cxn>
                  <a:cxn ang="0">
                    <a:pos x="T6" y="T7"/>
                  </a:cxn>
                  <a:cxn ang="0">
                    <a:pos x="T8" y="T9"/>
                  </a:cxn>
                </a:cxnLst>
                <a:rect l="0" t="0" r="r" b="b"/>
                <a:pathLst>
                  <a:path w="68" h="32">
                    <a:moveTo>
                      <a:pt x="0" y="31"/>
                    </a:moveTo>
                    <a:lnTo>
                      <a:pt x="0" y="31"/>
                    </a:lnTo>
                    <a:lnTo>
                      <a:pt x="7" y="0"/>
                    </a:lnTo>
                    <a:lnTo>
                      <a:pt x="68" y="0"/>
                    </a:lnTo>
                    <a:lnTo>
                      <a:pt x="68" y="32"/>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7" name="Freeform 21">
                <a:extLst>
                  <a:ext uri="{FF2B5EF4-FFF2-40B4-BE49-F238E27FC236}">
                    <a16:creationId xmlns:a16="http://schemas.microsoft.com/office/drawing/2014/main" id="{453DF66C-A532-5224-D2B0-2FFC7E53265C}"/>
                  </a:ext>
                </a:extLst>
              </p:cNvPr>
              <p:cNvSpPr>
                <a:spLocks noEditPoints="1"/>
              </p:cNvSpPr>
              <p:nvPr/>
            </p:nvSpPr>
            <p:spPr bwMode="auto">
              <a:xfrm>
                <a:off x="2396" y="2675"/>
                <a:ext cx="0" cy="127"/>
              </a:xfrm>
              <a:custGeom>
                <a:avLst/>
                <a:gdLst>
                  <a:gd name="T0" fmla="*/ 0 h 316"/>
                  <a:gd name="T1" fmla="*/ 0 h 316"/>
                  <a:gd name="T2" fmla="*/ 75 h 316"/>
                  <a:gd name="T3" fmla="*/ 120 h 316"/>
                  <a:gd name="T4" fmla="*/ 120 h 316"/>
                  <a:gd name="T5" fmla="*/ 196 h 316"/>
                  <a:gd name="T6" fmla="*/ 241 h 316"/>
                  <a:gd name="T7" fmla="*/ 241 h 316"/>
                  <a:gd name="T8" fmla="*/ 316 h 316"/>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16">
                    <a:moveTo>
                      <a:pt x="0" y="0"/>
                    </a:moveTo>
                    <a:lnTo>
                      <a:pt x="0" y="0"/>
                    </a:lnTo>
                    <a:lnTo>
                      <a:pt x="0" y="75"/>
                    </a:lnTo>
                    <a:moveTo>
                      <a:pt x="0" y="120"/>
                    </a:moveTo>
                    <a:lnTo>
                      <a:pt x="0" y="120"/>
                    </a:lnTo>
                    <a:lnTo>
                      <a:pt x="0" y="196"/>
                    </a:lnTo>
                    <a:moveTo>
                      <a:pt x="0" y="241"/>
                    </a:moveTo>
                    <a:lnTo>
                      <a:pt x="0" y="241"/>
                    </a:lnTo>
                    <a:lnTo>
                      <a:pt x="0" y="316"/>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58" name="Freeform 22">
                <a:extLst>
                  <a:ext uri="{FF2B5EF4-FFF2-40B4-BE49-F238E27FC236}">
                    <a16:creationId xmlns:a16="http://schemas.microsoft.com/office/drawing/2014/main" id="{88C774F6-05CA-08CF-CFC3-102F9E461E69}"/>
                  </a:ext>
                </a:extLst>
              </p:cNvPr>
              <p:cNvSpPr>
                <a:spLocks/>
              </p:cNvSpPr>
              <p:nvPr/>
            </p:nvSpPr>
            <p:spPr bwMode="auto">
              <a:xfrm>
                <a:off x="2383" y="2812"/>
                <a:ext cx="13" cy="13"/>
              </a:xfrm>
              <a:custGeom>
                <a:avLst/>
                <a:gdLst>
                  <a:gd name="T0" fmla="*/ 33 w 33"/>
                  <a:gd name="T1" fmla="*/ 0 h 33"/>
                  <a:gd name="T2" fmla="*/ 33 w 33"/>
                  <a:gd name="T3" fmla="*/ 0 h 33"/>
                  <a:gd name="T4" fmla="*/ 33 w 33"/>
                  <a:gd name="T5" fmla="*/ 33 h 33"/>
                  <a:gd name="T6" fmla="*/ 0 w 33"/>
                  <a:gd name="T7" fmla="*/ 33 h 33"/>
                </a:gdLst>
                <a:ahLst/>
                <a:cxnLst>
                  <a:cxn ang="0">
                    <a:pos x="T0" y="T1"/>
                  </a:cxn>
                  <a:cxn ang="0">
                    <a:pos x="T2" y="T3"/>
                  </a:cxn>
                  <a:cxn ang="0">
                    <a:pos x="T4" y="T5"/>
                  </a:cxn>
                  <a:cxn ang="0">
                    <a:pos x="T6" y="T7"/>
                  </a:cxn>
                </a:cxnLst>
                <a:rect l="0" t="0" r="r" b="b"/>
                <a:pathLst>
                  <a:path w="33" h="33">
                    <a:moveTo>
                      <a:pt x="33" y="0"/>
                    </a:moveTo>
                    <a:lnTo>
                      <a:pt x="33" y="0"/>
                    </a:lnTo>
                    <a:lnTo>
                      <a:pt x="33" y="33"/>
                    </a:lnTo>
                    <a:lnTo>
                      <a:pt x="0" y="33"/>
                    </a:lnTo>
                  </a:path>
                </a:pathLst>
              </a:custGeom>
              <a:noFill/>
              <a:ln w="158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1135"/>
                  </a:solidFill>
                  <a:effectLst/>
                  <a:uLnTx/>
                  <a:uFillTx/>
                  <a:latin typeface="Nokia Pure Text Light"/>
                  <a:ea typeface="+mn-ea"/>
                  <a:cs typeface="+mn-cs"/>
                </a:endParaRPr>
              </a:p>
            </p:txBody>
          </p:sp>
        </p:grpSp>
        <p:sp>
          <p:nvSpPr>
            <p:cNvPr id="78" name="TextBox 77">
              <a:extLst>
                <a:ext uri="{FF2B5EF4-FFF2-40B4-BE49-F238E27FC236}">
                  <a16:creationId xmlns:a16="http://schemas.microsoft.com/office/drawing/2014/main" id="{71A3F813-80DC-FEC6-D5EC-D56AB7F15508}"/>
                </a:ext>
              </a:extLst>
            </p:cNvPr>
            <p:cNvSpPr txBox="1"/>
            <p:nvPr/>
          </p:nvSpPr>
          <p:spPr>
            <a:xfrm>
              <a:off x="4683882" y="1517362"/>
              <a:ext cx="2138783" cy="954108"/>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Digital-Physical Fusio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endParaRPr>
            </a:p>
          </p:txBody>
        </p:sp>
      </p:grpSp>
      <p:sp>
        <p:nvSpPr>
          <p:cNvPr id="81" name="Rectangle 80">
            <a:extLst>
              <a:ext uri="{FF2B5EF4-FFF2-40B4-BE49-F238E27FC236}">
                <a16:creationId xmlns:a16="http://schemas.microsoft.com/office/drawing/2014/main" id="{5AC1E2FD-65C8-9B56-95A6-6E9D18C0E2DD}"/>
              </a:ext>
            </a:extLst>
          </p:cNvPr>
          <p:cNvSpPr/>
          <p:nvPr/>
        </p:nvSpPr>
        <p:spPr>
          <a:xfrm>
            <a:off x="659682" y="1992791"/>
            <a:ext cx="2175570" cy="885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100000"/>
              </a:lnSpc>
              <a:spcBef>
                <a:spcPts val="0"/>
              </a:spcBef>
              <a:spcAft>
                <a:spcPts val="150"/>
              </a:spcAft>
              <a:buClrTx/>
              <a:buSzTx/>
              <a:buFontTx/>
              <a:buNone/>
              <a:tabLst/>
              <a:defRPr/>
            </a:pPr>
            <a:r>
              <a:rPr kumimoji="0" lang="en-GB" sz="105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rPr>
              <a:t>Extensions that enable people to interact with and within the digital world</a:t>
            </a:r>
            <a:endParaRPr kumimoji="0" lang="en-US" sz="105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endParaRPr>
          </a:p>
        </p:txBody>
      </p:sp>
      <p:sp>
        <p:nvSpPr>
          <p:cNvPr id="84" name="Rectangle 83">
            <a:extLst>
              <a:ext uri="{FF2B5EF4-FFF2-40B4-BE49-F238E27FC236}">
                <a16:creationId xmlns:a16="http://schemas.microsoft.com/office/drawing/2014/main" id="{4321D5DF-FF4F-D06D-2EAD-A979036BDEC3}"/>
              </a:ext>
            </a:extLst>
          </p:cNvPr>
          <p:cNvSpPr/>
          <p:nvPr/>
        </p:nvSpPr>
        <p:spPr>
          <a:xfrm>
            <a:off x="3035084" y="1991465"/>
            <a:ext cx="2238248" cy="843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514350" rtl="0" eaLnBrk="1" fontAlgn="auto" latinLnBrk="0" hangingPunct="1">
              <a:lnSpc>
                <a:spcPct val="100000"/>
              </a:lnSpc>
              <a:spcBef>
                <a:spcPts val="0"/>
              </a:spcBef>
              <a:spcAft>
                <a:spcPts val="150"/>
              </a:spcAft>
              <a:buClrTx/>
              <a:buSzTx/>
              <a:buFontTx/>
              <a:buNone/>
              <a:tabLst/>
              <a:defRPr/>
            </a:pPr>
            <a:r>
              <a:rPr kumimoji="0" lang="en-GB" sz="105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rPr>
              <a:t>Dynamic, connected representations of real-world things in the digital world</a:t>
            </a:r>
            <a:endParaRPr kumimoji="0" lang="en-US" sz="105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endParaRPr>
          </a:p>
        </p:txBody>
      </p:sp>
      <p:grpSp>
        <p:nvGrpSpPr>
          <p:cNvPr id="152" name="Group 151">
            <a:extLst>
              <a:ext uri="{FF2B5EF4-FFF2-40B4-BE49-F238E27FC236}">
                <a16:creationId xmlns:a16="http://schemas.microsoft.com/office/drawing/2014/main" id="{D3B1B0D4-9357-DDEE-C78D-9B226788EA5E}"/>
              </a:ext>
            </a:extLst>
          </p:cNvPr>
          <p:cNvGrpSpPr/>
          <p:nvPr/>
        </p:nvGrpSpPr>
        <p:grpSpPr>
          <a:xfrm>
            <a:off x="647242" y="1143815"/>
            <a:ext cx="4626050" cy="253916"/>
            <a:chOff x="862990" y="1473565"/>
            <a:chExt cx="6309882" cy="338554"/>
          </a:xfrm>
        </p:grpSpPr>
        <p:sp>
          <p:nvSpPr>
            <p:cNvPr id="118" name="TextBox 117">
              <a:extLst>
                <a:ext uri="{FF2B5EF4-FFF2-40B4-BE49-F238E27FC236}">
                  <a16:creationId xmlns:a16="http://schemas.microsoft.com/office/drawing/2014/main" id="{8A30B136-7D03-E458-A187-348C4D976B1B}"/>
                </a:ext>
              </a:extLst>
            </p:cNvPr>
            <p:cNvSpPr txBox="1"/>
            <p:nvPr/>
          </p:nvSpPr>
          <p:spPr>
            <a:xfrm>
              <a:off x="892006" y="1473565"/>
              <a:ext cx="6280865" cy="338554"/>
            </a:xfrm>
            <a:prstGeom prst="rect">
              <a:avLst/>
            </a:prstGeom>
            <a:noFill/>
            <a:ln>
              <a:solidFill>
                <a:schemeClr val="bg1"/>
              </a:solidFill>
            </a:ln>
          </p:spPr>
          <p:txBody>
            <a:bodyPr wrap="square">
              <a:spAutoFit/>
            </a:bodyPr>
            <a:lstStyle/>
            <a:p>
              <a:pPr marL="0" marR="0" lvl="0" indent="0" algn="ctr" defTabSz="514350" rtl="0" eaLnBrk="1" fontAlgn="auto" latinLnBrk="0" hangingPunct="1">
                <a:lnSpc>
                  <a:spcPct val="100000"/>
                </a:lnSpc>
                <a:spcBef>
                  <a:spcPts val="0"/>
                </a:spcBef>
                <a:spcAft>
                  <a:spcPts val="169"/>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Metaverse enablers</a:t>
              </a:r>
            </a:p>
          </p:txBody>
        </p:sp>
        <p:cxnSp>
          <p:nvCxnSpPr>
            <p:cNvPr id="120" name="Straight Connector 119">
              <a:extLst>
                <a:ext uri="{FF2B5EF4-FFF2-40B4-BE49-F238E27FC236}">
                  <a16:creationId xmlns:a16="http://schemas.microsoft.com/office/drawing/2014/main" id="{62D936F9-462B-A954-104D-AB8CBA5991EB}"/>
                </a:ext>
              </a:extLst>
            </p:cNvPr>
            <p:cNvCxnSpPr>
              <a:cxnSpLocks/>
            </p:cNvCxnSpPr>
            <p:nvPr/>
          </p:nvCxnSpPr>
          <p:spPr>
            <a:xfrm>
              <a:off x="862990" y="1781342"/>
              <a:ext cx="6309882"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A5722C43-3BBD-188C-9273-5A21ABF87FA1}"/>
              </a:ext>
            </a:extLst>
          </p:cNvPr>
          <p:cNvGrpSpPr/>
          <p:nvPr/>
        </p:nvGrpSpPr>
        <p:grpSpPr>
          <a:xfrm>
            <a:off x="5748432" y="1144377"/>
            <a:ext cx="2962396" cy="3273244"/>
            <a:chOff x="7751916" y="1474315"/>
            <a:chExt cx="3862518" cy="4364325"/>
          </a:xfrm>
        </p:grpSpPr>
        <p:grpSp>
          <p:nvGrpSpPr>
            <p:cNvPr id="153" name="Group 152">
              <a:extLst>
                <a:ext uri="{FF2B5EF4-FFF2-40B4-BE49-F238E27FC236}">
                  <a16:creationId xmlns:a16="http://schemas.microsoft.com/office/drawing/2014/main" id="{09CB38A1-3000-C661-564A-42368925ACD9}"/>
                </a:ext>
              </a:extLst>
            </p:cNvPr>
            <p:cNvGrpSpPr/>
            <p:nvPr/>
          </p:nvGrpSpPr>
          <p:grpSpPr>
            <a:xfrm>
              <a:off x="7751916" y="1474315"/>
              <a:ext cx="3862518" cy="338554"/>
              <a:chOff x="7751916" y="1474315"/>
              <a:chExt cx="3862518" cy="338554"/>
            </a:xfrm>
          </p:grpSpPr>
          <p:sp>
            <p:nvSpPr>
              <p:cNvPr id="132" name="TextBox 131">
                <a:extLst>
                  <a:ext uri="{FF2B5EF4-FFF2-40B4-BE49-F238E27FC236}">
                    <a16:creationId xmlns:a16="http://schemas.microsoft.com/office/drawing/2014/main" id="{BCE775B7-2F55-2D1A-E969-72E945706FAF}"/>
                  </a:ext>
                </a:extLst>
              </p:cNvPr>
              <p:cNvSpPr txBox="1"/>
              <p:nvPr/>
            </p:nvSpPr>
            <p:spPr>
              <a:xfrm>
                <a:off x="7824485" y="1474315"/>
                <a:ext cx="3687297" cy="338554"/>
              </a:xfrm>
              <a:prstGeom prst="rect">
                <a:avLst/>
              </a:prstGeom>
              <a:noFill/>
              <a:ln>
                <a:noFill/>
              </a:ln>
            </p:spPr>
            <p:txBody>
              <a:bodyPr wrap="square">
                <a:spAutoFit/>
              </a:bodyPr>
              <a:lstStyle/>
              <a:p>
                <a:pPr marL="0" marR="0" lvl="0" indent="0" algn="ctr" defTabSz="514350" rtl="0" eaLnBrk="1" fontAlgn="auto" latinLnBrk="0" hangingPunct="1">
                  <a:lnSpc>
                    <a:spcPct val="100000"/>
                  </a:lnSpc>
                  <a:spcBef>
                    <a:spcPts val="0"/>
                  </a:spcBef>
                  <a:spcAft>
                    <a:spcPts val="169"/>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Metaverse opportunity areas</a:t>
                </a:r>
              </a:p>
            </p:txBody>
          </p:sp>
          <p:cxnSp>
            <p:nvCxnSpPr>
              <p:cNvPr id="133" name="Straight Connector 132">
                <a:extLst>
                  <a:ext uri="{FF2B5EF4-FFF2-40B4-BE49-F238E27FC236}">
                    <a16:creationId xmlns:a16="http://schemas.microsoft.com/office/drawing/2014/main" id="{E66B7C4F-A6ED-A418-E45B-3922BD424CDC}"/>
                  </a:ext>
                </a:extLst>
              </p:cNvPr>
              <p:cNvCxnSpPr>
                <a:cxnSpLocks/>
              </p:cNvCxnSpPr>
              <p:nvPr/>
            </p:nvCxnSpPr>
            <p:spPr>
              <a:xfrm>
                <a:off x="7751916" y="1794813"/>
                <a:ext cx="3862518"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9" name="Group 148">
              <a:extLst>
                <a:ext uri="{FF2B5EF4-FFF2-40B4-BE49-F238E27FC236}">
                  <a16:creationId xmlns:a16="http://schemas.microsoft.com/office/drawing/2014/main" id="{A962BCEF-75CB-09F0-AB3A-7700EF5ED680}"/>
                </a:ext>
              </a:extLst>
            </p:cNvPr>
            <p:cNvGrpSpPr/>
            <p:nvPr/>
          </p:nvGrpSpPr>
          <p:grpSpPr>
            <a:xfrm>
              <a:off x="7881436" y="1889776"/>
              <a:ext cx="3196693" cy="1271923"/>
              <a:chOff x="7881436" y="1889776"/>
              <a:chExt cx="3196693" cy="1271923"/>
            </a:xfrm>
          </p:grpSpPr>
          <p:sp>
            <p:nvSpPr>
              <p:cNvPr id="140" name="Rectangle 139">
                <a:extLst>
                  <a:ext uri="{FF2B5EF4-FFF2-40B4-BE49-F238E27FC236}">
                    <a16:creationId xmlns:a16="http://schemas.microsoft.com/office/drawing/2014/main" id="{BF3BCDF1-F30A-FB85-2B2D-A0E78B32EEDA}"/>
                  </a:ext>
                </a:extLst>
              </p:cNvPr>
              <p:cNvSpPr/>
              <p:nvPr/>
            </p:nvSpPr>
            <p:spPr>
              <a:xfrm>
                <a:off x="7881436" y="1889776"/>
                <a:ext cx="3196693" cy="1271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225"/>
                  </a:spcAft>
                  <a:buClrTx/>
                  <a:buSzPct val="100000"/>
                  <a:buFontTx/>
                  <a:buNone/>
                  <a:tabLst/>
                  <a:defRPr/>
                </a:pPr>
                <a:endParaRPr kumimoji="0" lang="en-US" sz="9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35" name="TextBox 134">
                <a:extLst>
                  <a:ext uri="{FF2B5EF4-FFF2-40B4-BE49-F238E27FC236}">
                    <a16:creationId xmlns:a16="http://schemas.microsoft.com/office/drawing/2014/main" id="{6B9E948B-7753-6525-FD3D-3FA4180B20F4}"/>
                  </a:ext>
                </a:extLst>
              </p:cNvPr>
              <p:cNvSpPr txBox="1"/>
              <p:nvPr/>
            </p:nvSpPr>
            <p:spPr>
              <a:xfrm>
                <a:off x="8126720" y="2249881"/>
                <a:ext cx="2102746" cy="677108"/>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1135"/>
                    </a:solidFill>
                    <a:effectLst/>
                    <a:uLnTx/>
                    <a:uFillTx/>
                    <a:latin typeface="Nokia Pure Headline Light" panose="020B0304020202020204" pitchFamily="34" charset="0"/>
                    <a:ea typeface="Nokia Pure Text" panose="020B0503020202020204" pitchFamily="34" charset="0"/>
                    <a:cs typeface="+mn-cs"/>
                  </a:rPr>
                  <a:t>Consumer Metaverse</a:t>
                </a:r>
              </a:p>
            </p:txBody>
          </p:sp>
        </p:grpSp>
        <p:grpSp>
          <p:nvGrpSpPr>
            <p:cNvPr id="148" name="Group 147">
              <a:extLst>
                <a:ext uri="{FF2B5EF4-FFF2-40B4-BE49-F238E27FC236}">
                  <a16:creationId xmlns:a16="http://schemas.microsoft.com/office/drawing/2014/main" id="{73231E30-8C01-C562-6E07-0CC7B3C248ED}"/>
                </a:ext>
              </a:extLst>
            </p:cNvPr>
            <p:cNvGrpSpPr/>
            <p:nvPr/>
          </p:nvGrpSpPr>
          <p:grpSpPr>
            <a:xfrm>
              <a:off x="7881436" y="3240667"/>
              <a:ext cx="3196693" cy="1271923"/>
              <a:chOff x="7881436" y="3276875"/>
              <a:chExt cx="3196693" cy="1271923"/>
            </a:xfrm>
          </p:grpSpPr>
          <p:sp>
            <p:nvSpPr>
              <p:cNvPr id="141" name="Rectangle 140">
                <a:extLst>
                  <a:ext uri="{FF2B5EF4-FFF2-40B4-BE49-F238E27FC236}">
                    <a16:creationId xmlns:a16="http://schemas.microsoft.com/office/drawing/2014/main" id="{BCCFF585-6751-A511-B93F-21BBE797D10E}"/>
                  </a:ext>
                </a:extLst>
              </p:cNvPr>
              <p:cNvSpPr/>
              <p:nvPr/>
            </p:nvSpPr>
            <p:spPr>
              <a:xfrm>
                <a:off x="7881436" y="3276875"/>
                <a:ext cx="3196693" cy="1271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225"/>
                  </a:spcAft>
                  <a:buClrTx/>
                  <a:buSzPct val="100000"/>
                  <a:buFontTx/>
                  <a:buNone/>
                  <a:tabLst/>
                  <a:defRPr/>
                </a:pPr>
                <a:endParaRPr kumimoji="0" lang="en-US" sz="9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37" name="TextBox 136">
                <a:extLst>
                  <a:ext uri="{FF2B5EF4-FFF2-40B4-BE49-F238E27FC236}">
                    <a16:creationId xmlns:a16="http://schemas.microsoft.com/office/drawing/2014/main" id="{D83CFEE2-C01B-553A-FB4F-B6504EC63A51}"/>
                  </a:ext>
                </a:extLst>
              </p:cNvPr>
              <p:cNvSpPr txBox="1"/>
              <p:nvPr/>
            </p:nvSpPr>
            <p:spPr>
              <a:xfrm>
                <a:off x="8126720" y="3534671"/>
                <a:ext cx="2102746" cy="861775"/>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1135"/>
                    </a:solidFill>
                    <a:effectLst/>
                    <a:uLnTx/>
                    <a:uFillTx/>
                    <a:latin typeface="Nokia Pure Headline Light" panose="020B0304020202020204" pitchFamily="34" charset="0"/>
                    <a:ea typeface="Nokia Pure Text" panose="020B0503020202020204" pitchFamily="34" charset="0"/>
                    <a:cs typeface="+mn-cs"/>
                  </a:rPr>
                  <a:t>Enterprise Metavers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135"/>
                    </a:solidFill>
                    <a:effectLst/>
                    <a:uLnTx/>
                    <a:uFillTx/>
                    <a:latin typeface="Nokia Pure Headline Light" panose="020B0304020202020204" pitchFamily="34" charset="0"/>
                    <a:ea typeface="Nokia Pure Text" panose="020B0503020202020204" pitchFamily="34" charset="0"/>
                    <a:cs typeface="+mn-cs"/>
                  </a:rPr>
                  <a:t>(IT*-centric)</a:t>
                </a:r>
              </a:p>
            </p:txBody>
          </p:sp>
        </p:grpSp>
        <p:grpSp>
          <p:nvGrpSpPr>
            <p:cNvPr id="150" name="Group 149">
              <a:extLst>
                <a:ext uri="{FF2B5EF4-FFF2-40B4-BE49-F238E27FC236}">
                  <a16:creationId xmlns:a16="http://schemas.microsoft.com/office/drawing/2014/main" id="{09AA37CE-397F-2996-FD23-24216C68ACFF}"/>
                </a:ext>
              </a:extLst>
            </p:cNvPr>
            <p:cNvGrpSpPr/>
            <p:nvPr/>
          </p:nvGrpSpPr>
          <p:grpSpPr>
            <a:xfrm>
              <a:off x="7881436" y="4566717"/>
              <a:ext cx="3196693" cy="1271923"/>
              <a:chOff x="7881436" y="4741465"/>
              <a:chExt cx="3196693" cy="1271923"/>
            </a:xfrm>
          </p:grpSpPr>
          <p:sp>
            <p:nvSpPr>
              <p:cNvPr id="142" name="Rectangle 141">
                <a:extLst>
                  <a:ext uri="{FF2B5EF4-FFF2-40B4-BE49-F238E27FC236}">
                    <a16:creationId xmlns:a16="http://schemas.microsoft.com/office/drawing/2014/main" id="{4DEDC4C8-1105-ABBC-85EA-F9289BA216F3}"/>
                  </a:ext>
                </a:extLst>
              </p:cNvPr>
              <p:cNvSpPr/>
              <p:nvPr/>
            </p:nvSpPr>
            <p:spPr>
              <a:xfrm>
                <a:off x="7881436" y="4741465"/>
                <a:ext cx="3196693" cy="12719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225"/>
                  </a:spcAft>
                  <a:buClrTx/>
                  <a:buSzPct val="100000"/>
                  <a:buFontTx/>
                  <a:buNone/>
                  <a:tabLst/>
                  <a:defRPr/>
                </a:pPr>
                <a:endParaRPr kumimoji="0" lang="en-US" sz="900" b="0" i="0" u="none" strike="noStrike" kern="1200" cap="none" spc="0" normalizeH="0" baseline="0" noProof="0">
                  <a:ln>
                    <a:noFill/>
                  </a:ln>
                  <a:solidFill>
                    <a:srgbClr val="001135"/>
                  </a:solidFill>
                  <a:effectLst/>
                  <a:uLnTx/>
                  <a:uFillTx/>
                  <a:latin typeface="Nokia Pure Text Light"/>
                  <a:ea typeface="+mn-ea"/>
                  <a:cs typeface="+mn-cs"/>
                </a:endParaRPr>
              </a:p>
            </p:txBody>
          </p:sp>
          <p:sp>
            <p:nvSpPr>
              <p:cNvPr id="138" name="TextBox 137">
                <a:extLst>
                  <a:ext uri="{FF2B5EF4-FFF2-40B4-BE49-F238E27FC236}">
                    <a16:creationId xmlns:a16="http://schemas.microsoft.com/office/drawing/2014/main" id="{608BCF33-9DA5-B009-DA25-3293FFD33BAC}"/>
                  </a:ext>
                </a:extLst>
              </p:cNvPr>
              <p:cNvSpPr txBox="1"/>
              <p:nvPr/>
            </p:nvSpPr>
            <p:spPr>
              <a:xfrm>
                <a:off x="8126722" y="4888909"/>
                <a:ext cx="1881235" cy="861775"/>
              </a:xfrm>
              <a:prstGeom prst="rect">
                <a:avLst/>
              </a:prstGeom>
              <a:noFill/>
              <a:ln>
                <a:noFill/>
              </a:ln>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1135"/>
                    </a:solidFill>
                    <a:effectLst/>
                    <a:uLnTx/>
                    <a:uFillTx/>
                    <a:latin typeface="Nokia Pure Headline Light" panose="020B0304020202020204" pitchFamily="34" charset="0"/>
                    <a:ea typeface="Nokia Pure Text" panose="020B0503020202020204" pitchFamily="34" charset="0"/>
                    <a:cs typeface="+mn-cs"/>
                  </a:rPr>
                  <a:t>Industrial Metavers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135"/>
                    </a:solidFill>
                    <a:effectLst/>
                    <a:uLnTx/>
                    <a:uFillTx/>
                    <a:latin typeface="Nokia Pure Headline Light" panose="020B0304020202020204" pitchFamily="34" charset="0"/>
                    <a:ea typeface="Nokia Pure Text" panose="020B0503020202020204" pitchFamily="34" charset="0"/>
                    <a:cs typeface="+mn-cs"/>
                  </a:rPr>
                  <a:t>(OT*-centric)</a:t>
                </a:r>
              </a:p>
            </p:txBody>
          </p:sp>
        </p:grpSp>
      </p:grpSp>
      <p:sp>
        <p:nvSpPr>
          <p:cNvPr id="65" name="TextBox 64">
            <a:extLst>
              <a:ext uri="{FF2B5EF4-FFF2-40B4-BE49-F238E27FC236}">
                <a16:creationId xmlns:a16="http://schemas.microsoft.com/office/drawing/2014/main" id="{0020104E-60B8-4770-9F6D-5D8A99CA57EB}"/>
              </a:ext>
            </a:extLst>
          </p:cNvPr>
          <p:cNvSpPr txBox="1"/>
          <p:nvPr/>
        </p:nvSpPr>
        <p:spPr>
          <a:xfrm>
            <a:off x="6513290" y="4361603"/>
            <a:ext cx="1877517" cy="468000"/>
          </a:xfrm>
          <a:prstGeom prst="rect">
            <a:avLst/>
          </a:prstGeom>
          <a:noFill/>
        </p:spPr>
        <p:txBody>
          <a:bodyPr wrap="square" lIns="72000" tIns="72000" rIns="72000" bIns="72000" rtlCol="0" anchor="t">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dirty="0">
                <a:ln>
                  <a:noFill/>
                </a:ln>
                <a:solidFill>
                  <a:srgbClr val="001135"/>
                </a:solidFill>
                <a:effectLst/>
                <a:uLnTx/>
                <a:uFillTx/>
                <a:latin typeface="Nokia Pure Text Light"/>
                <a:ea typeface="+mn-ea"/>
                <a:cs typeface="+mn-cs"/>
              </a:rPr>
              <a:t>* IT: Information Technology</a:t>
            </a:r>
          </a:p>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dirty="0">
                <a:ln>
                  <a:noFill/>
                </a:ln>
                <a:solidFill>
                  <a:srgbClr val="001135"/>
                </a:solidFill>
                <a:effectLst/>
                <a:uLnTx/>
                <a:uFillTx/>
                <a:latin typeface="Nokia Pure Text Light"/>
                <a:ea typeface="+mn-ea"/>
                <a:cs typeface="+mn-cs"/>
              </a:rPr>
              <a:t>   OT: Operational Technology</a:t>
            </a:r>
          </a:p>
        </p:txBody>
      </p:sp>
      <p:pic>
        <p:nvPicPr>
          <p:cNvPr id="64" name="Picture 2">
            <a:extLst>
              <a:ext uri="{FF2B5EF4-FFF2-40B4-BE49-F238E27FC236}">
                <a16:creationId xmlns:a16="http://schemas.microsoft.com/office/drawing/2014/main" id="{98743356-7581-4DBC-8358-1241ACC5DDB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3118630" y="2802679"/>
            <a:ext cx="1991399" cy="100890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2D577053-70B3-4A67-9D53-1BED7C5D75C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762538" y="2804366"/>
            <a:ext cx="1016346" cy="1008906"/>
          </a:xfrm>
          <a:prstGeom prst="rect">
            <a:avLst/>
          </a:prstGeom>
        </p:spPr>
      </p:pic>
      <p:sp>
        <p:nvSpPr>
          <p:cNvPr id="5" name="Footer Placeholder 1">
            <a:extLst>
              <a:ext uri="{FF2B5EF4-FFF2-40B4-BE49-F238E27FC236}">
                <a16:creationId xmlns:a16="http://schemas.microsoft.com/office/drawing/2014/main" id="{2F7E79DB-5EFA-8BDA-6C98-3755A66A36B8}"/>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78096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2"/>
                                        </p:tgtEl>
                                        <p:attrNameLst>
                                          <p:attrName>style.visibility</p:attrName>
                                        </p:attrNameLst>
                                      </p:cBhvr>
                                      <p:to>
                                        <p:strVal val="visible"/>
                                      </p:to>
                                    </p:set>
                                    <p:animEffect transition="in" filter="fade">
                                      <p:cBhvr>
                                        <p:cTn id="7" dur="500"/>
                                        <p:tgtEl>
                                          <p:spTgt spid="152"/>
                                        </p:tgtEl>
                                      </p:cBhvr>
                                    </p:animEffect>
                                  </p:childTnLst>
                                </p:cTn>
                              </p:par>
                              <p:par>
                                <p:cTn id="8" presetID="10" presetClass="entr" presetSubtype="0" fill="hold" nodeType="withEffect">
                                  <p:stCondLst>
                                    <p:cond delay="0"/>
                                  </p:stCondLst>
                                  <p:childTnLst>
                                    <p:set>
                                      <p:cBhvr>
                                        <p:cTn id="9" dur="1" fill="hold">
                                          <p:stCondLst>
                                            <p:cond delay="0"/>
                                          </p:stCondLst>
                                        </p:cTn>
                                        <p:tgtEl>
                                          <p:spTgt spid="111"/>
                                        </p:tgtEl>
                                        <p:attrNameLst>
                                          <p:attrName>style.visibility</p:attrName>
                                        </p:attrNameLst>
                                      </p:cBhvr>
                                      <p:to>
                                        <p:strVal val="visible"/>
                                      </p:to>
                                    </p:set>
                                    <p:animEffect transition="in" filter="fade">
                                      <p:cBhvr>
                                        <p:cTn id="10" dur="500"/>
                                        <p:tgtEl>
                                          <p:spTgt spid="1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animEffect transition="in" filter="fade">
                                      <p:cBhvr>
                                        <p:cTn id="13" dur="500"/>
                                        <p:tgtEl>
                                          <p:spTgt spid="81"/>
                                        </p:tgtEl>
                                      </p:cBhvr>
                                    </p:animEffect>
                                  </p:childTnLst>
                                </p:cTn>
                              </p:par>
                              <p:par>
                                <p:cTn id="14" presetID="10" presetClass="entr" presetSubtype="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nodeType="withEffect">
                                  <p:stCondLst>
                                    <p:cond delay="0"/>
                                  </p:stCondLst>
                                  <p:childTnLst>
                                    <p:set>
                                      <p:cBhvr>
                                        <p:cTn id="18" dur="1" fill="hold">
                                          <p:stCondLst>
                                            <p:cond delay="0"/>
                                          </p:stCondLst>
                                        </p:cTn>
                                        <p:tgtEl>
                                          <p:spTgt spid="67"/>
                                        </p:tgtEl>
                                        <p:attrNameLst>
                                          <p:attrName>style.visibility</p:attrName>
                                        </p:attrNameLst>
                                      </p:cBhvr>
                                      <p:to>
                                        <p:strVal val="visible"/>
                                      </p:to>
                                    </p:set>
                                    <p:animEffect transition="in" filter="fade">
                                      <p:cBhvr>
                                        <p:cTn id="19" dur="500"/>
                                        <p:tgtEl>
                                          <p:spTgt spid="6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12"/>
                                        </p:tgtEl>
                                        <p:attrNameLst>
                                          <p:attrName>style.visibility</p:attrName>
                                        </p:attrNameLst>
                                      </p:cBhvr>
                                      <p:to>
                                        <p:strVal val="visible"/>
                                      </p:to>
                                    </p:set>
                                    <p:animEffect transition="in" filter="fade">
                                      <p:cBhvr>
                                        <p:cTn id="24" dur="500"/>
                                        <p:tgtEl>
                                          <p:spTgt spid="112"/>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4"/>
                                        </p:tgtEl>
                                        <p:attrNameLst>
                                          <p:attrName>style.visibility</p:attrName>
                                        </p:attrNameLst>
                                      </p:cBhvr>
                                      <p:to>
                                        <p:strVal val="visible"/>
                                      </p:to>
                                    </p:set>
                                    <p:animEffect transition="in" filter="fade">
                                      <p:cBhvr>
                                        <p:cTn id="27" dur="500"/>
                                        <p:tgtEl>
                                          <p:spTgt spid="84"/>
                                        </p:tgtEl>
                                      </p:cBhvr>
                                    </p:animEffect>
                                  </p:childTnLst>
                                </p:cTn>
                              </p:par>
                              <p:par>
                                <p:cTn id="28" presetID="10" presetClass="entr" presetSubtype="0" fill="hold" nodeType="withEffect">
                                  <p:stCondLst>
                                    <p:cond delay="0"/>
                                  </p:stCondLst>
                                  <p:childTnLst>
                                    <p:set>
                                      <p:cBhvr>
                                        <p:cTn id="29" dur="1" fill="hold">
                                          <p:stCondLst>
                                            <p:cond delay="0"/>
                                          </p:stCondLst>
                                        </p:cTn>
                                        <p:tgtEl>
                                          <p:spTgt spid="64"/>
                                        </p:tgtEl>
                                        <p:attrNameLst>
                                          <p:attrName>style.visibility</p:attrName>
                                        </p:attrNameLst>
                                      </p:cBhvr>
                                      <p:to>
                                        <p:strVal val="visible"/>
                                      </p:to>
                                    </p:set>
                                    <p:animEffect transition="in" filter="fade">
                                      <p:cBhvr>
                                        <p:cTn id="30" dur="500"/>
                                        <p:tgtEl>
                                          <p:spTgt spid="64"/>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59"/>
                                        </p:tgtEl>
                                        <p:attrNameLst>
                                          <p:attrName>style.visibility</p:attrName>
                                        </p:attrNameLst>
                                      </p:cBhvr>
                                      <p:to>
                                        <p:strVal val="visible"/>
                                      </p:to>
                                    </p:set>
                                    <p:animEffect transition="in" filter="fade">
                                      <p:cBhvr>
                                        <p:cTn id="35" dur="500"/>
                                        <p:tgtEl>
                                          <p:spTgt spid="59"/>
                                        </p:tgtEl>
                                      </p:cBhvr>
                                    </p:animEffect>
                                  </p:childTnLst>
                                </p:cTn>
                              </p:par>
                              <p:par>
                                <p:cTn id="36" presetID="10" presetClass="entr" presetSubtype="0" fill="hold" nodeType="withEffect">
                                  <p:stCondLst>
                                    <p:cond delay="0"/>
                                  </p:stCondLst>
                                  <p:childTnLst>
                                    <p:set>
                                      <p:cBhvr>
                                        <p:cTn id="37" dur="1" fill="hold">
                                          <p:stCondLst>
                                            <p:cond delay="0"/>
                                          </p:stCondLst>
                                        </p:cTn>
                                        <p:tgtEl>
                                          <p:spTgt spid="60"/>
                                        </p:tgtEl>
                                        <p:attrNameLst>
                                          <p:attrName>style.visibility</p:attrName>
                                        </p:attrNameLst>
                                      </p:cBhvr>
                                      <p:to>
                                        <p:strVal val="visible"/>
                                      </p:to>
                                    </p:set>
                                    <p:animEffect transition="in" filter="fade">
                                      <p:cBhvr>
                                        <p:cTn id="38" dur="500"/>
                                        <p:tgtEl>
                                          <p:spTgt spid="60"/>
                                        </p:tgtEl>
                                      </p:cBhvr>
                                    </p:animEffect>
                                  </p:childTnLst>
                                </p:cTn>
                              </p:par>
                              <p:par>
                                <p:cTn id="39" presetID="10" presetClass="entr" presetSubtype="0" fill="hold" nodeType="withEffect">
                                  <p:stCondLst>
                                    <p:cond delay="0"/>
                                  </p:stCondLst>
                                  <p:childTnLst>
                                    <p:set>
                                      <p:cBhvr>
                                        <p:cTn id="40" dur="1" fill="hold">
                                          <p:stCondLst>
                                            <p:cond delay="0"/>
                                          </p:stCondLst>
                                        </p:cTn>
                                        <p:tgtEl>
                                          <p:spTgt spid="62"/>
                                        </p:tgtEl>
                                        <p:attrNameLst>
                                          <p:attrName>style.visibility</p:attrName>
                                        </p:attrNameLst>
                                      </p:cBhvr>
                                      <p:to>
                                        <p:strVal val="visible"/>
                                      </p:to>
                                    </p:set>
                                    <p:animEffect transition="in" filter="fade">
                                      <p:cBhvr>
                                        <p:cTn id="41" dur="500"/>
                                        <p:tgtEl>
                                          <p:spTgt spid="62"/>
                                        </p:tgtEl>
                                      </p:cBhvr>
                                    </p:animEffect>
                                  </p:childTnLst>
                                </p:cTn>
                              </p:par>
                              <p:par>
                                <p:cTn id="42" presetID="10" presetClass="entr" presetSubtype="0" fill="hold" nodeType="withEffect">
                                  <p:stCondLst>
                                    <p:cond delay="0"/>
                                  </p:stCondLst>
                                  <p:childTnLst>
                                    <p:set>
                                      <p:cBhvr>
                                        <p:cTn id="43" dur="1" fill="hold">
                                          <p:stCondLst>
                                            <p:cond delay="0"/>
                                          </p:stCondLst>
                                        </p:cTn>
                                        <p:tgtEl>
                                          <p:spTgt spid="154"/>
                                        </p:tgtEl>
                                        <p:attrNameLst>
                                          <p:attrName>style.visibility</p:attrName>
                                        </p:attrNameLst>
                                      </p:cBhvr>
                                      <p:to>
                                        <p:strVal val="visible"/>
                                      </p:to>
                                    </p:set>
                                    <p:animEffect transition="in" filter="fade">
                                      <p:cBhvr>
                                        <p:cTn id="44" dur="500"/>
                                        <p:tgtEl>
                                          <p:spTgt spid="15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65"/>
                                        </p:tgtEl>
                                        <p:attrNameLst>
                                          <p:attrName>style.visibility</p:attrName>
                                        </p:attrNameLst>
                                      </p:cBhvr>
                                      <p:to>
                                        <p:strVal val="visible"/>
                                      </p:to>
                                    </p:set>
                                    <p:animEffect transition="in" filter="fade">
                                      <p:cBhvr>
                                        <p:cTn id="47"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4" grpId="0"/>
      <p:bldP spid="6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80F66D4-D2D5-EBED-18EA-BADAD4C682F3}"/>
              </a:ext>
            </a:extLst>
          </p:cNvPr>
          <p:cNvSpPr>
            <a:spLocks noGrp="1"/>
          </p:cNvSpPr>
          <p:nvPr>
            <p:ph type="body" sz="quarter" idx="12"/>
          </p:nvPr>
        </p:nvSpPr>
        <p:spPr/>
        <p:txBody>
          <a:bodyPr/>
          <a:lstStyle/>
          <a:p>
            <a:r>
              <a:rPr lang="en-US" dirty="0"/>
              <a:t>“Holodeck” – are we ready ?</a:t>
            </a:r>
            <a:endParaRPr lang="en-DE" dirty="0"/>
          </a:p>
        </p:txBody>
      </p:sp>
      <p:sp>
        <p:nvSpPr>
          <p:cNvPr id="7" name="Text Placeholder 6">
            <a:extLst>
              <a:ext uri="{FF2B5EF4-FFF2-40B4-BE49-F238E27FC236}">
                <a16:creationId xmlns:a16="http://schemas.microsoft.com/office/drawing/2014/main" id="{AB531336-B9CA-A534-51BF-973BF2523B97}"/>
              </a:ext>
            </a:extLst>
          </p:cNvPr>
          <p:cNvSpPr>
            <a:spLocks noGrp="1"/>
          </p:cNvSpPr>
          <p:nvPr>
            <p:ph type="body" sz="quarter" idx="13"/>
          </p:nvPr>
        </p:nvSpPr>
        <p:spPr/>
        <p:txBody>
          <a:bodyPr/>
          <a:lstStyle/>
          <a:p>
            <a:r>
              <a:rPr lang="en-US"/>
              <a:t>Network throughput (upstream) and latency require boost for XR / metaverse</a:t>
            </a:r>
            <a:endParaRPr lang="en-DE"/>
          </a:p>
        </p:txBody>
      </p:sp>
      <p:pic>
        <p:nvPicPr>
          <p:cNvPr id="102" name="Picture 101">
            <a:extLst>
              <a:ext uri="{FF2B5EF4-FFF2-40B4-BE49-F238E27FC236}">
                <a16:creationId xmlns:a16="http://schemas.microsoft.com/office/drawing/2014/main" id="{75DF4F51-5A54-76DF-BCB6-73B7A4F3DF55}"/>
              </a:ext>
            </a:extLst>
          </p:cNvPr>
          <p:cNvPicPr>
            <a:picLocks noChangeAspect="1"/>
          </p:cNvPicPr>
          <p:nvPr/>
        </p:nvPicPr>
        <p:blipFill>
          <a:blip r:embed="rId2"/>
          <a:stretch>
            <a:fillRect/>
          </a:stretch>
        </p:blipFill>
        <p:spPr>
          <a:xfrm>
            <a:off x="3099688" y="2462012"/>
            <a:ext cx="2944623" cy="219475"/>
          </a:xfrm>
          <a:prstGeom prst="rect">
            <a:avLst/>
          </a:prstGeom>
        </p:spPr>
      </p:pic>
      <p:graphicFrame>
        <p:nvGraphicFramePr>
          <p:cNvPr id="2" name="Chart 1">
            <a:extLst>
              <a:ext uri="{FF2B5EF4-FFF2-40B4-BE49-F238E27FC236}">
                <a16:creationId xmlns:a16="http://schemas.microsoft.com/office/drawing/2014/main" id="{7E45F135-D71E-19FB-75AE-EBB60FB20C3B}"/>
              </a:ext>
            </a:extLst>
          </p:cNvPr>
          <p:cNvGraphicFramePr>
            <a:graphicFrameLocks noGrp="1"/>
          </p:cNvGraphicFramePr>
          <p:nvPr/>
        </p:nvGraphicFramePr>
        <p:xfrm>
          <a:off x="3456207" y="1752003"/>
          <a:ext cx="3310625" cy="2525614"/>
        </p:xfrm>
        <a:graphic>
          <a:graphicData uri="http://schemas.openxmlformats.org/drawingml/2006/chart">
            <c:chart xmlns:c="http://schemas.openxmlformats.org/drawingml/2006/chart" xmlns:r="http://schemas.openxmlformats.org/officeDocument/2006/relationships" r:id="rId3"/>
          </a:graphicData>
        </a:graphic>
      </p:graphicFrame>
      <p:sp>
        <p:nvSpPr>
          <p:cNvPr id="3" name="Speech Bubble: Rectangle 4">
            <a:extLst>
              <a:ext uri="{FF2B5EF4-FFF2-40B4-BE49-F238E27FC236}">
                <a16:creationId xmlns:a16="http://schemas.microsoft.com/office/drawing/2014/main" id="{44E8E066-86E4-67A3-4293-BF4A1B3BF2D3}"/>
              </a:ext>
            </a:extLst>
          </p:cNvPr>
          <p:cNvSpPr/>
          <p:nvPr/>
        </p:nvSpPr>
        <p:spPr>
          <a:xfrm>
            <a:off x="517115" y="1191032"/>
            <a:ext cx="2904676" cy="616589"/>
          </a:xfrm>
          <a:prstGeom prst="rect">
            <a:avLst/>
          </a:prstGeom>
          <a:solidFill>
            <a:srgbClr val="005AFF"/>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342900" rtl="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Up to 4x boost required in </a:t>
            </a:r>
            <a:r>
              <a:rPr kumimoji="0" lang="en-US" sz="1200" b="1"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uplink</a:t>
            </a: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to provide guaranteed 20 Mbps </a:t>
            </a:r>
          </a:p>
        </p:txBody>
      </p:sp>
      <p:sp>
        <p:nvSpPr>
          <p:cNvPr id="4" name="Speech Bubble: Rectangle 8">
            <a:extLst>
              <a:ext uri="{FF2B5EF4-FFF2-40B4-BE49-F238E27FC236}">
                <a16:creationId xmlns:a16="http://schemas.microsoft.com/office/drawing/2014/main" id="{FF86D9C5-78A6-8825-75B7-C727732961C4}"/>
              </a:ext>
            </a:extLst>
          </p:cNvPr>
          <p:cNvSpPr/>
          <p:nvPr/>
        </p:nvSpPr>
        <p:spPr>
          <a:xfrm>
            <a:off x="3640832" y="1191284"/>
            <a:ext cx="3039081" cy="616589"/>
          </a:xfrm>
          <a:prstGeom prst="rect">
            <a:avLst/>
          </a:prstGeom>
          <a:solidFill>
            <a:srgbClr val="005AFF"/>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342900" rtl="0" eaLnBrk="1" fontAlgn="auto" latinLnBrk="0" hangingPunct="1">
              <a:lnSpc>
                <a:spcPct val="100000"/>
              </a:lnSpc>
              <a:spcBef>
                <a:spcPts val="0"/>
              </a:spcBef>
              <a:spcAft>
                <a:spcPts val="0"/>
              </a:spcAft>
              <a:buClrTx/>
              <a:buSzPct val="100000"/>
              <a:buFontTx/>
              <a:buNone/>
              <a:tabLst/>
              <a:defRPr/>
            </a:pP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Up to 4x </a:t>
            </a:r>
            <a:r>
              <a:rPr kumimoji="0" lang="en-US" sz="1200" b="1"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latency </a:t>
            </a: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reduction</a:t>
            </a:r>
            <a:r>
              <a:rPr kumimoji="0" lang="en-US" sz="1200" b="1"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a:t>
            </a: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required to provide guaranteed 10 </a:t>
            </a:r>
            <a:r>
              <a:rPr kumimoji="0" lang="en-US" sz="1200" b="0" i="0" u="none" strike="noStrike" kern="0" cap="none" spc="0" normalizeH="0" baseline="0" noProof="0" err="1">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s</a:t>
            </a:r>
            <a:endPar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8" name="TextBox 7">
            <a:extLst>
              <a:ext uri="{FF2B5EF4-FFF2-40B4-BE49-F238E27FC236}">
                <a16:creationId xmlns:a16="http://schemas.microsoft.com/office/drawing/2014/main" id="{925DC374-2482-C9FC-FA13-281FFF67359D}"/>
              </a:ext>
            </a:extLst>
          </p:cNvPr>
          <p:cNvSpPr txBox="1"/>
          <p:nvPr/>
        </p:nvSpPr>
        <p:spPr>
          <a:xfrm>
            <a:off x="654584" y="4402263"/>
            <a:ext cx="4445071" cy="246221"/>
          </a:xfrm>
          <a:prstGeom prst="rect">
            <a:avLst/>
          </a:prstGeom>
          <a:noFill/>
        </p:spPr>
        <p:txBody>
          <a:bodyPr wrap="square" lIns="0" tIns="0" rIns="0" bIns="0" rtlCol="0">
            <a:spAutoFit/>
          </a:bodyPr>
          <a:lstStyle/>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Source:  Nokia, crowd-sourced data collected from Tutela in December 2022.</a:t>
            </a:r>
          </a:p>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Latency measured as roundtrip time to Amazon, Google or Akamai CDN test server</a:t>
            </a:r>
          </a:p>
        </p:txBody>
      </p:sp>
      <p:sp>
        <p:nvSpPr>
          <p:cNvPr id="9" name="Speech Bubble: Rectangle 18">
            <a:extLst>
              <a:ext uri="{FF2B5EF4-FFF2-40B4-BE49-F238E27FC236}">
                <a16:creationId xmlns:a16="http://schemas.microsoft.com/office/drawing/2014/main" id="{F354F505-BB2E-71CA-7B86-65850F4D2BCC}"/>
              </a:ext>
            </a:extLst>
          </p:cNvPr>
          <p:cNvSpPr/>
          <p:nvPr/>
        </p:nvSpPr>
        <p:spPr>
          <a:xfrm>
            <a:off x="6826778" y="1191284"/>
            <a:ext cx="2150013" cy="616589"/>
          </a:xfrm>
          <a:prstGeom prst="rect">
            <a:avLst/>
          </a:prstGeom>
          <a:solidFill>
            <a:srgbClr val="005AFF"/>
          </a:solidFill>
          <a:ln w="25400" cap="flat" cmpd="sng" algn="ctr">
            <a:no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342900" rtl="0" eaLnBrk="1" fontAlgn="auto" latinLnBrk="0" hangingPunct="1">
              <a:lnSpc>
                <a:spcPct val="100000"/>
              </a:lnSpc>
              <a:spcBef>
                <a:spcPts val="0"/>
              </a:spcBef>
              <a:spcAft>
                <a:spcPts val="0"/>
              </a:spcAft>
              <a:buClrTx/>
              <a:buSzPct val="100000"/>
              <a:buFontTx/>
              <a:buNone/>
              <a:tabLst/>
              <a:defRPr/>
            </a:pPr>
            <a:r>
              <a:rPr kumimoji="0" lang="en-US" sz="1200" b="1"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Edge Cloud </a:t>
            </a:r>
            <a:r>
              <a:rPr kumimoji="0" lang="en-US" sz="1200" b="0" i="0" u="none" strike="noStrike" kern="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for lower power,  high performing XR devices with split processing.</a:t>
            </a:r>
          </a:p>
        </p:txBody>
      </p:sp>
      <p:grpSp>
        <p:nvGrpSpPr>
          <p:cNvPr id="10" name="Group 9">
            <a:extLst>
              <a:ext uri="{FF2B5EF4-FFF2-40B4-BE49-F238E27FC236}">
                <a16:creationId xmlns:a16="http://schemas.microsoft.com/office/drawing/2014/main" id="{0E1D6E68-076A-CE4F-2BA7-098DAE976C0A}"/>
              </a:ext>
            </a:extLst>
          </p:cNvPr>
          <p:cNvGrpSpPr/>
          <p:nvPr/>
        </p:nvGrpSpPr>
        <p:grpSpPr>
          <a:xfrm>
            <a:off x="6826778" y="1839495"/>
            <a:ext cx="2150013" cy="2185313"/>
            <a:chOff x="6655088" y="1973523"/>
            <a:chExt cx="2150013" cy="2185313"/>
          </a:xfrm>
        </p:grpSpPr>
        <p:grpSp>
          <p:nvGrpSpPr>
            <p:cNvPr id="11" name="Group 10">
              <a:extLst>
                <a:ext uri="{FF2B5EF4-FFF2-40B4-BE49-F238E27FC236}">
                  <a16:creationId xmlns:a16="http://schemas.microsoft.com/office/drawing/2014/main" id="{E85954DC-C197-24E8-511C-2846882EE281}"/>
                </a:ext>
              </a:extLst>
            </p:cNvPr>
            <p:cNvGrpSpPr/>
            <p:nvPr/>
          </p:nvGrpSpPr>
          <p:grpSpPr>
            <a:xfrm>
              <a:off x="6885398" y="2213590"/>
              <a:ext cx="1689392" cy="1555720"/>
              <a:chOff x="6908420" y="2210809"/>
              <a:chExt cx="1689392" cy="1373908"/>
            </a:xfrm>
          </p:grpSpPr>
          <p:grpSp>
            <p:nvGrpSpPr>
              <p:cNvPr id="13" name="Group 12">
                <a:extLst>
                  <a:ext uri="{FF2B5EF4-FFF2-40B4-BE49-F238E27FC236}">
                    <a16:creationId xmlns:a16="http://schemas.microsoft.com/office/drawing/2014/main" id="{A55746B1-AF89-1F0D-2BEA-676F03A9BECB}"/>
                  </a:ext>
                </a:extLst>
              </p:cNvPr>
              <p:cNvGrpSpPr/>
              <p:nvPr/>
            </p:nvGrpSpPr>
            <p:grpSpPr>
              <a:xfrm>
                <a:off x="7440031" y="2847970"/>
                <a:ext cx="374296" cy="466275"/>
                <a:chOff x="7463630" y="2847970"/>
                <a:chExt cx="374296" cy="466275"/>
              </a:xfrm>
            </p:grpSpPr>
            <p:sp>
              <p:nvSpPr>
                <p:cNvPr id="37" name="Graphic 51">
                  <a:extLst>
                    <a:ext uri="{FF2B5EF4-FFF2-40B4-BE49-F238E27FC236}">
                      <a16:creationId xmlns:a16="http://schemas.microsoft.com/office/drawing/2014/main" id="{3F594ABD-0721-EF49-8F9A-B69FB8605C1A}"/>
                    </a:ext>
                  </a:extLst>
                </p:cNvPr>
                <p:cNvSpPr/>
                <p:nvPr/>
              </p:nvSpPr>
              <p:spPr>
                <a:xfrm>
                  <a:off x="7463630" y="3010178"/>
                  <a:ext cx="374296" cy="304067"/>
                </a:xfrm>
                <a:custGeom>
                  <a:avLst/>
                  <a:gdLst>
                    <a:gd name="connsiteX0" fmla="*/ 1140571 w 1277824"/>
                    <a:gd name="connsiteY0" fmla="*/ 137254 h 1277825"/>
                    <a:gd name="connsiteX1" fmla="*/ 1277825 w 1277824"/>
                    <a:gd name="connsiteY1" fmla="*/ 638913 h 1277825"/>
                    <a:gd name="connsiteX2" fmla="*/ 1140571 w 1277824"/>
                    <a:gd name="connsiteY2" fmla="*/ 1140572 h 1277825"/>
                    <a:gd name="connsiteX3" fmla="*/ 638912 w 1277824"/>
                    <a:gd name="connsiteY3" fmla="*/ 1277826 h 1277825"/>
                    <a:gd name="connsiteX4" fmla="*/ 137254 w 1277824"/>
                    <a:gd name="connsiteY4" fmla="*/ 1140572 h 1277825"/>
                    <a:gd name="connsiteX5" fmla="*/ 0 w 1277824"/>
                    <a:gd name="connsiteY5" fmla="*/ 638913 h 1277825"/>
                    <a:gd name="connsiteX6" fmla="*/ 137254 w 1277824"/>
                    <a:gd name="connsiteY6" fmla="*/ 137254 h 1277825"/>
                    <a:gd name="connsiteX7" fmla="*/ 638912 w 1277824"/>
                    <a:gd name="connsiteY7" fmla="*/ 0 h 1277825"/>
                    <a:gd name="connsiteX8" fmla="*/ 1140571 w 1277824"/>
                    <a:gd name="connsiteY8" fmla="*/ 137254 h 127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7824" h="1277825">
                      <a:moveTo>
                        <a:pt x="1140571" y="137254"/>
                      </a:moveTo>
                      <a:cubicBezTo>
                        <a:pt x="1250374" y="241971"/>
                        <a:pt x="1275194" y="440442"/>
                        <a:pt x="1277825" y="638913"/>
                      </a:cubicBezTo>
                      <a:cubicBezTo>
                        <a:pt x="1275194" y="837384"/>
                        <a:pt x="1250374" y="1035855"/>
                        <a:pt x="1140571" y="1140572"/>
                      </a:cubicBezTo>
                      <a:cubicBezTo>
                        <a:pt x="1035854" y="1250375"/>
                        <a:pt x="837383" y="1275195"/>
                        <a:pt x="638912" y="1277826"/>
                      </a:cubicBezTo>
                      <a:cubicBezTo>
                        <a:pt x="440442" y="1275195"/>
                        <a:pt x="241971" y="1250375"/>
                        <a:pt x="137254" y="1140572"/>
                      </a:cubicBezTo>
                      <a:cubicBezTo>
                        <a:pt x="27451" y="1035855"/>
                        <a:pt x="2631" y="837384"/>
                        <a:pt x="0" y="638913"/>
                      </a:cubicBezTo>
                      <a:cubicBezTo>
                        <a:pt x="2631" y="440442"/>
                        <a:pt x="27451" y="241971"/>
                        <a:pt x="137254" y="137254"/>
                      </a:cubicBezTo>
                      <a:cubicBezTo>
                        <a:pt x="241971" y="27451"/>
                        <a:pt x="440442" y="2631"/>
                        <a:pt x="638912" y="0"/>
                      </a:cubicBezTo>
                      <a:cubicBezTo>
                        <a:pt x="837383" y="2631"/>
                        <a:pt x="1035854" y="27451"/>
                        <a:pt x="1140571" y="137254"/>
                      </a:cubicBezTo>
                      <a:close/>
                    </a:path>
                  </a:pathLst>
                </a:custGeom>
                <a:solidFill>
                  <a:srgbClr val="CCCCCC"/>
                </a:solidFill>
                <a:ln w="3175" cap="flat">
                  <a:solidFill>
                    <a:schemeClr val="tx1"/>
                  </a:solidFill>
                  <a:prstDash val="solid"/>
                  <a:miter/>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Nokia Pure Headline Ultra Light" panose="020B0204020202020204" pitchFamily="34" charset="0"/>
                      <a:ea typeface="+mn-ea"/>
                      <a:cs typeface="+mn-cs"/>
                    </a:rPr>
                    <a:t>5G</a:t>
                  </a:r>
                </a:p>
              </p:txBody>
            </p:sp>
            <p:pic>
              <p:nvPicPr>
                <p:cNvPr id="38" name="Graphic 37">
                  <a:extLst>
                    <a:ext uri="{FF2B5EF4-FFF2-40B4-BE49-F238E27FC236}">
                      <a16:creationId xmlns:a16="http://schemas.microsoft.com/office/drawing/2014/main" id="{2B9861EC-1B46-7C8F-F8FF-729D604232AA}"/>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40706" t="4445" r="12869" b="28762"/>
                <a:stretch/>
              </p:blipFill>
              <p:spPr>
                <a:xfrm rot="16200000">
                  <a:off x="7550440" y="2819355"/>
                  <a:ext cx="130448" cy="187677"/>
                </a:xfrm>
                <a:prstGeom prst="rect">
                  <a:avLst/>
                </a:prstGeom>
              </p:spPr>
            </p:pic>
          </p:grpSp>
          <p:grpSp>
            <p:nvGrpSpPr>
              <p:cNvPr id="14" name="Group 13">
                <a:extLst>
                  <a:ext uri="{FF2B5EF4-FFF2-40B4-BE49-F238E27FC236}">
                    <a16:creationId xmlns:a16="http://schemas.microsoft.com/office/drawing/2014/main" id="{C3AE0916-7754-0E89-D712-87326D24CB65}"/>
                  </a:ext>
                </a:extLst>
              </p:cNvPr>
              <p:cNvGrpSpPr/>
              <p:nvPr/>
            </p:nvGrpSpPr>
            <p:grpSpPr>
              <a:xfrm>
                <a:off x="6908420" y="2619455"/>
                <a:ext cx="440177" cy="965262"/>
                <a:chOff x="6915295" y="2619455"/>
                <a:chExt cx="440177" cy="965262"/>
              </a:xfrm>
            </p:grpSpPr>
            <p:grpSp>
              <p:nvGrpSpPr>
                <p:cNvPr id="25" name="Group 24">
                  <a:extLst>
                    <a:ext uri="{FF2B5EF4-FFF2-40B4-BE49-F238E27FC236}">
                      <a16:creationId xmlns:a16="http://schemas.microsoft.com/office/drawing/2014/main" id="{98E78CFE-C46E-4EF5-A192-7768D2F9ACBA}"/>
                    </a:ext>
                  </a:extLst>
                </p:cNvPr>
                <p:cNvGrpSpPr/>
                <p:nvPr/>
              </p:nvGrpSpPr>
              <p:grpSpPr>
                <a:xfrm>
                  <a:off x="6915295" y="2619455"/>
                  <a:ext cx="440177" cy="444056"/>
                  <a:chOff x="5252871" y="1625587"/>
                  <a:chExt cx="1077620" cy="1087122"/>
                </a:xfrm>
                <a:solidFill>
                  <a:srgbClr val="124191"/>
                </a:solidFill>
              </p:grpSpPr>
              <p:grpSp>
                <p:nvGrpSpPr>
                  <p:cNvPr id="32" name="Group 31">
                    <a:extLst>
                      <a:ext uri="{FF2B5EF4-FFF2-40B4-BE49-F238E27FC236}">
                        <a16:creationId xmlns:a16="http://schemas.microsoft.com/office/drawing/2014/main" id="{84A19EE9-05AC-36F3-A4D5-BF29C42B3229}"/>
                      </a:ext>
                    </a:extLst>
                  </p:cNvPr>
                  <p:cNvGrpSpPr/>
                  <p:nvPr/>
                </p:nvGrpSpPr>
                <p:grpSpPr>
                  <a:xfrm flipH="1">
                    <a:off x="5252871" y="1625587"/>
                    <a:ext cx="385452" cy="630735"/>
                    <a:chOff x="11959345" y="337461"/>
                    <a:chExt cx="240830" cy="394082"/>
                  </a:xfrm>
                  <a:grpFill/>
                </p:grpSpPr>
                <p:sp>
                  <p:nvSpPr>
                    <p:cNvPr id="34" name="Freeform 18">
                      <a:extLst>
                        <a:ext uri="{FF2B5EF4-FFF2-40B4-BE49-F238E27FC236}">
                          <a16:creationId xmlns:a16="http://schemas.microsoft.com/office/drawing/2014/main" id="{6FE55F2D-8CAD-01C3-CBA6-57B6B11E1B3C}"/>
                        </a:ext>
                      </a:extLst>
                    </p:cNvPr>
                    <p:cNvSpPr/>
                    <p:nvPr/>
                  </p:nvSpPr>
                  <p:spPr>
                    <a:xfrm>
                      <a:off x="11959345" y="337461"/>
                      <a:ext cx="240830" cy="394082"/>
                    </a:xfrm>
                    <a:custGeom>
                      <a:avLst/>
                      <a:gdLst>
                        <a:gd name="connsiteX0" fmla="*/ 2208101 w 2857553"/>
                        <a:gd name="connsiteY0" fmla="*/ 0 h 4675964"/>
                        <a:gd name="connsiteX1" fmla="*/ 649452 w 2857553"/>
                        <a:gd name="connsiteY1" fmla="*/ 0 h 4675964"/>
                        <a:gd name="connsiteX2" fmla="*/ 0 w 2857553"/>
                        <a:gd name="connsiteY2" fmla="*/ 649443 h 4675964"/>
                        <a:gd name="connsiteX3" fmla="*/ 0 w 2857553"/>
                        <a:gd name="connsiteY3" fmla="*/ 4026521 h 4675964"/>
                        <a:gd name="connsiteX4" fmla="*/ 649452 w 2857553"/>
                        <a:gd name="connsiteY4" fmla="*/ 4675965 h 4675964"/>
                        <a:gd name="connsiteX5" fmla="*/ 2208101 w 2857553"/>
                        <a:gd name="connsiteY5" fmla="*/ 4675965 h 4675964"/>
                        <a:gd name="connsiteX6" fmla="*/ 2857553 w 2857553"/>
                        <a:gd name="connsiteY6" fmla="*/ 4026521 h 4675964"/>
                        <a:gd name="connsiteX7" fmla="*/ 2857553 w 2857553"/>
                        <a:gd name="connsiteY7" fmla="*/ 649443 h 4675964"/>
                        <a:gd name="connsiteX8" fmla="*/ 2208101 w 2857553"/>
                        <a:gd name="connsiteY8" fmla="*/ 0 h 4675964"/>
                        <a:gd name="connsiteX9" fmla="*/ 2597886 w 2857553"/>
                        <a:gd name="connsiteY9" fmla="*/ 4026335 h 4675964"/>
                        <a:gd name="connsiteX10" fmla="*/ 2208101 w 2857553"/>
                        <a:gd name="connsiteY10" fmla="*/ 4416115 h 4675964"/>
                        <a:gd name="connsiteX11" fmla="*/ 649452 w 2857553"/>
                        <a:gd name="connsiteY11" fmla="*/ 4416115 h 4675964"/>
                        <a:gd name="connsiteX12" fmla="*/ 259667 w 2857553"/>
                        <a:gd name="connsiteY12" fmla="*/ 4026335 h 4675964"/>
                        <a:gd name="connsiteX13" fmla="*/ 259667 w 2857553"/>
                        <a:gd name="connsiteY13" fmla="*/ 649453 h 4675964"/>
                        <a:gd name="connsiteX14" fmla="*/ 649452 w 2857553"/>
                        <a:gd name="connsiteY14" fmla="*/ 259674 h 4675964"/>
                        <a:gd name="connsiteX15" fmla="*/ 2208101 w 2857553"/>
                        <a:gd name="connsiteY15" fmla="*/ 259674 h 4675964"/>
                        <a:gd name="connsiteX16" fmla="*/ 2597886 w 2857553"/>
                        <a:gd name="connsiteY16" fmla="*/ 649453 h 467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7553" h="4675964">
                          <a:moveTo>
                            <a:pt x="2208101" y="0"/>
                          </a:moveTo>
                          <a:lnTo>
                            <a:pt x="649452" y="0"/>
                          </a:lnTo>
                          <a:cubicBezTo>
                            <a:pt x="291469" y="0"/>
                            <a:pt x="0" y="291465"/>
                            <a:pt x="0" y="649443"/>
                          </a:cubicBezTo>
                          <a:lnTo>
                            <a:pt x="0" y="4026521"/>
                          </a:lnTo>
                          <a:cubicBezTo>
                            <a:pt x="0" y="4384500"/>
                            <a:pt x="291469" y="4675965"/>
                            <a:pt x="649452" y="4675965"/>
                          </a:cubicBezTo>
                          <a:lnTo>
                            <a:pt x="2208101" y="4675965"/>
                          </a:lnTo>
                          <a:cubicBezTo>
                            <a:pt x="2566084" y="4675965"/>
                            <a:pt x="2857553" y="4384500"/>
                            <a:pt x="2857553" y="4026521"/>
                          </a:cubicBezTo>
                          <a:lnTo>
                            <a:pt x="2857553" y="649443"/>
                          </a:lnTo>
                          <a:cubicBezTo>
                            <a:pt x="2857553" y="291240"/>
                            <a:pt x="2566084" y="0"/>
                            <a:pt x="2208101" y="0"/>
                          </a:cubicBezTo>
                          <a:close/>
                          <a:moveTo>
                            <a:pt x="2597886" y="4026335"/>
                          </a:moveTo>
                          <a:cubicBezTo>
                            <a:pt x="2597886" y="4241226"/>
                            <a:pt x="2422985" y="4416115"/>
                            <a:pt x="2208101" y="4416115"/>
                          </a:cubicBezTo>
                          <a:lnTo>
                            <a:pt x="649452" y="4416115"/>
                          </a:lnTo>
                          <a:cubicBezTo>
                            <a:pt x="434558" y="4416115"/>
                            <a:pt x="259667" y="4241216"/>
                            <a:pt x="259667" y="4026335"/>
                          </a:cubicBezTo>
                          <a:lnTo>
                            <a:pt x="259667" y="649453"/>
                          </a:lnTo>
                          <a:cubicBezTo>
                            <a:pt x="259667" y="434562"/>
                            <a:pt x="434568" y="259674"/>
                            <a:pt x="649452" y="259674"/>
                          </a:cubicBezTo>
                          <a:lnTo>
                            <a:pt x="2208101" y="259674"/>
                          </a:lnTo>
                          <a:cubicBezTo>
                            <a:pt x="2422995" y="259674"/>
                            <a:pt x="2597886" y="434572"/>
                            <a:pt x="2597886" y="649453"/>
                          </a:cubicBezTo>
                          <a:close/>
                        </a:path>
                      </a:pathLst>
                    </a:custGeom>
                    <a:grpFill/>
                    <a:ln w="3175" cap="flat">
                      <a:solidFill>
                        <a:schemeClr val="tx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35" name="Freeform 19">
                      <a:extLst>
                        <a:ext uri="{FF2B5EF4-FFF2-40B4-BE49-F238E27FC236}">
                          <a16:creationId xmlns:a16="http://schemas.microsoft.com/office/drawing/2014/main" id="{857EF906-8B31-D051-56A5-B1BB18F9E9C5}"/>
                        </a:ext>
                      </a:extLst>
                    </p:cNvPr>
                    <p:cNvSpPr/>
                    <p:nvPr/>
                  </p:nvSpPr>
                  <p:spPr>
                    <a:xfrm>
                      <a:off x="12057879" y="654906"/>
                      <a:ext cx="43775" cy="43775"/>
                    </a:xfrm>
                    <a:custGeom>
                      <a:avLst/>
                      <a:gdLst>
                        <a:gd name="connsiteX0" fmla="*/ 519413 w 519412"/>
                        <a:gd name="connsiteY0" fmla="*/ 259703 h 519405"/>
                        <a:gd name="connsiteX1" fmla="*/ 259707 w 519412"/>
                        <a:gd name="connsiteY1" fmla="*/ 519406 h 519405"/>
                        <a:gd name="connsiteX2" fmla="*/ 0 w 519412"/>
                        <a:gd name="connsiteY2" fmla="*/ 259703 h 519405"/>
                        <a:gd name="connsiteX3" fmla="*/ 259707 w 519412"/>
                        <a:gd name="connsiteY3" fmla="*/ 0 h 519405"/>
                        <a:gd name="connsiteX4" fmla="*/ 519413 w 519412"/>
                        <a:gd name="connsiteY4" fmla="*/ 259703 h 5194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12" h="519405">
                          <a:moveTo>
                            <a:pt x="519413" y="259703"/>
                          </a:moveTo>
                          <a:cubicBezTo>
                            <a:pt x="519413" y="403143"/>
                            <a:pt x="403148" y="519406"/>
                            <a:pt x="259707" y="519406"/>
                          </a:cubicBezTo>
                          <a:cubicBezTo>
                            <a:pt x="116264" y="519406"/>
                            <a:pt x="0" y="403143"/>
                            <a:pt x="0" y="259703"/>
                          </a:cubicBezTo>
                          <a:cubicBezTo>
                            <a:pt x="0" y="116263"/>
                            <a:pt x="116264" y="0"/>
                            <a:pt x="259707" y="0"/>
                          </a:cubicBezTo>
                          <a:cubicBezTo>
                            <a:pt x="403148" y="0"/>
                            <a:pt x="519413" y="116263"/>
                            <a:pt x="519413" y="259703"/>
                          </a:cubicBezTo>
                        </a:path>
                      </a:pathLst>
                    </a:custGeom>
                    <a:grpFill/>
                    <a:ln w="3175" cap="flat">
                      <a:solidFill>
                        <a:schemeClr val="tx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36" name="Freeform 20">
                      <a:extLst>
                        <a:ext uri="{FF2B5EF4-FFF2-40B4-BE49-F238E27FC236}">
                          <a16:creationId xmlns:a16="http://schemas.microsoft.com/office/drawing/2014/main" id="{F9EFA563-0F51-E38A-C262-7A100DABDFAC}"/>
                        </a:ext>
                      </a:extLst>
                    </p:cNvPr>
                    <p:cNvSpPr/>
                    <p:nvPr/>
                  </p:nvSpPr>
                  <p:spPr>
                    <a:xfrm>
                      <a:off x="12046920" y="370289"/>
                      <a:ext cx="65678" cy="21887"/>
                    </a:xfrm>
                    <a:custGeom>
                      <a:avLst/>
                      <a:gdLst>
                        <a:gd name="connsiteX0" fmla="*/ 649452 w 779304"/>
                        <a:gd name="connsiteY0" fmla="*/ 0 h 259702"/>
                        <a:gd name="connsiteX1" fmla="*/ 129853 w 779304"/>
                        <a:gd name="connsiteY1" fmla="*/ 0 h 259702"/>
                        <a:gd name="connsiteX2" fmla="*/ 0 w 779304"/>
                        <a:gd name="connsiteY2" fmla="*/ 129851 h 259702"/>
                        <a:gd name="connsiteX3" fmla="*/ 129853 w 779304"/>
                        <a:gd name="connsiteY3" fmla="*/ 259703 h 259702"/>
                        <a:gd name="connsiteX4" fmla="*/ 649452 w 779304"/>
                        <a:gd name="connsiteY4" fmla="*/ 259703 h 259702"/>
                        <a:gd name="connsiteX5" fmla="*/ 779305 w 779304"/>
                        <a:gd name="connsiteY5" fmla="*/ 129851 h 259702"/>
                        <a:gd name="connsiteX6" fmla="*/ 649452 w 779304"/>
                        <a:gd name="connsiteY6" fmla="*/ 0 h 259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9304" h="259702">
                          <a:moveTo>
                            <a:pt x="649452" y="0"/>
                          </a:moveTo>
                          <a:lnTo>
                            <a:pt x="129853" y="0"/>
                          </a:lnTo>
                          <a:cubicBezTo>
                            <a:pt x="58059" y="0"/>
                            <a:pt x="0" y="58056"/>
                            <a:pt x="0" y="129851"/>
                          </a:cubicBezTo>
                          <a:cubicBezTo>
                            <a:pt x="0" y="201645"/>
                            <a:pt x="58059" y="259703"/>
                            <a:pt x="129853" y="259703"/>
                          </a:cubicBezTo>
                          <a:lnTo>
                            <a:pt x="649452" y="259703"/>
                          </a:lnTo>
                          <a:cubicBezTo>
                            <a:pt x="721246" y="259703"/>
                            <a:pt x="779305" y="201645"/>
                            <a:pt x="779305" y="129851"/>
                          </a:cubicBezTo>
                          <a:cubicBezTo>
                            <a:pt x="779305" y="58095"/>
                            <a:pt x="721207" y="0"/>
                            <a:pt x="649452" y="0"/>
                          </a:cubicBezTo>
                          <a:close/>
                        </a:path>
                      </a:pathLst>
                    </a:custGeom>
                    <a:grpFill/>
                    <a:ln w="3175" cap="flat">
                      <a:solidFill>
                        <a:schemeClr val="tx1"/>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24191"/>
                        </a:solidFill>
                        <a:effectLst/>
                        <a:uLnTx/>
                        <a:uFillTx/>
                        <a:latin typeface="Nokia Pure Text Light"/>
                        <a:ea typeface="+mn-ea"/>
                        <a:cs typeface="+mn-cs"/>
                      </a:endParaRPr>
                    </a:p>
                  </p:txBody>
                </p:sp>
              </p:grpSp>
              <p:pic>
                <p:nvPicPr>
                  <p:cNvPr id="33" name="Graphic 32">
                    <a:extLst>
                      <a:ext uri="{FF2B5EF4-FFF2-40B4-BE49-F238E27FC236}">
                        <a16:creationId xmlns:a16="http://schemas.microsoft.com/office/drawing/2014/main" id="{CA70E0B1-340E-262B-2968-726E4D040A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6086" y="1968305"/>
                    <a:ext cx="744405" cy="744404"/>
                  </a:xfrm>
                  <a:prstGeom prst="rect">
                    <a:avLst/>
                  </a:prstGeom>
                </p:spPr>
              </p:pic>
            </p:grpSp>
            <p:grpSp>
              <p:nvGrpSpPr>
                <p:cNvPr id="26" name="Group 25">
                  <a:extLst>
                    <a:ext uri="{FF2B5EF4-FFF2-40B4-BE49-F238E27FC236}">
                      <a16:creationId xmlns:a16="http://schemas.microsoft.com/office/drawing/2014/main" id="{5919FB4E-A050-03AA-9F27-36894E741633}"/>
                    </a:ext>
                  </a:extLst>
                </p:cNvPr>
                <p:cNvGrpSpPr/>
                <p:nvPr/>
              </p:nvGrpSpPr>
              <p:grpSpPr>
                <a:xfrm>
                  <a:off x="6999394" y="3075886"/>
                  <a:ext cx="288245" cy="350922"/>
                  <a:chOff x="4394517" y="176507"/>
                  <a:chExt cx="1234001" cy="1442469"/>
                </a:xfrm>
                <a:noFill/>
              </p:grpSpPr>
              <p:sp>
                <p:nvSpPr>
                  <p:cNvPr id="28" name="Rectangle 27">
                    <a:extLst>
                      <a:ext uri="{FF2B5EF4-FFF2-40B4-BE49-F238E27FC236}">
                        <a16:creationId xmlns:a16="http://schemas.microsoft.com/office/drawing/2014/main" id="{52EE7037-3EA9-1441-60D8-21B4A21EB1D3}"/>
                      </a:ext>
                    </a:extLst>
                  </p:cNvPr>
                  <p:cNvSpPr/>
                  <p:nvPr/>
                </p:nvSpPr>
                <p:spPr>
                  <a:xfrm>
                    <a:off x="4394517" y="527158"/>
                    <a:ext cx="1233997" cy="353200"/>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29" name="Rectangle 28">
                    <a:extLst>
                      <a:ext uri="{FF2B5EF4-FFF2-40B4-BE49-F238E27FC236}">
                        <a16:creationId xmlns:a16="http://schemas.microsoft.com/office/drawing/2014/main" id="{9C19FAB8-2CD3-9659-A7D7-2E48C7E6D8E7}"/>
                      </a:ext>
                    </a:extLst>
                  </p:cNvPr>
                  <p:cNvSpPr/>
                  <p:nvPr/>
                </p:nvSpPr>
                <p:spPr>
                  <a:xfrm>
                    <a:off x="4394521" y="876363"/>
                    <a:ext cx="1233997" cy="374336"/>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30" name="Rectangle 29">
                    <a:extLst>
                      <a:ext uri="{FF2B5EF4-FFF2-40B4-BE49-F238E27FC236}">
                        <a16:creationId xmlns:a16="http://schemas.microsoft.com/office/drawing/2014/main" id="{F59AC516-348A-A02A-EC1E-38E83434FB20}"/>
                      </a:ext>
                    </a:extLst>
                  </p:cNvPr>
                  <p:cNvSpPr/>
                  <p:nvPr/>
                </p:nvSpPr>
                <p:spPr>
                  <a:xfrm>
                    <a:off x="4394517" y="176507"/>
                    <a:ext cx="1233993" cy="353200"/>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31" name="Rectangle 30">
                    <a:extLst>
                      <a:ext uri="{FF2B5EF4-FFF2-40B4-BE49-F238E27FC236}">
                        <a16:creationId xmlns:a16="http://schemas.microsoft.com/office/drawing/2014/main" id="{8C035E01-95A6-1200-1C31-528790194EAC}"/>
                      </a:ext>
                    </a:extLst>
                  </p:cNvPr>
                  <p:cNvSpPr/>
                  <p:nvPr/>
                </p:nvSpPr>
                <p:spPr>
                  <a:xfrm>
                    <a:off x="4394517" y="1244640"/>
                    <a:ext cx="1233989" cy="374336"/>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grpSp>
            <p:sp>
              <p:nvSpPr>
                <p:cNvPr id="27" name="TextBox 26">
                  <a:extLst>
                    <a:ext uri="{FF2B5EF4-FFF2-40B4-BE49-F238E27FC236}">
                      <a16:creationId xmlns:a16="http://schemas.microsoft.com/office/drawing/2014/main" id="{1A0F7CA1-76FD-4662-4D59-4C5EBADE8BB3}"/>
                    </a:ext>
                  </a:extLst>
                </p:cNvPr>
                <p:cNvSpPr txBox="1"/>
                <p:nvPr/>
              </p:nvSpPr>
              <p:spPr>
                <a:xfrm>
                  <a:off x="6939443" y="3463465"/>
                  <a:ext cx="414841" cy="121252"/>
                </a:xfrm>
                <a:prstGeom prst="rect">
                  <a:avLst/>
                </a:prstGeom>
                <a:noFill/>
                <a:ln w="3175">
                  <a:solidFill>
                    <a:schemeClr val="tx1"/>
                  </a:solidFill>
                </a:ln>
              </p:spPr>
              <p:txBody>
                <a:bodyPr wrap="square" lIns="0" tIns="0" rIns="0" bIns="0" rtlCol="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XR stack</a:t>
                  </a:r>
                </a:p>
              </p:txBody>
            </p:sp>
          </p:grpSp>
          <p:grpSp>
            <p:nvGrpSpPr>
              <p:cNvPr id="15" name="Group 14">
                <a:extLst>
                  <a:ext uri="{FF2B5EF4-FFF2-40B4-BE49-F238E27FC236}">
                    <a16:creationId xmlns:a16="http://schemas.microsoft.com/office/drawing/2014/main" id="{B2A13587-9709-BD2A-5BA2-75CAF2C41585}"/>
                  </a:ext>
                </a:extLst>
              </p:cNvPr>
              <p:cNvGrpSpPr/>
              <p:nvPr/>
            </p:nvGrpSpPr>
            <p:grpSpPr>
              <a:xfrm>
                <a:off x="7905761" y="2646712"/>
                <a:ext cx="692051" cy="937748"/>
                <a:chOff x="7905761" y="2646712"/>
                <a:chExt cx="692051" cy="937748"/>
              </a:xfrm>
            </p:grpSpPr>
            <p:sp>
              <p:nvSpPr>
                <p:cNvPr id="19" name="Rectangle 18">
                  <a:extLst>
                    <a:ext uri="{FF2B5EF4-FFF2-40B4-BE49-F238E27FC236}">
                      <a16:creationId xmlns:a16="http://schemas.microsoft.com/office/drawing/2014/main" id="{9FBD3D74-F9F7-2702-625D-3D680D50070E}"/>
                    </a:ext>
                  </a:extLst>
                </p:cNvPr>
                <p:cNvSpPr/>
                <p:nvPr/>
              </p:nvSpPr>
              <p:spPr>
                <a:xfrm>
                  <a:off x="7905761" y="2646712"/>
                  <a:ext cx="692051" cy="937748"/>
                </a:xfrm>
                <a:prstGeom prst="rect">
                  <a:avLst/>
                </a:prstGeom>
                <a:solidFill>
                  <a:schemeClr val="bg1"/>
                </a:solidFill>
                <a:ln w="3175" cap="flat" cmpd="sng" algn="ctr">
                  <a:solidFill>
                    <a:schemeClr val="tx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457178" rtl="0" eaLnBrk="1" fontAlgn="auto" latinLnBrk="0" hangingPunct="1">
                    <a:lnSpc>
                      <a:spcPct val="100000"/>
                    </a:lnSpc>
                    <a:spcBef>
                      <a:spcPts val="0"/>
                    </a:spcBef>
                    <a:spcAft>
                      <a:spcPts val="300"/>
                    </a:spcAft>
                    <a:buClrTx/>
                    <a:buSzPct val="100000"/>
                    <a:buFontTx/>
                    <a:buNone/>
                    <a:tabLst/>
                    <a:defRPr/>
                  </a:pPr>
                  <a:r>
                    <a:rPr kumimoji="0" lang="en-US" sz="800" b="0" i="0" u="none" strike="noStrike" kern="0" cap="none" spc="0" normalizeH="0" baseline="0" noProof="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APP server</a:t>
                  </a:r>
                </a:p>
              </p:txBody>
            </p:sp>
            <p:grpSp>
              <p:nvGrpSpPr>
                <p:cNvPr id="20" name="Group 19">
                  <a:extLst>
                    <a:ext uri="{FF2B5EF4-FFF2-40B4-BE49-F238E27FC236}">
                      <a16:creationId xmlns:a16="http://schemas.microsoft.com/office/drawing/2014/main" id="{6287FA50-26C1-C26A-10AA-ACC0665A48B4}"/>
                    </a:ext>
                  </a:extLst>
                </p:cNvPr>
                <p:cNvGrpSpPr/>
                <p:nvPr/>
              </p:nvGrpSpPr>
              <p:grpSpPr>
                <a:xfrm>
                  <a:off x="8040196" y="2913194"/>
                  <a:ext cx="421880" cy="513612"/>
                  <a:chOff x="4394513" y="176506"/>
                  <a:chExt cx="1234004" cy="1442470"/>
                </a:xfrm>
                <a:noFill/>
              </p:grpSpPr>
              <p:sp>
                <p:nvSpPr>
                  <p:cNvPr id="21" name="Rectangle 20">
                    <a:extLst>
                      <a:ext uri="{FF2B5EF4-FFF2-40B4-BE49-F238E27FC236}">
                        <a16:creationId xmlns:a16="http://schemas.microsoft.com/office/drawing/2014/main" id="{D145D037-2650-29F8-E963-88924D0C4B71}"/>
                      </a:ext>
                    </a:extLst>
                  </p:cNvPr>
                  <p:cNvSpPr/>
                  <p:nvPr/>
                </p:nvSpPr>
                <p:spPr>
                  <a:xfrm>
                    <a:off x="4394513" y="527157"/>
                    <a:ext cx="1234000" cy="353200"/>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22" name="Rectangle 21">
                    <a:extLst>
                      <a:ext uri="{FF2B5EF4-FFF2-40B4-BE49-F238E27FC236}">
                        <a16:creationId xmlns:a16="http://schemas.microsoft.com/office/drawing/2014/main" id="{40FC35DD-E832-2B78-AF5F-F058C657D756}"/>
                      </a:ext>
                    </a:extLst>
                  </p:cNvPr>
                  <p:cNvSpPr/>
                  <p:nvPr/>
                </p:nvSpPr>
                <p:spPr>
                  <a:xfrm>
                    <a:off x="4394520" y="876363"/>
                    <a:ext cx="1233997" cy="374337"/>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23" name="Rectangle 22">
                    <a:extLst>
                      <a:ext uri="{FF2B5EF4-FFF2-40B4-BE49-F238E27FC236}">
                        <a16:creationId xmlns:a16="http://schemas.microsoft.com/office/drawing/2014/main" id="{C435D74E-8545-EA5E-E2A8-C2A602C80C3F}"/>
                      </a:ext>
                    </a:extLst>
                  </p:cNvPr>
                  <p:cNvSpPr/>
                  <p:nvPr/>
                </p:nvSpPr>
                <p:spPr>
                  <a:xfrm>
                    <a:off x="4394515" y="176506"/>
                    <a:ext cx="1233993" cy="353200"/>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24" name="Rectangle 23">
                    <a:extLst>
                      <a:ext uri="{FF2B5EF4-FFF2-40B4-BE49-F238E27FC236}">
                        <a16:creationId xmlns:a16="http://schemas.microsoft.com/office/drawing/2014/main" id="{4C13B7E0-1B5C-D833-B827-EF68C3F7CD69}"/>
                      </a:ext>
                    </a:extLst>
                  </p:cNvPr>
                  <p:cNvSpPr/>
                  <p:nvPr/>
                </p:nvSpPr>
                <p:spPr>
                  <a:xfrm>
                    <a:off x="4394519" y="1244638"/>
                    <a:ext cx="1233991" cy="374338"/>
                  </a:xfrm>
                  <a:prstGeom prst="rect">
                    <a:avLst/>
                  </a:prstGeom>
                  <a:grpFill/>
                  <a:ln w="3175">
                    <a:solidFill>
                      <a:srgbClr val="12419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225"/>
                      </a:spcAft>
                      <a:buClrTx/>
                      <a:buSzPct val="100000"/>
                      <a:buFontTx/>
                      <a:buNone/>
                      <a:tabLst/>
                      <a:defRPr/>
                    </a:pPr>
                    <a:endParaRPr kumimoji="0" lang="en-US" sz="788" b="1" i="0" u="none" strike="noStrike" kern="1200" cap="none" spc="0" normalizeH="0" baseline="0" noProof="0">
                      <a:ln>
                        <a:noFill/>
                      </a:ln>
                      <a:solidFill>
                        <a:srgbClr val="FFFFFF"/>
                      </a:solidFill>
                      <a:effectLst/>
                      <a:uLnTx/>
                      <a:uFillTx/>
                      <a:latin typeface="Nokia Pure Text Light"/>
                      <a:ea typeface="+mn-ea"/>
                      <a:cs typeface="+mn-cs"/>
                    </a:endParaRPr>
                  </a:p>
                </p:txBody>
              </p:sp>
            </p:grpSp>
          </p:grpSp>
          <p:grpSp>
            <p:nvGrpSpPr>
              <p:cNvPr id="16" name="Group 15">
                <a:extLst>
                  <a:ext uri="{FF2B5EF4-FFF2-40B4-BE49-F238E27FC236}">
                    <a16:creationId xmlns:a16="http://schemas.microsoft.com/office/drawing/2014/main" id="{23054A12-D24D-9941-3F63-294FB377C89E}"/>
                  </a:ext>
                </a:extLst>
              </p:cNvPr>
              <p:cNvGrpSpPr/>
              <p:nvPr/>
            </p:nvGrpSpPr>
            <p:grpSpPr>
              <a:xfrm>
                <a:off x="7892590" y="2210809"/>
                <a:ext cx="645278" cy="384749"/>
                <a:chOff x="7892590" y="2210809"/>
                <a:chExt cx="645278" cy="384749"/>
              </a:xfrm>
            </p:grpSpPr>
            <p:sp>
              <p:nvSpPr>
                <p:cNvPr id="17" name="Graphic 34" descr="Cloud with solid fill">
                  <a:extLst>
                    <a:ext uri="{FF2B5EF4-FFF2-40B4-BE49-F238E27FC236}">
                      <a16:creationId xmlns:a16="http://schemas.microsoft.com/office/drawing/2014/main" id="{2DC28676-9767-508C-CF49-38F208E40C80}"/>
                    </a:ext>
                  </a:extLst>
                </p:cNvPr>
                <p:cNvSpPr/>
                <p:nvPr/>
              </p:nvSpPr>
              <p:spPr>
                <a:xfrm>
                  <a:off x="7892590" y="2210809"/>
                  <a:ext cx="645278" cy="384749"/>
                </a:xfrm>
                <a:custGeom>
                  <a:avLst/>
                  <a:gdLst>
                    <a:gd name="connsiteX0" fmla="*/ 881543 w 1026475"/>
                    <a:gd name="connsiteY0" fmla="*/ 304650 h 612039"/>
                    <a:gd name="connsiteX1" fmla="*/ 869364 w 1026475"/>
                    <a:gd name="connsiteY1" fmla="*/ 304650 h 612039"/>
                    <a:gd name="connsiteX2" fmla="*/ 869364 w 1026475"/>
                    <a:gd name="connsiteY2" fmla="*/ 304650 h 612039"/>
                    <a:gd name="connsiteX3" fmla="*/ 792634 w 1026475"/>
                    <a:gd name="connsiteY3" fmla="*/ 149042 h 612039"/>
                    <a:gd name="connsiteX4" fmla="*/ 625779 w 1026475"/>
                    <a:gd name="connsiteY4" fmla="*/ 124808 h 612039"/>
                    <a:gd name="connsiteX5" fmla="*/ 379759 w 1026475"/>
                    <a:gd name="connsiteY5" fmla="*/ 6189 h 612039"/>
                    <a:gd name="connsiteX6" fmla="*/ 211685 w 1026475"/>
                    <a:gd name="connsiteY6" fmla="*/ 228121 h 612039"/>
                    <a:gd name="connsiteX7" fmla="*/ 211685 w 1026475"/>
                    <a:gd name="connsiteY7" fmla="*/ 230672 h 612039"/>
                    <a:gd name="connsiteX8" fmla="*/ 36304 w 1026475"/>
                    <a:gd name="connsiteY8" fmla="*/ 304650 h 612039"/>
                    <a:gd name="connsiteX9" fmla="*/ 16818 w 1026475"/>
                    <a:gd name="connsiteY9" fmla="*/ 501073 h 612039"/>
                    <a:gd name="connsiteX10" fmla="*/ 173930 w 1026475"/>
                    <a:gd name="connsiteY10" fmla="*/ 610764 h 612039"/>
                    <a:gd name="connsiteX11" fmla="*/ 173930 w 1026475"/>
                    <a:gd name="connsiteY11" fmla="*/ 612040 h 612039"/>
                    <a:gd name="connsiteX12" fmla="*/ 880325 w 1026475"/>
                    <a:gd name="connsiteY12" fmla="*/ 612040 h 612039"/>
                    <a:gd name="connsiteX13" fmla="*/ 1026476 w 1026475"/>
                    <a:gd name="connsiteY13" fmla="*/ 458983 h 612039"/>
                    <a:gd name="connsiteX14" fmla="*/ 881543 w 1026475"/>
                    <a:gd name="connsiteY14" fmla="*/ 304650 h 61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6475" h="612039">
                      <a:moveTo>
                        <a:pt x="881543" y="304650"/>
                      </a:moveTo>
                      <a:cubicBezTo>
                        <a:pt x="877889" y="304650"/>
                        <a:pt x="873017" y="304650"/>
                        <a:pt x="869364" y="304650"/>
                      </a:cubicBezTo>
                      <a:cubicBezTo>
                        <a:pt x="869364" y="304650"/>
                        <a:pt x="869364" y="304650"/>
                        <a:pt x="869364" y="304650"/>
                      </a:cubicBezTo>
                      <a:cubicBezTo>
                        <a:pt x="869364" y="242152"/>
                        <a:pt x="840134" y="184755"/>
                        <a:pt x="792634" y="149042"/>
                      </a:cubicBezTo>
                      <a:cubicBezTo>
                        <a:pt x="743918" y="113329"/>
                        <a:pt x="681803" y="104400"/>
                        <a:pt x="625779" y="124808"/>
                      </a:cubicBezTo>
                      <a:cubicBezTo>
                        <a:pt x="579498" y="30423"/>
                        <a:pt x="477192" y="-18045"/>
                        <a:pt x="379759" y="6189"/>
                      </a:cubicBezTo>
                      <a:cubicBezTo>
                        <a:pt x="282325" y="30423"/>
                        <a:pt x="211685" y="122257"/>
                        <a:pt x="211685" y="228121"/>
                      </a:cubicBezTo>
                      <a:cubicBezTo>
                        <a:pt x="211685" y="228121"/>
                        <a:pt x="211685" y="229397"/>
                        <a:pt x="211685" y="230672"/>
                      </a:cubicBezTo>
                      <a:cubicBezTo>
                        <a:pt x="144699" y="219193"/>
                        <a:pt x="77714" y="248529"/>
                        <a:pt x="36304" y="304650"/>
                      </a:cubicBezTo>
                      <a:cubicBezTo>
                        <a:pt x="-3887" y="362046"/>
                        <a:pt x="-11195" y="437300"/>
                        <a:pt x="16818" y="501073"/>
                      </a:cubicBezTo>
                      <a:cubicBezTo>
                        <a:pt x="46048" y="564847"/>
                        <a:pt x="106944" y="606938"/>
                        <a:pt x="173930" y="610764"/>
                      </a:cubicBezTo>
                      <a:lnTo>
                        <a:pt x="173930" y="612040"/>
                      </a:lnTo>
                      <a:lnTo>
                        <a:pt x="880325" y="612040"/>
                      </a:lnTo>
                      <a:cubicBezTo>
                        <a:pt x="960708" y="612040"/>
                        <a:pt x="1026476" y="543164"/>
                        <a:pt x="1026476" y="458983"/>
                      </a:cubicBezTo>
                      <a:cubicBezTo>
                        <a:pt x="1026476" y="374801"/>
                        <a:pt x="961926" y="304650"/>
                        <a:pt x="881543" y="304650"/>
                      </a:cubicBezTo>
                      <a:close/>
                    </a:path>
                  </a:pathLst>
                </a:custGeom>
                <a:solidFill>
                  <a:schemeClr val="tx1"/>
                </a:solidFill>
                <a:ln w="3175" cap="flat">
                  <a:solidFill>
                    <a:srgbClr val="124191"/>
                  </a:solidFill>
                  <a:prstDash val="solid"/>
                  <a:miter/>
                </a:ln>
                <a:effectLst>
                  <a:outerShdw blurRad="134292" dist="36413" sx="94779" sy="94779" algn="ctr" rotWithShape="0">
                    <a:prstClr val="black">
                      <a:alpha val="13000"/>
                    </a:prstClr>
                  </a:outerShdw>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8" name="TextBox 17">
                  <a:extLst>
                    <a:ext uri="{FF2B5EF4-FFF2-40B4-BE49-F238E27FC236}">
                      <a16:creationId xmlns:a16="http://schemas.microsoft.com/office/drawing/2014/main" id="{7B28BAB2-1310-E0F0-3EB3-ECFF0C5B62BA}"/>
                    </a:ext>
                  </a:extLst>
                </p:cNvPr>
                <p:cNvSpPr txBox="1"/>
                <p:nvPr/>
              </p:nvSpPr>
              <p:spPr>
                <a:xfrm>
                  <a:off x="7946051" y="2435166"/>
                  <a:ext cx="547414" cy="138499"/>
                </a:xfrm>
                <a:prstGeom prst="rect">
                  <a:avLst/>
                </a:prstGeom>
                <a:noFill/>
                <a:ln w="3175">
                  <a:solidFill>
                    <a:schemeClr val="tx1"/>
                  </a:solidFill>
                </a:ln>
              </p:spPr>
              <p:txBody>
                <a:bodyPr wrap="square" lIns="0" tIns="0" rIns="0" bIns="0" rtlCol="0">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Edge Cloud</a:t>
                  </a:r>
                </a:p>
              </p:txBody>
            </p:sp>
          </p:grpSp>
        </p:grpSp>
        <p:sp>
          <p:nvSpPr>
            <p:cNvPr id="12" name="Rectangle 11">
              <a:extLst>
                <a:ext uri="{FF2B5EF4-FFF2-40B4-BE49-F238E27FC236}">
                  <a16:creationId xmlns:a16="http://schemas.microsoft.com/office/drawing/2014/main" id="{E7D697BE-A56A-91DB-DC95-70E48B26DA20}"/>
                </a:ext>
              </a:extLst>
            </p:cNvPr>
            <p:cNvSpPr/>
            <p:nvPr/>
          </p:nvSpPr>
          <p:spPr>
            <a:xfrm>
              <a:off x="6655088" y="1973523"/>
              <a:ext cx="2150013" cy="2185313"/>
            </a:xfrm>
            <a:prstGeom prst="rect">
              <a:avLst/>
            </a:prstGeom>
            <a:noFill/>
            <a:ln w="3175">
              <a:solidFill>
                <a:srgbClr val="BEC8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FFFFFF"/>
                </a:solidFill>
                <a:effectLst/>
                <a:uLnTx/>
                <a:uFillTx/>
                <a:latin typeface="Nokia Pure Text Light"/>
                <a:ea typeface="+mn-ea"/>
                <a:cs typeface="+mn-cs"/>
              </a:endParaRPr>
            </a:p>
          </p:txBody>
        </p:sp>
      </p:grpSp>
      <p:sp>
        <p:nvSpPr>
          <p:cNvPr id="39" name="TextBox 38">
            <a:extLst>
              <a:ext uri="{FF2B5EF4-FFF2-40B4-BE49-F238E27FC236}">
                <a16:creationId xmlns:a16="http://schemas.microsoft.com/office/drawing/2014/main" id="{DDC6F7E8-9682-ACC6-92FB-274A20FFA8B8}"/>
              </a:ext>
            </a:extLst>
          </p:cNvPr>
          <p:cNvSpPr txBox="1"/>
          <p:nvPr/>
        </p:nvSpPr>
        <p:spPr>
          <a:xfrm>
            <a:off x="4274536" y="1906689"/>
            <a:ext cx="1766368" cy="121400"/>
          </a:xfrm>
          <a:prstGeom prst="rect">
            <a:avLst/>
          </a:prstGeom>
          <a:solidFill>
            <a:schemeClr val="bg1"/>
          </a:solidFill>
        </p:spPr>
        <p:txBody>
          <a:bodyPr wrap="none" lIns="0" tIns="0" rIns="0" bIns="0" rtlCol="0" anchor="ctr">
            <a:noAutofit/>
          </a:bodyPr>
          <a:lstStyle/>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Guaranteed latency (95%) in </a:t>
            </a:r>
            <a:r>
              <a:rPr kumimoji="0" lang="en-US" sz="1000" b="0" i="0" u="none" strike="noStrike" kern="1200" cap="none" spc="0" normalizeH="0" baseline="0" noProof="0" err="1">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ms</a:t>
            </a:r>
            <a:endParaRPr kumimoji="0" lang="en-US" sz="1000" b="0" i="0" u="none" strike="noStrike" kern="1200" cap="none" spc="0" normalizeH="0" baseline="0" noProof="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endParaRPr>
          </a:p>
        </p:txBody>
      </p:sp>
      <p:sp>
        <p:nvSpPr>
          <p:cNvPr id="40" name="Rectangle 39">
            <a:extLst>
              <a:ext uri="{FF2B5EF4-FFF2-40B4-BE49-F238E27FC236}">
                <a16:creationId xmlns:a16="http://schemas.microsoft.com/office/drawing/2014/main" id="{75C45960-567E-5597-FFDB-C0D1D50A9802}"/>
              </a:ext>
            </a:extLst>
          </p:cNvPr>
          <p:cNvSpPr/>
          <p:nvPr/>
        </p:nvSpPr>
        <p:spPr>
          <a:xfrm>
            <a:off x="3926230" y="2291752"/>
            <a:ext cx="2769836" cy="578918"/>
          </a:xfrm>
          <a:prstGeom prst="rect">
            <a:avLst/>
          </a:prstGeom>
          <a:solidFill>
            <a:schemeClr val="bg1">
              <a:lumMod val="85000"/>
              <a:alpha val="55000"/>
            </a:schemeClr>
          </a:solidFill>
          <a:ln w="9525" cap="flat" cmpd="sng" algn="ctr">
            <a:noFill/>
            <a:prstDash val="soli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2160" marR="0" lvl="0" indent="-132160" algn="l"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Nokia Pure Text Light"/>
              <a:ea typeface="+mn-ea"/>
              <a:cs typeface="+mn-cs"/>
            </a:endParaRPr>
          </a:p>
        </p:txBody>
      </p:sp>
      <p:sp>
        <p:nvSpPr>
          <p:cNvPr id="41" name="TextBox 40">
            <a:extLst>
              <a:ext uri="{FF2B5EF4-FFF2-40B4-BE49-F238E27FC236}">
                <a16:creationId xmlns:a16="http://schemas.microsoft.com/office/drawing/2014/main" id="{BF170133-F185-C756-AB2E-72A75EA1E489}"/>
              </a:ext>
            </a:extLst>
          </p:cNvPr>
          <p:cNvSpPr txBox="1"/>
          <p:nvPr/>
        </p:nvSpPr>
        <p:spPr>
          <a:xfrm>
            <a:off x="5502466" y="2451559"/>
            <a:ext cx="422855" cy="215067"/>
          </a:xfrm>
          <a:prstGeom prst="rect">
            <a:avLst/>
          </a:prstGeom>
          <a:noFill/>
        </p:spPr>
        <p:txBody>
          <a:bodyPr wrap="none" lIns="0" tIns="0" rIns="0" bIns="0" rtlCol="0">
            <a:noAutofit/>
          </a:bodyPr>
          <a:lstStyle/>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Target</a:t>
            </a:r>
          </a:p>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10-50 </a:t>
            </a:r>
            <a:r>
              <a:rPr kumimoji="0" lang="en-US" sz="900" b="0" i="0" u="none" strike="noStrike" kern="1200" cap="none" spc="0" normalizeH="0" baseline="0" noProof="0" dirty="0" err="1">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ms</a:t>
            </a:r>
            <a:endParaRPr kumimoji="0" lang="en-US" sz="9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42" name="Left Brace 41">
            <a:extLst>
              <a:ext uri="{FF2B5EF4-FFF2-40B4-BE49-F238E27FC236}">
                <a16:creationId xmlns:a16="http://schemas.microsoft.com/office/drawing/2014/main" id="{B91C335C-4C1C-00C5-C89C-32DC69BF9956}"/>
              </a:ext>
            </a:extLst>
          </p:cNvPr>
          <p:cNvSpPr/>
          <p:nvPr/>
        </p:nvSpPr>
        <p:spPr>
          <a:xfrm>
            <a:off x="6026393" y="2315864"/>
            <a:ext cx="45719" cy="545865"/>
          </a:xfrm>
          <a:prstGeom prst="leftBrace">
            <a:avLst/>
          </a:prstGeom>
          <a:ln w="3175">
            <a:solidFill>
              <a:srgbClr val="98A2A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grpSp>
        <p:nvGrpSpPr>
          <p:cNvPr id="43" name="Group 42">
            <a:extLst>
              <a:ext uri="{FF2B5EF4-FFF2-40B4-BE49-F238E27FC236}">
                <a16:creationId xmlns:a16="http://schemas.microsoft.com/office/drawing/2014/main" id="{0065ADFC-E1C9-E354-74EA-4F85596EEE8E}"/>
              </a:ext>
            </a:extLst>
          </p:cNvPr>
          <p:cNvGrpSpPr/>
          <p:nvPr/>
        </p:nvGrpSpPr>
        <p:grpSpPr>
          <a:xfrm>
            <a:off x="4015012" y="2475807"/>
            <a:ext cx="263501" cy="117463"/>
            <a:chOff x="3843322" y="2609835"/>
            <a:chExt cx="263501" cy="117463"/>
          </a:xfrm>
        </p:grpSpPr>
        <p:sp>
          <p:nvSpPr>
            <p:cNvPr id="44" name="TextBox 43">
              <a:extLst>
                <a:ext uri="{FF2B5EF4-FFF2-40B4-BE49-F238E27FC236}">
                  <a16:creationId xmlns:a16="http://schemas.microsoft.com/office/drawing/2014/main" id="{DA56DE4C-22B0-192F-671D-DBADD6A11673}"/>
                </a:ext>
              </a:extLst>
            </p:cNvPr>
            <p:cNvSpPr txBox="1"/>
            <p:nvPr/>
          </p:nvSpPr>
          <p:spPr>
            <a:xfrm>
              <a:off x="3843322" y="2643697"/>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32</a:t>
              </a:r>
            </a:p>
          </p:txBody>
        </p:sp>
        <p:sp>
          <p:nvSpPr>
            <p:cNvPr id="45" name="TextBox 44">
              <a:extLst>
                <a:ext uri="{FF2B5EF4-FFF2-40B4-BE49-F238E27FC236}">
                  <a16:creationId xmlns:a16="http://schemas.microsoft.com/office/drawing/2014/main" id="{54766701-C91A-4C15-0E33-001C4A48414E}"/>
                </a:ext>
              </a:extLst>
            </p:cNvPr>
            <p:cNvSpPr txBox="1"/>
            <p:nvPr/>
          </p:nvSpPr>
          <p:spPr>
            <a:xfrm>
              <a:off x="3992281" y="2609835"/>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28</a:t>
              </a:r>
            </a:p>
          </p:txBody>
        </p:sp>
      </p:grpSp>
      <p:grpSp>
        <p:nvGrpSpPr>
          <p:cNvPr id="46" name="Group 45">
            <a:extLst>
              <a:ext uri="{FF2B5EF4-FFF2-40B4-BE49-F238E27FC236}">
                <a16:creationId xmlns:a16="http://schemas.microsoft.com/office/drawing/2014/main" id="{CD83841E-C321-9C2B-4C54-4B4EE55ACC10}"/>
              </a:ext>
            </a:extLst>
          </p:cNvPr>
          <p:cNvGrpSpPr/>
          <p:nvPr/>
        </p:nvGrpSpPr>
        <p:grpSpPr>
          <a:xfrm>
            <a:off x="4544296" y="2453122"/>
            <a:ext cx="782407" cy="271215"/>
            <a:chOff x="4372606" y="2587150"/>
            <a:chExt cx="782407" cy="271215"/>
          </a:xfrm>
        </p:grpSpPr>
        <p:sp>
          <p:nvSpPr>
            <p:cNvPr id="47" name="TextBox 46">
              <a:extLst>
                <a:ext uri="{FF2B5EF4-FFF2-40B4-BE49-F238E27FC236}">
                  <a16:creationId xmlns:a16="http://schemas.microsoft.com/office/drawing/2014/main" id="{1E0B825E-A519-EBDF-C559-B86EF0AAE908}"/>
                </a:ext>
              </a:extLst>
            </p:cNvPr>
            <p:cNvSpPr txBox="1"/>
            <p:nvPr/>
          </p:nvSpPr>
          <p:spPr>
            <a:xfrm>
              <a:off x="5040471" y="2587150"/>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26</a:t>
              </a:r>
            </a:p>
          </p:txBody>
        </p:sp>
        <p:sp>
          <p:nvSpPr>
            <p:cNvPr id="48" name="TextBox 47">
              <a:extLst>
                <a:ext uri="{FF2B5EF4-FFF2-40B4-BE49-F238E27FC236}">
                  <a16:creationId xmlns:a16="http://schemas.microsoft.com/office/drawing/2014/main" id="{A5867BB9-F1FD-3FE3-A7EC-C21B2FF6C1DC}"/>
                </a:ext>
              </a:extLst>
            </p:cNvPr>
            <p:cNvSpPr txBox="1"/>
            <p:nvPr/>
          </p:nvSpPr>
          <p:spPr>
            <a:xfrm>
              <a:off x="4372606" y="2774764"/>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39</a:t>
              </a:r>
            </a:p>
          </p:txBody>
        </p:sp>
      </p:grpSp>
      <p:grpSp>
        <p:nvGrpSpPr>
          <p:cNvPr id="49" name="Group 48">
            <a:extLst>
              <a:ext uri="{FF2B5EF4-FFF2-40B4-BE49-F238E27FC236}">
                <a16:creationId xmlns:a16="http://schemas.microsoft.com/office/drawing/2014/main" id="{9BD098D1-8CCF-26DC-383A-984EBDA5034A}"/>
              </a:ext>
            </a:extLst>
          </p:cNvPr>
          <p:cNvGrpSpPr/>
          <p:nvPr/>
        </p:nvGrpSpPr>
        <p:grpSpPr>
          <a:xfrm>
            <a:off x="4939171" y="2577158"/>
            <a:ext cx="226332" cy="123546"/>
            <a:chOff x="4767481" y="2711186"/>
            <a:chExt cx="226332" cy="123546"/>
          </a:xfrm>
        </p:grpSpPr>
        <p:sp>
          <p:nvSpPr>
            <p:cNvPr id="50" name="TextBox 49">
              <a:extLst>
                <a:ext uri="{FF2B5EF4-FFF2-40B4-BE49-F238E27FC236}">
                  <a16:creationId xmlns:a16="http://schemas.microsoft.com/office/drawing/2014/main" id="{E373DDE1-BF32-570B-F4C1-E797563C3E82}"/>
                </a:ext>
              </a:extLst>
            </p:cNvPr>
            <p:cNvSpPr txBox="1"/>
            <p:nvPr/>
          </p:nvSpPr>
          <p:spPr>
            <a:xfrm>
              <a:off x="4767481" y="2751131"/>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38</a:t>
              </a:r>
            </a:p>
          </p:txBody>
        </p:sp>
        <p:sp>
          <p:nvSpPr>
            <p:cNvPr id="51" name="TextBox 50">
              <a:extLst>
                <a:ext uri="{FF2B5EF4-FFF2-40B4-BE49-F238E27FC236}">
                  <a16:creationId xmlns:a16="http://schemas.microsoft.com/office/drawing/2014/main" id="{5000A2F4-F300-7696-660C-A65F03FCDD15}"/>
                </a:ext>
              </a:extLst>
            </p:cNvPr>
            <p:cNvSpPr txBox="1"/>
            <p:nvPr/>
          </p:nvSpPr>
          <p:spPr>
            <a:xfrm>
              <a:off x="4879271" y="2711186"/>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36</a:t>
              </a:r>
            </a:p>
          </p:txBody>
        </p:sp>
      </p:grpSp>
      <p:grpSp>
        <p:nvGrpSpPr>
          <p:cNvPr id="52" name="Group 51">
            <a:extLst>
              <a:ext uri="{FF2B5EF4-FFF2-40B4-BE49-F238E27FC236}">
                <a16:creationId xmlns:a16="http://schemas.microsoft.com/office/drawing/2014/main" id="{C8CE3F0E-0AF0-B284-F44A-09C449ACB355}"/>
              </a:ext>
            </a:extLst>
          </p:cNvPr>
          <p:cNvGrpSpPr/>
          <p:nvPr/>
        </p:nvGrpSpPr>
        <p:grpSpPr>
          <a:xfrm>
            <a:off x="5870330" y="3156140"/>
            <a:ext cx="361184" cy="596064"/>
            <a:chOff x="5698640" y="3290168"/>
            <a:chExt cx="361184" cy="596064"/>
          </a:xfrm>
        </p:grpSpPr>
        <p:sp>
          <p:nvSpPr>
            <p:cNvPr id="53" name="TextBox 52">
              <a:extLst>
                <a:ext uri="{FF2B5EF4-FFF2-40B4-BE49-F238E27FC236}">
                  <a16:creationId xmlns:a16="http://schemas.microsoft.com/office/drawing/2014/main" id="{B914D83E-C6D7-8FA1-EE21-4CDCE4F0A7C1}"/>
                </a:ext>
              </a:extLst>
            </p:cNvPr>
            <p:cNvSpPr txBox="1"/>
            <p:nvPr/>
          </p:nvSpPr>
          <p:spPr>
            <a:xfrm>
              <a:off x="5698640" y="3776614"/>
              <a:ext cx="201782" cy="109618"/>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120</a:t>
              </a:r>
            </a:p>
          </p:txBody>
        </p:sp>
        <p:sp>
          <p:nvSpPr>
            <p:cNvPr id="54" name="TextBox 53">
              <a:extLst>
                <a:ext uri="{FF2B5EF4-FFF2-40B4-BE49-F238E27FC236}">
                  <a16:creationId xmlns:a16="http://schemas.microsoft.com/office/drawing/2014/main" id="{DC45F398-9221-3DFE-9F88-611EACFE75A3}"/>
                </a:ext>
              </a:extLst>
            </p:cNvPr>
            <p:cNvSpPr txBox="1"/>
            <p:nvPr/>
          </p:nvSpPr>
          <p:spPr>
            <a:xfrm>
              <a:off x="5945282" y="329016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74</a:t>
              </a:r>
            </a:p>
          </p:txBody>
        </p:sp>
      </p:grpSp>
      <p:grpSp>
        <p:nvGrpSpPr>
          <p:cNvPr id="55" name="Group 54">
            <a:extLst>
              <a:ext uri="{FF2B5EF4-FFF2-40B4-BE49-F238E27FC236}">
                <a16:creationId xmlns:a16="http://schemas.microsoft.com/office/drawing/2014/main" id="{45140805-88C6-FDF2-EC7D-8FA03B1E5139}"/>
              </a:ext>
            </a:extLst>
          </p:cNvPr>
          <p:cNvGrpSpPr/>
          <p:nvPr/>
        </p:nvGrpSpPr>
        <p:grpSpPr>
          <a:xfrm>
            <a:off x="5424723" y="3241070"/>
            <a:ext cx="255354" cy="167885"/>
            <a:chOff x="5253033" y="3375098"/>
            <a:chExt cx="255354" cy="167885"/>
          </a:xfrm>
        </p:grpSpPr>
        <p:sp>
          <p:nvSpPr>
            <p:cNvPr id="56" name="TextBox 55">
              <a:extLst>
                <a:ext uri="{FF2B5EF4-FFF2-40B4-BE49-F238E27FC236}">
                  <a16:creationId xmlns:a16="http://schemas.microsoft.com/office/drawing/2014/main" id="{88E12AE0-8700-7FF0-5B50-E43857B2F512}"/>
                </a:ext>
              </a:extLst>
            </p:cNvPr>
            <p:cNvSpPr txBox="1"/>
            <p:nvPr/>
          </p:nvSpPr>
          <p:spPr>
            <a:xfrm>
              <a:off x="5253033" y="3459382"/>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84</a:t>
              </a:r>
            </a:p>
          </p:txBody>
        </p:sp>
        <p:sp>
          <p:nvSpPr>
            <p:cNvPr id="57" name="TextBox 56">
              <a:extLst>
                <a:ext uri="{FF2B5EF4-FFF2-40B4-BE49-F238E27FC236}">
                  <a16:creationId xmlns:a16="http://schemas.microsoft.com/office/drawing/2014/main" id="{BFCFC95B-0399-6294-2EDA-F6C7C1A6E3A9}"/>
                </a:ext>
              </a:extLst>
            </p:cNvPr>
            <p:cNvSpPr txBox="1"/>
            <p:nvPr/>
          </p:nvSpPr>
          <p:spPr>
            <a:xfrm>
              <a:off x="5393845" y="337509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78</a:t>
              </a:r>
            </a:p>
          </p:txBody>
        </p:sp>
      </p:grpSp>
      <p:sp>
        <p:nvSpPr>
          <p:cNvPr id="58" name="TextBox 57">
            <a:extLst>
              <a:ext uri="{FF2B5EF4-FFF2-40B4-BE49-F238E27FC236}">
                <a16:creationId xmlns:a16="http://schemas.microsoft.com/office/drawing/2014/main" id="{B36AA305-7242-179C-B896-71BA9794A9B1}"/>
              </a:ext>
            </a:extLst>
          </p:cNvPr>
          <p:cNvSpPr txBox="1"/>
          <p:nvPr/>
        </p:nvSpPr>
        <p:spPr>
          <a:xfrm>
            <a:off x="868381" y="1912276"/>
            <a:ext cx="1766368" cy="121400"/>
          </a:xfrm>
          <a:prstGeom prst="rect">
            <a:avLst/>
          </a:prstGeom>
          <a:solidFill>
            <a:schemeClr val="bg1"/>
          </a:solidFill>
        </p:spPr>
        <p:txBody>
          <a:bodyPr wrap="none" lIns="0" tIns="0" rIns="0" bIns="0" rtlCol="0" anchor="ctr">
            <a:noAutofit/>
          </a:bodyPr>
          <a:lstStyle/>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1000" b="0" i="0" u="none" strike="noStrike" kern="1200" cap="none" spc="0" normalizeH="0" baseline="0" noProof="0">
                <a:ln>
                  <a:noFill/>
                </a:ln>
                <a:solidFill>
                  <a:srgbClr val="001135"/>
                </a:solidFill>
                <a:effectLst/>
                <a:uLnTx/>
                <a:uFillTx/>
                <a:latin typeface="Nokia Pure Text" panose="020B0504040602060303" pitchFamily="34" charset="0"/>
                <a:ea typeface="Nokia Pure Text" panose="020B0504040602060303" pitchFamily="34" charset="0"/>
                <a:cs typeface="Nokia Pure Text" panose="020B0504040602060303" pitchFamily="34" charset="0"/>
              </a:rPr>
              <a:t>Guaranteed uplink (95%) data rate in Mbps</a:t>
            </a:r>
          </a:p>
        </p:txBody>
      </p:sp>
      <p:grpSp>
        <p:nvGrpSpPr>
          <p:cNvPr id="59" name="Group 58">
            <a:extLst>
              <a:ext uri="{FF2B5EF4-FFF2-40B4-BE49-F238E27FC236}">
                <a16:creationId xmlns:a16="http://schemas.microsoft.com/office/drawing/2014/main" id="{9659A723-2258-249F-60B4-999972CA1AF4}"/>
              </a:ext>
            </a:extLst>
          </p:cNvPr>
          <p:cNvGrpSpPr/>
          <p:nvPr/>
        </p:nvGrpSpPr>
        <p:grpSpPr>
          <a:xfrm>
            <a:off x="4648639" y="4066387"/>
            <a:ext cx="975035" cy="83601"/>
            <a:chOff x="4476949" y="4200415"/>
            <a:chExt cx="975035" cy="83601"/>
          </a:xfrm>
        </p:grpSpPr>
        <p:sp>
          <p:nvSpPr>
            <p:cNvPr id="60" name="TextBox 59">
              <a:extLst>
                <a:ext uri="{FF2B5EF4-FFF2-40B4-BE49-F238E27FC236}">
                  <a16:creationId xmlns:a16="http://schemas.microsoft.com/office/drawing/2014/main" id="{96E680AB-4055-9A27-787C-FE499F2459F0}"/>
                </a:ext>
              </a:extLst>
            </p:cNvPr>
            <p:cNvSpPr txBox="1"/>
            <p:nvPr/>
          </p:nvSpPr>
          <p:spPr>
            <a:xfrm>
              <a:off x="4599629" y="4200415"/>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G</a:t>
              </a:r>
            </a:p>
          </p:txBody>
        </p:sp>
        <p:sp>
          <p:nvSpPr>
            <p:cNvPr id="61" name="Rectangle 60">
              <a:extLst>
                <a:ext uri="{FF2B5EF4-FFF2-40B4-BE49-F238E27FC236}">
                  <a16:creationId xmlns:a16="http://schemas.microsoft.com/office/drawing/2014/main" id="{F6BE1F1B-B16F-7D27-555E-CE8BF5428C6F}"/>
                </a:ext>
              </a:extLst>
            </p:cNvPr>
            <p:cNvSpPr/>
            <p:nvPr/>
          </p:nvSpPr>
          <p:spPr>
            <a:xfrm>
              <a:off x="4476949" y="4206215"/>
              <a:ext cx="72000" cy="72000"/>
            </a:xfrm>
            <a:prstGeom prst="rect">
              <a:avLst/>
            </a:prstGeom>
            <a:solidFill>
              <a:srgbClr val="005A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2" name="Rectangle 61">
              <a:extLst>
                <a:ext uri="{FF2B5EF4-FFF2-40B4-BE49-F238E27FC236}">
                  <a16:creationId xmlns:a16="http://schemas.microsoft.com/office/drawing/2014/main" id="{3642AA59-5C5B-F16F-8747-594E253C4EA1}"/>
                </a:ext>
              </a:extLst>
            </p:cNvPr>
            <p:cNvSpPr/>
            <p:nvPr/>
          </p:nvSpPr>
          <p:spPr>
            <a:xfrm>
              <a:off x="4933874" y="4206215"/>
              <a:ext cx="72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3" name="TextBox 62">
              <a:extLst>
                <a:ext uri="{FF2B5EF4-FFF2-40B4-BE49-F238E27FC236}">
                  <a16:creationId xmlns:a16="http://schemas.microsoft.com/office/drawing/2014/main" id="{74FA52A2-78F1-2437-23B5-A17FF0876668}"/>
                </a:ext>
              </a:extLst>
            </p:cNvPr>
            <p:cNvSpPr txBox="1"/>
            <p:nvPr/>
          </p:nvSpPr>
          <p:spPr>
            <a:xfrm>
              <a:off x="5056554" y="4200415"/>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G NSA</a:t>
              </a:r>
            </a:p>
          </p:txBody>
        </p:sp>
      </p:grpSp>
      <p:sp>
        <p:nvSpPr>
          <p:cNvPr id="64" name="Rectangle 63">
            <a:extLst>
              <a:ext uri="{FF2B5EF4-FFF2-40B4-BE49-F238E27FC236}">
                <a16:creationId xmlns:a16="http://schemas.microsoft.com/office/drawing/2014/main" id="{E121EE99-6F39-383B-D54C-0C5F81BCDB62}"/>
              </a:ext>
            </a:extLst>
          </p:cNvPr>
          <p:cNvSpPr/>
          <p:nvPr/>
        </p:nvSpPr>
        <p:spPr>
          <a:xfrm>
            <a:off x="5634959" y="4066387"/>
            <a:ext cx="72000" cy="7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65" name="TextBox 64">
            <a:extLst>
              <a:ext uri="{FF2B5EF4-FFF2-40B4-BE49-F238E27FC236}">
                <a16:creationId xmlns:a16="http://schemas.microsoft.com/office/drawing/2014/main" id="{4E2B6A9C-5616-B2F0-3324-486E2F7B0DFA}"/>
              </a:ext>
            </a:extLst>
          </p:cNvPr>
          <p:cNvSpPr txBox="1"/>
          <p:nvPr/>
        </p:nvSpPr>
        <p:spPr>
          <a:xfrm>
            <a:off x="5781316" y="4060586"/>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G SA</a:t>
            </a:r>
          </a:p>
        </p:txBody>
      </p:sp>
      <p:sp>
        <p:nvSpPr>
          <p:cNvPr id="66" name="TextBox 65">
            <a:extLst>
              <a:ext uri="{FF2B5EF4-FFF2-40B4-BE49-F238E27FC236}">
                <a16:creationId xmlns:a16="http://schemas.microsoft.com/office/drawing/2014/main" id="{A257FA22-5B08-38DD-7453-002D4AECD0E1}"/>
              </a:ext>
            </a:extLst>
          </p:cNvPr>
          <p:cNvSpPr txBox="1"/>
          <p:nvPr/>
        </p:nvSpPr>
        <p:spPr>
          <a:xfrm>
            <a:off x="5657346" y="3045672"/>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6</a:t>
            </a:r>
          </a:p>
        </p:txBody>
      </p:sp>
      <p:sp>
        <p:nvSpPr>
          <p:cNvPr id="67" name="TextBox 66">
            <a:extLst>
              <a:ext uri="{FF2B5EF4-FFF2-40B4-BE49-F238E27FC236}">
                <a16:creationId xmlns:a16="http://schemas.microsoft.com/office/drawing/2014/main" id="{FD40E7AF-95FB-015A-8055-1A4148ACD4EE}"/>
              </a:ext>
            </a:extLst>
          </p:cNvPr>
          <p:cNvSpPr txBox="1"/>
          <p:nvPr/>
        </p:nvSpPr>
        <p:spPr>
          <a:xfrm>
            <a:off x="6012176" y="3663125"/>
            <a:ext cx="23800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130</a:t>
            </a:r>
          </a:p>
        </p:txBody>
      </p:sp>
      <p:sp>
        <p:nvSpPr>
          <p:cNvPr id="68" name="TextBox 67">
            <a:extLst>
              <a:ext uri="{FF2B5EF4-FFF2-40B4-BE49-F238E27FC236}">
                <a16:creationId xmlns:a16="http://schemas.microsoft.com/office/drawing/2014/main" id="{8BD9A7A7-C49D-31DA-5BD1-EE440277416F}"/>
              </a:ext>
            </a:extLst>
          </p:cNvPr>
          <p:cNvSpPr txBox="1"/>
          <p:nvPr/>
        </p:nvSpPr>
        <p:spPr>
          <a:xfrm>
            <a:off x="6352408" y="2397953"/>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22</a:t>
            </a:r>
          </a:p>
        </p:txBody>
      </p:sp>
      <p:sp>
        <p:nvSpPr>
          <p:cNvPr id="69" name="TextBox 68">
            <a:extLst>
              <a:ext uri="{FF2B5EF4-FFF2-40B4-BE49-F238E27FC236}">
                <a16:creationId xmlns:a16="http://schemas.microsoft.com/office/drawing/2014/main" id="{F2A75B55-F430-2E30-8755-6D2609B323CE}"/>
              </a:ext>
            </a:extLst>
          </p:cNvPr>
          <p:cNvSpPr txBox="1"/>
          <p:nvPr/>
        </p:nvSpPr>
        <p:spPr>
          <a:xfrm>
            <a:off x="6462342" y="2462141"/>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25</a:t>
            </a:r>
          </a:p>
        </p:txBody>
      </p:sp>
      <p:sp>
        <p:nvSpPr>
          <p:cNvPr id="70" name="TextBox 69">
            <a:extLst>
              <a:ext uri="{FF2B5EF4-FFF2-40B4-BE49-F238E27FC236}">
                <a16:creationId xmlns:a16="http://schemas.microsoft.com/office/drawing/2014/main" id="{595E9EC1-DB97-BD86-8E8B-4D93ECCA3C3B}"/>
              </a:ext>
            </a:extLst>
          </p:cNvPr>
          <p:cNvSpPr txBox="1"/>
          <p:nvPr/>
        </p:nvSpPr>
        <p:spPr>
          <a:xfrm>
            <a:off x="6617101" y="229180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14</a:t>
            </a:r>
          </a:p>
        </p:txBody>
      </p:sp>
      <p:grpSp>
        <p:nvGrpSpPr>
          <p:cNvPr id="71" name="Group 70">
            <a:extLst>
              <a:ext uri="{FF2B5EF4-FFF2-40B4-BE49-F238E27FC236}">
                <a16:creationId xmlns:a16="http://schemas.microsoft.com/office/drawing/2014/main" id="{850A0293-1A29-E307-A463-906F460D9B60}"/>
              </a:ext>
            </a:extLst>
          </p:cNvPr>
          <p:cNvGrpSpPr/>
          <p:nvPr/>
        </p:nvGrpSpPr>
        <p:grpSpPr>
          <a:xfrm>
            <a:off x="1346716" y="4109109"/>
            <a:ext cx="954278" cy="99818"/>
            <a:chOff x="1175026" y="4243137"/>
            <a:chExt cx="954278" cy="99818"/>
          </a:xfrm>
        </p:grpSpPr>
        <p:sp>
          <p:nvSpPr>
            <p:cNvPr id="72" name="TextBox 71">
              <a:extLst>
                <a:ext uri="{FF2B5EF4-FFF2-40B4-BE49-F238E27FC236}">
                  <a16:creationId xmlns:a16="http://schemas.microsoft.com/office/drawing/2014/main" id="{3ED895BF-4003-EFC9-AD59-1635B4AAC0DF}"/>
                </a:ext>
              </a:extLst>
            </p:cNvPr>
            <p:cNvSpPr txBox="1"/>
            <p:nvPr/>
          </p:nvSpPr>
          <p:spPr>
            <a:xfrm>
              <a:off x="1280930" y="4259354"/>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G</a:t>
              </a:r>
            </a:p>
          </p:txBody>
        </p:sp>
        <p:sp>
          <p:nvSpPr>
            <p:cNvPr id="73" name="Rectangle 72">
              <a:extLst>
                <a:ext uri="{FF2B5EF4-FFF2-40B4-BE49-F238E27FC236}">
                  <a16:creationId xmlns:a16="http://schemas.microsoft.com/office/drawing/2014/main" id="{E2C52EE1-5023-CF21-7626-0B8912EB24EE}"/>
                </a:ext>
              </a:extLst>
            </p:cNvPr>
            <p:cNvSpPr/>
            <p:nvPr/>
          </p:nvSpPr>
          <p:spPr>
            <a:xfrm>
              <a:off x="1175026" y="4248803"/>
              <a:ext cx="72000" cy="72000"/>
            </a:xfrm>
            <a:prstGeom prst="rect">
              <a:avLst/>
            </a:prstGeom>
            <a:solidFill>
              <a:srgbClr val="005A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74" name="Rectangle 73">
              <a:extLst>
                <a:ext uri="{FF2B5EF4-FFF2-40B4-BE49-F238E27FC236}">
                  <a16:creationId xmlns:a16="http://schemas.microsoft.com/office/drawing/2014/main" id="{9D7A98FA-455D-BC6B-D956-6AC8466F162C}"/>
                </a:ext>
              </a:extLst>
            </p:cNvPr>
            <p:cNvSpPr/>
            <p:nvPr/>
          </p:nvSpPr>
          <p:spPr>
            <a:xfrm>
              <a:off x="1631951" y="4248803"/>
              <a:ext cx="72000" cy="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75" name="TextBox 74">
              <a:extLst>
                <a:ext uri="{FF2B5EF4-FFF2-40B4-BE49-F238E27FC236}">
                  <a16:creationId xmlns:a16="http://schemas.microsoft.com/office/drawing/2014/main" id="{781167C9-8357-22C5-B89C-EE790D350A5F}"/>
                </a:ext>
              </a:extLst>
            </p:cNvPr>
            <p:cNvSpPr txBox="1"/>
            <p:nvPr/>
          </p:nvSpPr>
          <p:spPr>
            <a:xfrm>
              <a:off x="1733874" y="4243137"/>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G NSA</a:t>
              </a:r>
            </a:p>
          </p:txBody>
        </p:sp>
      </p:grpSp>
      <p:sp>
        <p:nvSpPr>
          <p:cNvPr id="76" name="Rectangle 75">
            <a:extLst>
              <a:ext uri="{FF2B5EF4-FFF2-40B4-BE49-F238E27FC236}">
                <a16:creationId xmlns:a16="http://schemas.microsoft.com/office/drawing/2014/main" id="{8BEE012F-4F48-B054-D4ED-7EF934BC3BA0}"/>
              </a:ext>
            </a:extLst>
          </p:cNvPr>
          <p:cNvSpPr/>
          <p:nvPr/>
        </p:nvSpPr>
        <p:spPr>
          <a:xfrm>
            <a:off x="542754" y="2311748"/>
            <a:ext cx="2791137" cy="703062"/>
          </a:xfrm>
          <a:prstGeom prst="rect">
            <a:avLst/>
          </a:prstGeom>
          <a:solidFill>
            <a:schemeClr val="bg1">
              <a:lumMod val="85000"/>
              <a:alpha val="55000"/>
            </a:schemeClr>
          </a:solidFill>
          <a:ln w="9525" cap="flat" cmpd="sng" algn="ctr">
            <a:noFill/>
            <a:prstDash val="solid"/>
          </a:ln>
          <a:effectLst/>
        </p:spPr>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2160" marR="0" lvl="0" indent="-132160" algn="l" defTabSz="3429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Nokia Pure Text Light"/>
              <a:ea typeface="+mn-ea"/>
              <a:cs typeface="+mn-cs"/>
            </a:endParaRPr>
          </a:p>
        </p:txBody>
      </p:sp>
      <p:sp>
        <p:nvSpPr>
          <p:cNvPr id="77" name="Left Brace 76">
            <a:extLst>
              <a:ext uri="{FF2B5EF4-FFF2-40B4-BE49-F238E27FC236}">
                <a16:creationId xmlns:a16="http://schemas.microsoft.com/office/drawing/2014/main" id="{A88CB50A-2DF8-F768-8658-ADD74B418588}"/>
              </a:ext>
            </a:extLst>
          </p:cNvPr>
          <p:cNvSpPr/>
          <p:nvPr/>
        </p:nvSpPr>
        <p:spPr>
          <a:xfrm>
            <a:off x="3206021" y="2315864"/>
            <a:ext cx="87048" cy="703062"/>
          </a:xfrm>
          <a:prstGeom prst="leftBrace">
            <a:avLst/>
          </a:prstGeom>
          <a:ln w="3175">
            <a:solidFill>
              <a:srgbClr val="98A2A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CCCCC"/>
              </a:solidFill>
              <a:effectLst/>
              <a:uLnTx/>
              <a:uFillTx/>
              <a:latin typeface="Nokia Pure Text Light"/>
              <a:ea typeface="+mn-ea"/>
              <a:cs typeface="+mn-cs"/>
            </a:endParaRPr>
          </a:p>
        </p:txBody>
      </p:sp>
      <p:sp>
        <p:nvSpPr>
          <p:cNvPr id="78" name="TextBox 77">
            <a:extLst>
              <a:ext uri="{FF2B5EF4-FFF2-40B4-BE49-F238E27FC236}">
                <a16:creationId xmlns:a16="http://schemas.microsoft.com/office/drawing/2014/main" id="{1E22F1A3-4F67-96A5-6EC8-39F6AA367BA1}"/>
              </a:ext>
            </a:extLst>
          </p:cNvPr>
          <p:cNvSpPr txBox="1"/>
          <p:nvPr/>
        </p:nvSpPr>
        <p:spPr>
          <a:xfrm>
            <a:off x="2541136" y="2545742"/>
            <a:ext cx="422855" cy="215067"/>
          </a:xfrm>
          <a:prstGeom prst="rect">
            <a:avLst/>
          </a:prstGeom>
          <a:noFill/>
        </p:spPr>
        <p:txBody>
          <a:bodyPr wrap="none" lIns="0" tIns="0" rIns="0" bIns="0" rtlCol="0">
            <a:noAutofit/>
          </a:bodyPr>
          <a:lstStyle/>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Target</a:t>
            </a:r>
          </a:p>
          <a:p>
            <a:pPr marL="128588" marR="0" lvl="0" indent="-128588" algn="l" defTabSz="3429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10-20 Mbps</a:t>
            </a:r>
          </a:p>
        </p:txBody>
      </p:sp>
      <p:grpSp>
        <p:nvGrpSpPr>
          <p:cNvPr id="79" name="Group 78">
            <a:extLst>
              <a:ext uri="{FF2B5EF4-FFF2-40B4-BE49-F238E27FC236}">
                <a16:creationId xmlns:a16="http://schemas.microsoft.com/office/drawing/2014/main" id="{596C57D7-2A2B-6C49-6C44-492CA6AFC71C}"/>
              </a:ext>
            </a:extLst>
          </p:cNvPr>
          <p:cNvGrpSpPr/>
          <p:nvPr/>
        </p:nvGrpSpPr>
        <p:grpSpPr>
          <a:xfrm>
            <a:off x="640318" y="3133634"/>
            <a:ext cx="263501" cy="117463"/>
            <a:chOff x="468628" y="3267662"/>
            <a:chExt cx="263501" cy="117463"/>
          </a:xfrm>
        </p:grpSpPr>
        <p:sp>
          <p:nvSpPr>
            <p:cNvPr id="80" name="TextBox 79">
              <a:extLst>
                <a:ext uri="{FF2B5EF4-FFF2-40B4-BE49-F238E27FC236}">
                  <a16:creationId xmlns:a16="http://schemas.microsoft.com/office/drawing/2014/main" id="{5078DEAD-5458-E3A3-97B3-33F9CE4D7505}"/>
                </a:ext>
              </a:extLst>
            </p:cNvPr>
            <p:cNvSpPr txBox="1"/>
            <p:nvPr/>
          </p:nvSpPr>
          <p:spPr>
            <a:xfrm>
              <a:off x="468628" y="3301524"/>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0</a:t>
              </a:r>
            </a:p>
          </p:txBody>
        </p:sp>
        <p:sp>
          <p:nvSpPr>
            <p:cNvPr id="81" name="TextBox 80">
              <a:extLst>
                <a:ext uri="{FF2B5EF4-FFF2-40B4-BE49-F238E27FC236}">
                  <a16:creationId xmlns:a16="http://schemas.microsoft.com/office/drawing/2014/main" id="{D32DF258-3336-D46E-2588-A2F5F64E72C6}"/>
                </a:ext>
              </a:extLst>
            </p:cNvPr>
            <p:cNvSpPr txBox="1"/>
            <p:nvPr/>
          </p:nvSpPr>
          <p:spPr>
            <a:xfrm>
              <a:off x="617587" y="3267662"/>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1</a:t>
              </a:r>
            </a:p>
          </p:txBody>
        </p:sp>
      </p:grpSp>
      <p:grpSp>
        <p:nvGrpSpPr>
          <p:cNvPr id="82" name="Group 81">
            <a:extLst>
              <a:ext uri="{FF2B5EF4-FFF2-40B4-BE49-F238E27FC236}">
                <a16:creationId xmlns:a16="http://schemas.microsoft.com/office/drawing/2014/main" id="{EA0C4569-C35C-D670-A88A-06B27F3FF81C}"/>
              </a:ext>
            </a:extLst>
          </p:cNvPr>
          <p:cNvGrpSpPr/>
          <p:nvPr/>
        </p:nvGrpSpPr>
        <p:grpSpPr>
          <a:xfrm>
            <a:off x="1126986" y="3165927"/>
            <a:ext cx="263501" cy="96199"/>
            <a:chOff x="955296" y="3299955"/>
            <a:chExt cx="263501" cy="96199"/>
          </a:xfrm>
        </p:grpSpPr>
        <p:sp>
          <p:nvSpPr>
            <p:cNvPr id="83" name="TextBox 82">
              <a:extLst>
                <a:ext uri="{FF2B5EF4-FFF2-40B4-BE49-F238E27FC236}">
                  <a16:creationId xmlns:a16="http://schemas.microsoft.com/office/drawing/2014/main" id="{4AE60F88-9878-ED57-4539-99983A30ADBE}"/>
                </a:ext>
              </a:extLst>
            </p:cNvPr>
            <p:cNvSpPr txBox="1"/>
            <p:nvPr/>
          </p:nvSpPr>
          <p:spPr>
            <a:xfrm>
              <a:off x="955296" y="3312553"/>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9</a:t>
              </a:r>
            </a:p>
          </p:txBody>
        </p:sp>
        <p:sp>
          <p:nvSpPr>
            <p:cNvPr id="84" name="TextBox 83">
              <a:extLst>
                <a:ext uri="{FF2B5EF4-FFF2-40B4-BE49-F238E27FC236}">
                  <a16:creationId xmlns:a16="http://schemas.microsoft.com/office/drawing/2014/main" id="{54EE91A7-E3C1-B613-5CDB-1C4C7982F725}"/>
                </a:ext>
              </a:extLst>
            </p:cNvPr>
            <p:cNvSpPr txBox="1"/>
            <p:nvPr/>
          </p:nvSpPr>
          <p:spPr>
            <a:xfrm>
              <a:off x="1104255" y="3299955"/>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4</a:t>
              </a:r>
            </a:p>
          </p:txBody>
        </p:sp>
      </p:grpSp>
      <p:grpSp>
        <p:nvGrpSpPr>
          <p:cNvPr id="85" name="Group 84">
            <a:extLst>
              <a:ext uri="{FF2B5EF4-FFF2-40B4-BE49-F238E27FC236}">
                <a16:creationId xmlns:a16="http://schemas.microsoft.com/office/drawing/2014/main" id="{39A18E51-0121-5D96-68D8-6D53A44E1186}"/>
              </a:ext>
            </a:extLst>
          </p:cNvPr>
          <p:cNvGrpSpPr/>
          <p:nvPr/>
        </p:nvGrpSpPr>
        <p:grpSpPr>
          <a:xfrm>
            <a:off x="1626885" y="3206320"/>
            <a:ext cx="263501" cy="96199"/>
            <a:chOff x="1455195" y="3340348"/>
            <a:chExt cx="263501" cy="96199"/>
          </a:xfrm>
        </p:grpSpPr>
        <p:sp>
          <p:nvSpPr>
            <p:cNvPr id="86" name="TextBox 85">
              <a:extLst>
                <a:ext uri="{FF2B5EF4-FFF2-40B4-BE49-F238E27FC236}">
                  <a16:creationId xmlns:a16="http://schemas.microsoft.com/office/drawing/2014/main" id="{768EC982-873F-5340-77B4-11CDB2E3DB16}"/>
                </a:ext>
              </a:extLst>
            </p:cNvPr>
            <p:cNvSpPr txBox="1"/>
            <p:nvPr/>
          </p:nvSpPr>
          <p:spPr>
            <a:xfrm>
              <a:off x="1455195" y="3352946"/>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5</a:t>
              </a:r>
            </a:p>
          </p:txBody>
        </p:sp>
        <p:sp>
          <p:nvSpPr>
            <p:cNvPr id="87" name="TextBox 86">
              <a:extLst>
                <a:ext uri="{FF2B5EF4-FFF2-40B4-BE49-F238E27FC236}">
                  <a16:creationId xmlns:a16="http://schemas.microsoft.com/office/drawing/2014/main" id="{954ED0B8-F644-CCA4-1860-8FA39A100F1F}"/>
                </a:ext>
              </a:extLst>
            </p:cNvPr>
            <p:cNvSpPr txBox="1"/>
            <p:nvPr/>
          </p:nvSpPr>
          <p:spPr>
            <a:xfrm>
              <a:off x="1604154" y="334034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8</a:t>
              </a:r>
            </a:p>
          </p:txBody>
        </p:sp>
      </p:grpSp>
      <p:sp>
        <p:nvSpPr>
          <p:cNvPr id="88" name="TextBox 87">
            <a:extLst>
              <a:ext uri="{FF2B5EF4-FFF2-40B4-BE49-F238E27FC236}">
                <a16:creationId xmlns:a16="http://schemas.microsoft.com/office/drawing/2014/main" id="{467DE6E7-4AD6-4C32-5E19-446F46208A4D}"/>
              </a:ext>
            </a:extLst>
          </p:cNvPr>
          <p:cNvSpPr txBox="1"/>
          <p:nvPr/>
        </p:nvSpPr>
        <p:spPr>
          <a:xfrm>
            <a:off x="1906908" y="3178489"/>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1</a:t>
            </a:r>
          </a:p>
        </p:txBody>
      </p:sp>
      <p:grpSp>
        <p:nvGrpSpPr>
          <p:cNvPr id="89" name="Group 88">
            <a:extLst>
              <a:ext uri="{FF2B5EF4-FFF2-40B4-BE49-F238E27FC236}">
                <a16:creationId xmlns:a16="http://schemas.microsoft.com/office/drawing/2014/main" id="{77A3BAF1-9F55-FA91-07AB-E175AA6B9BEA}"/>
              </a:ext>
            </a:extLst>
          </p:cNvPr>
          <p:cNvGrpSpPr/>
          <p:nvPr/>
        </p:nvGrpSpPr>
        <p:grpSpPr>
          <a:xfrm>
            <a:off x="2095534" y="3250843"/>
            <a:ext cx="271486" cy="95515"/>
            <a:chOff x="1923844" y="3384871"/>
            <a:chExt cx="271486" cy="95515"/>
          </a:xfrm>
        </p:grpSpPr>
        <p:sp>
          <p:nvSpPr>
            <p:cNvPr id="90" name="TextBox 89">
              <a:extLst>
                <a:ext uri="{FF2B5EF4-FFF2-40B4-BE49-F238E27FC236}">
                  <a16:creationId xmlns:a16="http://schemas.microsoft.com/office/drawing/2014/main" id="{CD2FC75F-5D75-3D61-6459-2A5AB376D11D}"/>
                </a:ext>
              </a:extLst>
            </p:cNvPr>
            <p:cNvSpPr txBox="1"/>
            <p:nvPr/>
          </p:nvSpPr>
          <p:spPr>
            <a:xfrm>
              <a:off x="1923844" y="3396785"/>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3.8</a:t>
              </a:r>
            </a:p>
          </p:txBody>
        </p:sp>
        <p:sp>
          <p:nvSpPr>
            <p:cNvPr id="91" name="TextBox 90">
              <a:extLst>
                <a:ext uri="{FF2B5EF4-FFF2-40B4-BE49-F238E27FC236}">
                  <a16:creationId xmlns:a16="http://schemas.microsoft.com/office/drawing/2014/main" id="{6B34F8C1-7F2C-DFA4-A840-8541043ED4F7}"/>
                </a:ext>
              </a:extLst>
            </p:cNvPr>
            <p:cNvSpPr txBox="1"/>
            <p:nvPr/>
          </p:nvSpPr>
          <p:spPr>
            <a:xfrm>
              <a:off x="2080788" y="3384871"/>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1</a:t>
              </a:r>
            </a:p>
          </p:txBody>
        </p:sp>
      </p:grpSp>
      <p:sp>
        <p:nvSpPr>
          <p:cNvPr id="92" name="TextBox 91">
            <a:extLst>
              <a:ext uri="{FF2B5EF4-FFF2-40B4-BE49-F238E27FC236}">
                <a16:creationId xmlns:a16="http://schemas.microsoft.com/office/drawing/2014/main" id="{9389E21A-95DC-7639-8754-366D19D2A2B9}"/>
              </a:ext>
            </a:extLst>
          </p:cNvPr>
          <p:cNvSpPr txBox="1"/>
          <p:nvPr/>
        </p:nvSpPr>
        <p:spPr>
          <a:xfrm>
            <a:off x="2388216" y="3199270"/>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7</a:t>
            </a:r>
          </a:p>
        </p:txBody>
      </p:sp>
      <p:sp>
        <p:nvSpPr>
          <p:cNvPr id="93" name="TextBox 92">
            <a:extLst>
              <a:ext uri="{FF2B5EF4-FFF2-40B4-BE49-F238E27FC236}">
                <a16:creationId xmlns:a16="http://schemas.microsoft.com/office/drawing/2014/main" id="{D7006A3F-A015-48D7-167D-F580857D3CE7}"/>
              </a:ext>
            </a:extLst>
          </p:cNvPr>
          <p:cNvSpPr txBox="1"/>
          <p:nvPr/>
        </p:nvSpPr>
        <p:spPr>
          <a:xfrm>
            <a:off x="2594192" y="3251926"/>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1</a:t>
            </a:r>
          </a:p>
        </p:txBody>
      </p:sp>
      <p:sp>
        <p:nvSpPr>
          <p:cNvPr id="94" name="TextBox 93">
            <a:extLst>
              <a:ext uri="{FF2B5EF4-FFF2-40B4-BE49-F238E27FC236}">
                <a16:creationId xmlns:a16="http://schemas.microsoft.com/office/drawing/2014/main" id="{9D53CA29-0AFB-87FE-E5C2-A5021A01F60D}"/>
              </a:ext>
            </a:extLst>
          </p:cNvPr>
          <p:cNvSpPr txBox="1"/>
          <p:nvPr/>
        </p:nvSpPr>
        <p:spPr>
          <a:xfrm>
            <a:off x="2742935" y="323252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2</a:t>
            </a:r>
          </a:p>
        </p:txBody>
      </p:sp>
      <p:sp>
        <p:nvSpPr>
          <p:cNvPr id="95" name="TextBox 94">
            <a:extLst>
              <a:ext uri="{FF2B5EF4-FFF2-40B4-BE49-F238E27FC236}">
                <a16:creationId xmlns:a16="http://schemas.microsoft.com/office/drawing/2014/main" id="{E850F409-39BA-CA3A-8DA9-C12E711AABC0}"/>
              </a:ext>
            </a:extLst>
          </p:cNvPr>
          <p:cNvSpPr txBox="1"/>
          <p:nvPr/>
        </p:nvSpPr>
        <p:spPr>
          <a:xfrm>
            <a:off x="2858410" y="3150281"/>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4</a:t>
            </a:r>
          </a:p>
        </p:txBody>
      </p:sp>
      <p:sp>
        <p:nvSpPr>
          <p:cNvPr id="96" name="TextBox 95">
            <a:extLst>
              <a:ext uri="{FF2B5EF4-FFF2-40B4-BE49-F238E27FC236}">
                <a16:creationId xmlns:a16="http://schemas.microsoft.com/office/drawing/2014/main" id="{D973DA2F-C44B-2941-7755-B44239608D82}"/>
              </a:ext>
            </a:extLst>
          </p:cNvPr>
          <p:cNvSpPr txBox="1"/>
          <p:nvPr/>
        </p:nvSpPr>
        <p:spPr>
          <a:xfrm>
            <a:off x="3314016" y="313668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5</a:t>
            </a:r>
          </a:p>
        </p:txBody>
      </p:sp>
      <p:sp>
        <p:nvSpPr>
          <p:cNvPr id="97" name="TextBox 96">
            <a:extLst>
              <a:ext uri="{FF2B5EF4-FFF2-40B4-BE49-F238E27FC236}">
                <a16:creationId xmlns:a16="http://schemas.microsoft.com/office/drawing/2014/main" id="{2D04B4AF-FE8E-FAE4-B200-59FA8AE8DB1D}"/>
              </a:ext>
            </a:extLst>
          </p:cNvPr>
          <p:cNvSpPr txBox="1"/>
          <p:nvPr/>
        </p:nvSpPr>
        <p:spPr>
          <a:xfrm>
            <a:off x="3197254" y="3192081"/>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6</a:t>
            </a:r>
          </a:p>
        </p:txBody>
      </p:sp>
      <p:sp>
        <p:nvSpPr>
          <p:cNvPr id="98" name="TextBox 97">
            <a:extLst>
              <a:ext uri="{FF2B5EF4-FFF2-40B4-BE49-F238E27FC236}">
                <a16:creationId xmlns:a16="http://schemas.microsoft.com/office/drawing/2014/main" id="{7F41E012-0D49-EDD9-26D2-1EC770E837C4}"/>
              </a:ext>
            </a:extLst>
          </p:cNvPr>
          <p:cNvSpPr txBox="1"/>
          <p:nvPr/>
        </p:nvSpPr>
        <p:spPr>
          <a:xfrm>
            <a:off x="3088861" y="3232528"/>
            <a:ext cx="114542"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4.4</a:t>
            </a:r>
          </a:p>
        </p:txBody>
      </p:sp>
      <p:sp>
        <p:nvSpPr>
          <p:cNvPr id="99" name="Rectangle 98">
            <a:extLst>
              <a:ext uri="{FF2B5EF4-FFF2-40B4-BE49-F238E27FC236}">
                <a16:creationId xmlns:a16="http://schemas.microsoft.com/office/drawing/2014/main" id="{B7D40B90-A0F1-B5E8-E5D9-67FF5D259C53}"/>
              </a:ext>
            </a:extLst>
          </p:cNvPr>
          <p:cNvSpPr/>
          <p:nvPr/>
        </p:nvSpPr>
        <p:spPr>
          <a:xfrm>
            <a:off x="2279674" y="4108187"/>
            <a:ext cx="72000" cy="7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7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00" name="TextBox 99">
            <a:extLst>
              <a:ext uri="{FF2B5EF4-FFF2-40B4-BE49-F238E27FC236}">
                <a16:creationId xmlns:a16="http://schemas.microsoft.com/office/drawing/2014/main" id="{DC95D398-4A0F-4CBD-CCBE-4A68D628E5EC}"/>
              </a:ext>
            </a:extLst>
          </p:cNvPr>
          <p:cNvSpPr txBox="1"/>
          <p:nvPr/>
        </p:nvSpPr>
        <p:spPr>
          <a:xfrm>
            <a:off x="2396477" y="4103174"/>
            <a:ext cx="395430" cy="83601"/>
          </a:xfrm>
          <a:prstGeom prst="rect">
            <a:avLst/>
          </a:prstGeom>
          <a:noFill/>
        </p:spPr>
        <p:txBody>
          <a:bodyPr wrap="square" lIns="0" tIns="0" rIns="0" bIns="0" rtlCol="0" anchor="ctr">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en-US" sz="600" b="0" i="0" u="none" strike="noStrike" kern="1200" cap="none" spc="0" normalizeH="0" baseline="0" noProof="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5G SA</a:t>
            </a:r>
          </a:p>
        </p:txBody>
      </p:sp>
      <p:graphicFrame>
        <p:nvGraphicFramePr>
          <p:cNvPr id="101" name="Chart 100">
            <a:extLst>
              <a:ext uri="{FF2B5EF4-FFF2-40B4-BE49-F238E27FC236}">
                <a16:creationId xmlns:a16="http://schemas.microsoft.com/office/drawing/2014/main" id="{FCED4E99-AEB1-8992-C3D2-72F88FDCEEE5}"/>
              </a:ext>
            </a:extLst>
          </p:cNvPr>
          <p:cNvGraphicFramePr>
            <a:graphicFrameLocks noGrp="1"/>
          </p:cNvGraphicFramePr>
          <p:nvPr/>
        </p:nvGraphicFramePr>
        <p:xfrm>
          <a:off x="40373" y="1895622"/>
          <a:ext cx="3524935" cy="2138269"/>
        </p:xfrm>
        <a:graphic>
          <a:graphicData uri="http://schemas.openxmlformats.org/drawingml/2006/chart">
            <c:chart xmlns:c="http://schemas.openxmlformats.org/drawingml/2006/chart" xmlns:r="http://schemas.openxmlformats.org/officeDocument/2006/relationships" r:id="rId8"/>
          </a:graphicData>
        </a:graphic>
      </p:graphicFrame>
      <p:sp>
        <p:nvSpPr>
          <p:cNvPr id="103" name="Footer Placeholder 1">
            <a:extLst>
              <a:ext uri="{FF2B5EF4-FFF2-40B4-BE49-F238E27FC236}">
                <a16:creationId xmlns:a16="http://schemas.microsoft.com/office/drawing/2014/main" id="{8C604197-F76B-F947-AD8D-406A12C79954}"/>
              </a:ext>
            </a:extLst>
          </p:cNvPr>
          <p:cNvSpPr txBox="1">
            <a:spLocks/>
          </p:cNvSpPr>
          <p:nvPr/>
        </p:nvSpPr>
        <p:spPr>
          <a:xfrm>
            <a:off x="1657010" y="5010955"/>
            <a:ext cx="2880000" cy="122400"/>
          </a:xfrm>
          <a:prstGeom prst="rect">
            <a:avLst/>
          </a:prstGeom>
        </p:spPr>
        <p:txBody>
          <a:bodyPr vert="horz" wrap="none" lIns="0" tIns="0" rIns="0" bIns="0" rtlCol="0" anchor="b" anchorCtr="0">
            <a:noAutofit/>
          </a:bodyPr>
          <a:lstStyle>
            <a:defPPr>
              <a:defRPr lang="en-US"/>
            </a:defPPr>
            <a:lvl1pPr marL="0" algn="l" defTabSz="457200" rtl="0" eaLnBrk="1" latinLnBrk="0" hangingPunct="1">
              <a:defRPr lang="en-GB" sz="800" kern="12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en-US" dirty="0">
              <a:solidFill>
                <a:srgbClr val="001135"/>
              </a:solidFill>
            </a:endParaRPr>
          </a:p>
        </p:txBody>
      </p:sp>
      <p:sp>
        <p:nvSpPr>
          <p:cNvPr id="104" name="Footer Placeholder 1">
            <a:extLst>
              <a:ext uri="{FF2B5EF4-FFF2-40B4-BE49-F238E27FC236}">
                <a16:creationId xmlns:a16="http://schemas.microsoft.com/office/drawing/2014/main" id="{1ADD7873-1F98-D80C-3421-11B8E9DEC2EA}"/>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3879867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
            <a:extLst>
              <a:ext uri="{FF2B5EF4-FFF2-40B4-BE49-F238E27FC236}">
                <a16:creationId xmlns:a16="http://schemas.microsoft.com/office/drawing/2014/main" id="{0A2C30C1-9FEC-49C0-9776-3FD6440D240F}"/>
              </a:ext>
            </a:extLst>
          </p:cNvPr>
          <p:cNvSpPr>
            <a:spLocks noGrp="1"/>
          </p:cNvSpPr>
          <p:nvPr>
            <p:ph type="body" sz="quarter" idx="12"/>
          </p:nvPr>
        </p:nvSpPr>
        <p:spPr/>
        <p:txBody>
          <a:bodyPr/>
          <a:lstStyle/>
          <a:p>
            <a:r>
              <a:rPr lang="en-US" sz="2250" dirty="0"/>
              <a:t>This transformation will require new network capabilities and versatile integrations</a:t>
            </a:r>
          </a:p>
        </p:txBody>
      </p:sp>
      <p:sp>
        <p:nvSpPr>
          <p:cNvPr id="3" name="Text Placeholder 2">
            <a:extLst>
              <a:ext uri="{FF2B5EF4-FFF2-40B4-BE49-F238E27FC236}">
                <a16:creationId xmlns:a16="http://schemas.microsoft.com/office/drawing/2014/main" id="{5041D4E1-1040-10AC-2006-0A737711B53A}"/>
              </a:ext>
            </a:extLst>
          </p:cNvPr>
          <p:cNvSpPr>
            <a:spLocks noGrp="1"/>
          </p:cNvSpPr>
          <p:nvPr>
            <p:ph type="body" sz="quarter" idx="13"/>
          </p:nvPr>
        </p:nvSpPr>
        <p:spPr/>
        <p:txBody>
          <a:bodyPr/>
          <a:lstStyle/>
          <a:p>
            <a:r>
              <a:rPr lang="en-GB" dirty="0"/>
              <a:t> </a:t>
            </a:r>
            <a:endParaRPr lang="en-US" dirty="0"/>
          </a:p>
        </p:txBody>
      </p:sp>
      <p:pic>
        <p:nvPicPr>
          <p:cNvPr id="41" name="Picture 40">
            <a:extLst>
              <a:ext uri="{FF2B5EF4-FFF2-40B4-BE49-F238E27FC236}">
                <a16:creationId xmlns:a16="http://schemas.microsoft.com/office/drawing/2014/main" id="{3FB1A982-7DBC-91F5-C706-6F45BDA6CD9B}"/>
              </a:ext>
            </a:extLst>
          </p:cNvPr>
          <p:cNvPicPr>
            <a:picLocks noChangeAspect="1"/>
          </p:cNvPicPr>
          <p:nvPr/>
        </p:nvPicPr>
        <p:blipFill>
          <a:blip r:embed="rId2"/>
          <a:stretch>
            <a:fillRect/>
          </a:stretch>
        </p:blipFill>
        <p:spPr>
          <a:xfrm>
            <a:off x="148015" y="1300624"/>
            <a:ext cx="4335176" cy="3598367"/>
          </a:xfrm>
          <a:prstGeom prst="rect">
            <a:avLst/>
          </a:prstGeom>
        </p:spPr>
      </p:pic>
      <p:cxnSp>
        <p:nvCxnSpPr>
          <p:cNvPr id="5" name="Straight Connector 4">
            <a:extLst>
              <a:ext uri="{FF2B5EF4-FFF2-40B4-BE49-F238E27FC236}">
                <a16:creationId xmlns:a16="http://schemas.microsoft.com/office/drawing/2014/main" id="{87B6ED5C-E54A-A4F1-6134-D8E34034BB78}"/>
              </a:ext>
            </a:extLst>
          </p:cNvPr>
          <p:cNvCxnSpPr/>
          <p:nvPr/>
        </p:nvCxnSpPr>
        <p:spPr>
          <a:xfrm>
            <a:off x="4572000" y="1239592"/>
            <a:ext cx="0" cy="296214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3F62DD5C-7568-A9B0-E76D-9743AFF455B2}"/>
              </a:ext>
            </a:extLst>
          </p:cNvPr>
          <p:cNvSpPr txBox="1"/>
          <p:nvPr/>
        </p:nvSpPr>
        <p:spPr>
          <a:xfrm>
            <a:off x="444848" y="1239592"/>
            <a:ext cx="3837701" cy="253916"/>
          </a:xfrm>
          <a:prstGeom prst="rect">
            <a:avLst/>
          </a:prstGeom>
          <a:noFill/>
          <a:ln>
            <a:solidFill>
              <a:schemeClr val="bg1"/>
            </a:solidFill>
          </a:ln>
        </p:spPr>
        <p:txBody>
          <a:bodyPr wrap="square">
            <a:spAutoFit/>
          </a:bodyPr>
          <a:lstStyle/>
          <a:p>
            <a:pPr marL="0" marR="0" lvl="0" indent="0" algn="ctr" defTabSz="514350" rtl="0" eaLnBrk="1" fontAlgn="auto" latinLnBrk="0" hangingPunct="1">
              <a:lnSpc>
                <a:spcPct val="100000"/>
              </a:lnSpc>
              <a:spcBef>
                <a:spcPts val="0"/>
              </a:spcBef>
              <a:spcAft>
                <a:spcPts val="169"/>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New service needs</a:t>
            </a:r>
          </a:p>
        </p:txBody>
      </p:sp>
      <p:sp>
        <p:nvSpPr>
          <p:cNvPr id="7" name="TextBox 6">
            <a:extLst>
              <a:ext uri="{FF2B5EF4-FFF2-40B4-BE49-F238E27FC236}">
                <a16:creationId xmlns:a16="http://schemas.microsoft.com/office/drawing/2014/main" id="{CFCEC7CB-C15A-6BB8-7534-78252C6D54AF}"/>
              </a:ext>
            </a:extLst>
          </p:cNvPr>
          <p:cNvSpPr txBox="1"/>
          <p:nvPr/>
        </p:nvSpPr>
        <p:spPr>
          <a:xfrm>
            <a:off x="4968606" y="1211086"/>
            <a:ext cx="3837701" cy="253916"/>
          </a:xfrm>
          <a:prstGeom prst="rect">
            <a:avLst/>
          </a:prstGeom>
          <a:noFill/>
          <a:ln>
            <a:solidFill>
              <a:schemeClr val="bg1"/>
            </a:solidFill>
          </a:ln>
        </p:spPr>
        <p:txBody>
          <a:bodyPr wrap="square">
            <a:spAutoFit/>
          </a:bodyPr>
          <a:lstStyle/>
          <a:p>
            <a:pPr marL="0" marR="0" lvl="0" indent="0" algn="ctr" defTabSz="514350" rtl="0" eaLnBrk="1" fontAlgn="auto" latinLnBrk="0" hangingPunct="1">
              <a:lnSpc>
                <a:spcPct val="100000"/>
              </a:lnSpc>
              <a:spcBef>
                <a:spcPts val="0"/>
              </a:spcBef>
              <a:spcAft>
                <a:spcPts val="169"/>
              </a:spcAft>
              <a:buClrTx/>
              <a:buSzTx/>
              <a:buFontTx/>
              <a:buNone/>
              <a:tabLst/>
              <a:defRPr/>
            </a:pPr>
            <a:r>
              <a:rPr kumimoji="0" lang="en-US" sz="105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Network characteristics</a:t>
            </a:r>
          </a:p>
        </p:txBody>
      </p:sp>
      <p:pic>
        <p:nvPicPr>
          <p:cNvPr id="139" name="Picture 138">
            <a:extLst>
              <a:ext uri="{FF2B5EF4-FFF2-40B4-BE49-F238E27FC236}">
                <a16:creationId xmlns:a16="http://schemas.microsoft.com/office/drawing/2014/main" id="{480029DA-313A-F918-CDB2-12BDB823B29E}"/>
              </a:ext>
            </a:extLst>
          </p:cNvPr>
          <p:cNvPicPr>
            <a:picLocks noChangeAspect="1"/>
          </p:cNvPicPr>
          <p:nvPr/>
        </p:nvPicPr>
        <p:blipFill>
          <a:blip r:embed="rId3"/>
          <a:stretch>
            <a:fillRect/>
          </a:stretch>
        </p:blipFill>
        <p:spPr>
          <a:xfrm>
            <a:off x="5039069" y="1644560"/>
            <a:ext cx="4655819" cy="2515316"/>
          </a:xfrm>
          <a:prstGeom prst="rect">
            <a:avLst/>
          </a:prstGeom>
        </p:spPr>
      </p:pic>
      <p:sp>
        <p:nvSpPr>
          <p:cNvPr id="4" name="Footer Placeholder 1">
            <a:extLst>
              <a:ext uri="{FF2B5EF4-FFF2-40B4-BE49-F238E27FC236}">
                <a16:creationId xmlns:a16="http://schemas.microsoft.com/office/drawing/2014/main" id="{205DF062-8511-D82E-06D8-A6589B5AE300}"/>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289662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2F5ED7-18AB-BAED-EB59-84AE0AA1CB8A}"/>
              </a:ext>
            </a:extLst>
          </p:cNvPr>
          <p:cNvSpPr>
            <a:spLocks noGrp="1"/>
          </p:cNvSpPr>
          <p:nvPr>
            <p:ph type="body" sz="quarter" idx="11"/>
          </p:nvPr>
        </p:nvSpPr>
        <p:spPr/>
        <p:txBody>
          <a:bodyPr/>
          <a:lstStyle/>
          <a:p>
            <a:r>
              <a:rPr lang="en-GB" dirty="0"/>
              <a:t>Agenda</a:t>
            </a:r>
            <a:endParaRPr lang="en-US" dirty="0"/>
          </a:p>
        </p:txBody>
      </p:sp>
      <p:sp>
        <p:nvSpPr>
          <p:cNvPr id="4" name="Rectangle 3">
            <a:extLst>
              <a:ext uri="{FF2B5EF4-FFF2-40B4-BE49-F238E27FC236}">
                <a16:creationId xmlns:a16="http://schemas.microsoft.com/office/drawing/2014/main" id="{60C9EAEB-DF3D-A380-EF9F-3BB27AD95118}"/>
              </a:ext>
            </a:extLst>
          </p:cNvPr>
          <p:cNvSpPr/>
          <p:nvPr/>
        </p:nvSpPr>
        <p:spPr>
          <a:xfrm>
            <a:off x="3758829" y="1724853"/>
            <a:ext cx="4726494" cy="2338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FFFFFF"/>
                </a:solidFill>
                <a:latin typeface="Nokia Pure Headline Light" panose="020B0304020202020204" pitchFamily="34" charset="0"/>
              </a:rPr>
              <a:t>Opportunity of the metaverses and  requirement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lang="en-GB" sz="2000" dirty="0">
                <a:solidFill>
                  <a:srgbClr val="001135"/>
                </a:solidFill>
                <a:latin typeface="Nokia Pure Headline Light" panose="020B0304020202020204" pitchFamily="34" charset="0"/>
              </a:rPr>
              <a:t>6G timeline and focu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AU"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Six key technology areas</a:t>
            </a:r>
          </a:p>
          <a:p>
            <a:pPr marL="457200" marR="0" lvl="0" indent="-457200" algn="l" defTabSz="342900" rtl="0" eaLnBrk="1" fontAlgn="auto" latinLnBrk="0" hangingPunct="1">
              <a:lnSpc>
                <a:spcPct val="100000"/>
              </a:lnSpc>
              <a:spcBef>
                <a:spcPts val="0"/>
              </a:spcBef>
              <a:spcAft>
                <a:spcPts val="600"/>
              </a:spcAft>
              <a:buClrTx/>
              <a:buSzTx/>
              <a:buFont typeface="+mj-lt"/>
              <a:buAutoNum type="arabicPeriod"/>
              <a:tabLst/>
              <a:defRPr/>
            </a:pPr>
            <a:r>
              <a:rPr kumimoji="0" lang="en-GB" sz="2000" b="0" i="0" u="none" strike="noStrike" kern="1200" cap="none" spc="0" normalizeH="0" baseline="0" noProof="0" dirty="0">
                <a:ln>
                  <a:noFill/>
                </a:ln>
                <a:solidFill>
                  <a:srgbClr val="FFFFFF"/>
                </a:solidFill>
                <a:effectLst/>
                <a:uLnTx/>
                <a:uFillTx/>
                <a:latin typeface="Nokia Pure Headline Light" panose="020B0304020202020204" pitchFamily="34" charset="0"/>
                <a:ea typeface="+mn-ea"/>
                <a:cs typeface="+mn-cs"/>
              </a:rPr>
              <a:t>6G collaborative advantage</a:t>
            </a:r>
          </a:p>
        </p:txBody>
      </p:sp>
      <p:sp>
        <p:nvSpPr>
          <p:cNvPr id="5" name="Footer Placeholder 1">
            <a:extLst>
              <a:ext uri="{FF2B5EF4-FFF2-40B4-BE49-F238E27FC236}">
                <a16:creationId xmlns:a16="http://schemas.microsoft.com/office/drawing/2014/main" id="{7AF0C965-6CBA-3185-2B3C-A441FA25EB13}"/>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47637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23EA321-B186-AEFA-AAF2-FE533BA7C087}"/>
              </a:ext>
            </a:extLst>
          </p:cNvPr>
          <p:cNvSpPr>
            <a:spLocks noGrp="1"/>
          </p:cNvSpPr>
          <p:nvPr>
            <p:ph type="body" sz="quarter" idx="12"/>
          </p:nvPr>
        </p:nvSpPr>
        <p:spPr/>
        <p:txBody>
          <a:bodyPr/>
          <a:lstStyle/>
          <a:p>
            <a:r>
              <a:rPr lang="en-US" dirty="0"/>
              <a:t>The journey has already begun </a:t>
            </a:r>
          </a:p>
        </p:txBody>
      </p:sp>
      <p:sp>
        <p:nvSpPr>
          <p:cNvPr id="4" name="Text Placeholder 3">
            <a:extLst>
              <a:ext uri="{FF2B5EF4-FFF2-40B4-BE49-F238E27FC236}">
                <a16:creationId xmlns:a16="http://schemas.microsoft.com/office/drawing/2014/main" id="{BF103A0F-F376-669F-2961-F33EA3F34340}"/>
              </a:ext>
            </a:extLst>
          </p:cNvPr>
          <p:cNvSpPr>
            <a:spLocks noGrp="1"/>
          </p:cNvSpPr>
          <p:nvPr>
            <p:ph type="body" sz="quarter" idx="13"/>
          </p:nvPr>
        </p:nvSpPr>
        <p:spPr/>
        <p:txBody>
          <a:bodyPr/>
          <a:lstStyle/>
          <a:p>
            <a:r>
              <a:rPr lang="en-GB" dirty="0"/>
              <a:t> Evolutionary path with revolutionary technology</a:t>
            </a:r>
            <a:endParaRPr lang="en-US" dirty="0"/>
          </a:p>
        </p:txBody>
      </p:sp>
      <p:grpSp>
        <p:nvGrpSpPr>
          <p:cNvPr id="6" name="Group 5">
            <a:extLst>
              <a:ext uri="{FF2B5EF4-FFF2-40B4-BE49-F238E27FC236}">
                <a16:creationId xmlns:a16="http://schemas.microsoft.com/office/drawing/2014/main" id="{D4FF4D02-8B18-0B1B-DD0B-A7824DDC645C}"/>
              </a:ext>
            </a:extLst>
          </p:cNvPr>
          <p:cNvGrpSpPr/>
          <p:nvPr/>
        </p:nvGrpSpPr>
        <p:grpSpPr>
          <a:xfrm>
            <a:off x="743230" y="1213087"/>
            <a:ext cx="7657539" cy="3276894"/>
            <a:chOff x="1258349" y="853654"/>
            <a:chExt cx="7657539" cy="3772112"/>
          </a:xfrm>
        </p:grpSpPr>
        <p:sp>
          <p:nvSpPr>
            <p:cNvPr id="39" name="Rectangle 38">
              <a:extLst>
                <a:ext uri="{FF2B5EF4-FFF2-40B4-BE49-F238E27FC236}">
                  <a16:creationId xmlns:a16="http://schemas.microsoft.com/office/drawing/2014/main" id="{83B58F99-C311-3715-A312-E4B0F9F45266}"/>
                </a:ext>
              </a:extLst>
            </p:cNvPr>
            <p:cNvSpPr/>
            <p:nvPr/>
          </p:nvSpPr>
          <p:spPr>
            <a:xfrm>
              <a:off x="1258349" y="853654"/>
              <a:ext cx="7657539" cy="3739776"/>
            </a:xfrm>
            <a:prstGeom prst="rect">
              <a:avLst/>
            </a:prstGeom>
            <a:solidFill>
              <a:schemeClr val="accent3">
                <a:alpha val="10933"/>
              </a:schemeClr>
            </a:solidFill>
            <a:ln w="3175">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r>
                <a:rPr kumimoji="0" lang="fr-FR" sz="1200" b="0" i="0" u="none" strike="noStrike" kern="1200" cap="none" spc="0" normalizeH="0" baseline="0" noProof="0" dirty="0">
                  <a:ln>
                    <a:noFill/>
                  </a:ln>
                  <a:solidFill>
                    <a:srgbClr val="FFFFFF"/>
                  </a:solidFill>
                  <a:effectLst/>
                  <a:uLnTx/>
                  <a:uFillTx/>
                  <a:latin typeface="Nokia Pure Text Light"/>
                  <a:ea typeface="+mn-ea"/>
                  <a:cs typeface="+mn-cs"/>
                </a:rPr>
                <a:t> </a:t>
              </a: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0" name="Rectangle 39">
              <a:extLst>
                <a:ext uri="{FF2B5EF4-FFF2-40B4-BE49-F238E27FC236}">
                  <a16:creationId xmlns:a16="http://schemas.microsoft.com/office/drawing/2014/main" id="{FCD4D69B-AD44-FC87-22F1-C50529A57237}"/>
                </a:ext>
              </a:extLst>
            </p:cNvPr>
            <p:cNvSpPr/>
            <p:nvPr/>
          </p:nvSpPr>
          <p:spPr>
            <a:xfrm>
              <a:off x="3602934" y="954077"/>
              <a:ext cx="5312953" cy="3639356"/>
            </a:xfrm>
            <a:prstGeom prst="rect">
              <a:avLst/>
            </a:prstGeom>
            <a:solidFill>
              <a:schemeClr val="accent3">
                <a:alpha val="18000"/>
              </a:schemeClr>
            </a:solidFill>
            <a:ln w="3175">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1" name="Rectangle 40">
              <a:extLst>
                <a:ext uri="{FF2B5EF4-FFF2-40B4-BE49-F238E27FC236}">
                  <a16:creationId xmlns:a16="http://schemas.microsoft.com/office/drawing/2014/main" id="{C597B7DF-99E8-8F8D-45EB-DFE1346D3F24}"/>
                </a:ext>
              </a:extLst>
            </p:cNvPr>
            <p:cNvSpPr/>
            <p:nvPr/>
          </p:nvSpPr>
          <p:spPr>
            <a:xfrm>
              <a:off x="6107185" y="1042848"/>
              <a:ext cx="2808702" cy="3550586"/>
            </a:xfrm>
            <a:prstGeom prst="rect">
              <a:avLst/>
            </a:prstGeom>
            <a:solidFill>
              <a:schemeClr val="accent3">
                <a:alpha val="30000"/>
              </a:schemeClr>
            </a:solidFill>
            <a:ln w="3175">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a:ea typeface="+mn-ea"/>
                <a:cs typeface="+mn-cs"/>
              </a:endParaRPr>
            </a:p>
          </p:txBody>
        </p:sp>
        <p:sp>
          <p:nvSpPr>
            <p:cNvPr id="42" name="Text Placeholder 1">
              <a:extLst>
                <a:ext uri="{FF2B5EF4-FFF2-40B4-BE49-F238E27FC236}">
                  <a16:creationId xmlns:a16="http://schemas.microsoft.com/office/drawing/2014/main" id="{AB7778CE-C41E-A21F-AFBB-3429BA2A1AE8}"/>
                </a:ext>
              </a:extLst>
            </p:cNvPr>
            <p:cNvSpPr txBox="1">
              <a:spLocks/>
            </p:cNvSpPr>
            <p:nvPr/>
          </p:nvSpPr>
          <p:spPr>
            <a:xfrm>
              <a:off x="1541778" y="4314370"/>
              <a:ext cx="1169947" cy="272945"/>
            </a:xfrm>
            <a:prstGeom prst="rect">
              <a:avLst/>
            </a:prstGeom>
            <a:ln>
              <a:noFill/>
            </a:ln>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rPr>
                <a:t>2019</a:t>
              </a:r>
            </a:p>
          </p:txBody>
        </p:sp>
        <p:sp>
          <p:nvSpPr>
            <p:cNvPr id="43" name="Text Placeholder 1">
              <a:extLst>
                <a:ext uri="{FF2B5EF4-FFF2-40B4-BE49-F238E27FC236}">
                  <a16:creationId xmlns:a16="http://schemas.microsoft.com/office/drawing/2014/main" id="{37C63D35-999A-2309-98D8-55DAB8BFAF97}"/>
                </a:ext>
              </a:extLst>
            </p:cNvPr>
            <p:cNvSpPr txBox="1">
              <a:spLocks/>
            </p:cNvSpPr>
            <p:nvPr/>
          </p:nvSpPr>
          <p:spPr>
            <a:xfrm>
              <a:off x="3831731" y="4314370"/>
              <a:ext cx="1169947" cy="272945"/>
            </a:xfrm>
            <a:prstGeom prst="rect">
              <a:avLst/>
            </a:prstGeom>
            <a:ln>
              <a:noFill/>
            </a:ln>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rPr>
                <a:t>2025</a:t>
              </a:r>
            </a:p>
          </p:txBody>
        </p:sp>
        <p:sp>
          <p:nvSpPr>
            <p:cNvPr id="44" name="Text Placeholder 1">
              <a:extLst>
                <a:ext uri="{FF2B5EF4-FFF2-40B4-BE49-F238E27FC236}">
                  <a16:creationId xmlns:a16="http://schemas.microsoft.com/office/drawing/2014/main" id="{21850776-3680-ABF0-122C-2277795D3506}"/>
                </a:ext>
              </a:extLst>
            </p:cNvPr>
            <p:cNvSpPr txBox="1">
              <a:spLocks/>
            </p:cNvSpPr>
            <p:nvPr/>
          </p:nvSpPr>
          <p:spPr>
            <a:xfrm>
              <a:off x="6429090" y="4352821"/>
              <a:ext cx="1169947" cy="272945"/>
            </a:xfrm>
            <a:prstGeom prst="rect">
              <a:avLst/>
            </a:prstGeom>
            <a:ln>
              <a:noFill/>
            </a:ln>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noProof="0" dirty="0">
                  <a:ln>
                    <a:noFill/>
                  </a:ln>
                  <a:solidFill>
                    <a:srgbClr val="001135"/>
                  </a:solidFill>
                  <a:effectLst/>
                  <a:uLnTx/>
                  <a:uFillTx/>
                  <a:latin typeface="Nokia Pure Headline" panose="020B0504020202020204" pitchFamily="34" charset="0"/>
                  <a:ea typeface="+mn-ea"/>
                  <a:cs typeface="+mn-cs"/>
                </a:rPr>
                <a:t>2030</a:t>
              </a:r>
            </a:p>
          </p:txBody>
        </p:sp>
      </p:grpSp>
      <p:sp>
        <p:nvSpPr>
          <p:cNvPr id="7" name="TextBox 6">
            <a:extLst>
              <a:ext uri="{FF2B5EF4-FFF2-40B4-BE49-F238E27FC236}">
                <a16:creationId xmlns:a16="http://schemas.microsoft.com/office/drawing/2014/main" id="{15B29CAE-419C-C69B-FCFE-6AB0E200FDBC}"/>
              </a:ext>
            </a:extLst>
          </p:cNvPr>
          <p:cNvSpPr txBox="1"/>
          <p:nvPr/>
        </p:nvSpPr>
        <p:spPr>
          <a:xfrm>
            <a:off x="1386996" y="1874918"/>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High quality video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4K-8K)</a:t>
            </a:r>
          </a:p>
        </p:txBody>
      </p:sp>
      <p:sp>
        <p:nvSpPr>
          <p:cNvPr id="8" name="TextBox 7">
            <a:extLst>
              <a:ext uri="{FF2B5EF4-FFF2-40B4-BE49-F238E27FC236}">
                <a16:creationId xmlns:a16="http://schemas.microsoft.com/office/drawing/2014/main" id="{8805D9B9-CC84-24D4-9FA0-8D89C22DC664}"/>
              </a:ext>
            </a:extLst>
          </p:cNvPr>
          <p:cNvSpPr txBox="1"/>
          <p:nvPr/>
        </p:nvSpPr>
        <p:spPr>
          <a:xfrm>
            <a:off x="3736351" y="1844698"/>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XR - fully immersive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user experience</a:t>
            </a:r>
          </a:p>
        </p:txBody>
      </p:sp>
      <p:sp>
        <p:nvSpPr>
          <p:cNvPr id="9" name="TextBox 8">
            <a:extLst>
              <a:ext uri="{FF2B5EF4-FFF2-40B4-BE49-F238E27FC236}">
                <a16:creationId xmlns:a16="http://schemas.microsoft.com/office/drawing/2014/main" id="{E6CE8FBA-B038-3AEC-65D0-6FC58430DA7A}"/>
              </a:ext>
            </a:extLst>
          </p:cNvPr>
          <p:cNvSpPr txBox="1"/>
          <p:nvPr/>
        </p:nvSpPr>
        <p:spPr>
          <a:xfrm>
            <a:off x="6326204" y="1845601"/>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Holographic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transmissions </a:t>
            </a:r>
          </a:p>
        </p:txBody>
      </p:sp>
      <p:sp>
        <p:nvSpPr>
          <p:cNvPr id="10" name="TextBox 9">
            <a:extLst>
              <a:ext uri="{FF2B5EF4-FFF2-40B4-BE49-F238E27FC236}">
                <a16:creationId xmlns:a16="http://schemas.microsoft.com/office/drawing/2014/main" id="{43AB0C8C-B3D3-0D65-C043-954637B37522}"/>
              </a:ext>
            </a:extLst>
          </p:cNvPr>
          <p:cNvSpPr txBox="1"/>
          <p:nvPr/>
        </p:nvSpPr>
        <p:spPr>
          <a:xfrm>
            <a:off x="1385719" y="2635678"/>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Object driven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digital twinning</a:t>
            </a:r>
            <a:b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b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e.g., an engine)</a:t>
            </a:r>
          </a:p>
        </p:txBody>
      </p:sp>
      <p:sp>
        <p:nvSpPr>
          <p:cNvPr id="11" name="TextBox 10">
            <a:extLst>
              <a:ext uri="{FF2B5EF4-FFF2-40B4-BE49-F238E27FC236}">
                <a16:creationId xmlns:a16="http://schemas.microsoft.com/office/drawing/2014/main" id="{AA508007-29DB-056F-2244-1E5D3A2BC6EF}"/>
              </a:ext>
            </a:extLst>
          </p:cNvPr>
          <p:cNvSpPr txBox="1"/>
          <p:nvPr/>
        </p:nvSpPr>
        <p:spPr>
          <a:xfrm>
            <a:off x="3736351" y="2626287"/>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Large scale digital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reconstruction</a:t>
            </a:r>
            <a:b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b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e.g., a vertical farm) </a:t>
            </a:r>
          </a:p>
        </p:txBody>
      </p:sp>
      <p:sp>
        <p:nvSpPr>
          <p:cNvPr id="12" name="TextBox 11">
            <a:extLst>
              <a:ext uri="{FF2B5EF4-FFF2-40B4-BE49-F238E27FC236}">
                <a16:creationId xmlns:a16="http://schemas.microsoft.com/office/drawing/2014/main" id="{7EAC6EB3-358F-866F-B812-CF778930D9D0}"/>
              </a:ext>
            </a:extLst>
          </p:cNvPr>
          <p:cNvSpPr txBox="1"/>
          <p:nvPr/>
        </p:nvSpPr>
        <p:spPr>
          <a:xfrm>
            <a:off x="6326204" y="2627191"/>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Broad based digital twins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with  synchronous </a:t>
            </a:r>
          </a:p>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updates (e.g., smart city)</a:t>
            </a:r>
          </a:p>
        </p:txBody>
      </p:sp>
      <p:sp>
        <p:nvSpPr>
          <p:cNvPr id="13" name="TextBox 12">
            <a:extLst>
              <a:ext uri="{FF2B5EF4-FFF2-40B4-BE49-F238E27FC236}">
                <a16:creationId xmlns:a16="http://schemas.microsoft.com/office/drawing/2014/main" id="{B32003CF-F334-B03C-1AF0-662169D3E550}"/>
              </a:ext>
            </a:extLst>
          </p:cNvPr>
          <p:cNvSpPr txBox="1"/>
          <p:nvPr/>
        </p:nvSpPr>
        <p:spPr>
          <a:xfrm>
            <a:off x="1395503" y="3379084"/>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Data communication </a:t>
            </a:r>
            <a:b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b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and control</a:t>
            </a:r>
          </a:p>
        </p:txBody>
      </p:sp>
      <p:sp>
        <p:nvSpPr>
          <p:cNvPr id="14" name="TextBox 13">
            <a:extLst>
              <a:ext uri="{FF2B5EF4-FFF2-40B4-BE49-F238E27FC236}">
                <a16:creationId xmlns:a16="http://schemas.microsoft.com/office/drawing/2014/main" id="{EF69E9CC-5E41-045A-B304-605CCE0C78CE}"/>
              </a:ext>
            </a:extLst>
          </p:cNvPr>
          <p:cNvSpPr txBox="1"/>
          <p:nvPr/>
        </p:nvSpPr>
        <p:spPr>
          <a:xfrm>
            <a:off x="3736351" y="3390483"/>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Provide precise location </a:t>
            </a:r>
            <a:b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b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and timing services that complement GNSS</a:t>
            </a:r>
          </a:p>
        </p:txBody>
      </p:sp>
      <p:sp>
        <p:nvSpPr>
          <p:cNvPr id="15" name="TextBox 14">
            <a:extLst>
              <a:ext uri="{FF2B5EF4-FFF2-40B4-BE49-F238E27FC236}">
                <a16:creationId xmlns:a16="http://schemas.microsoft.com/office/drawing/2014/main" id="{44FD5D6C-652F-D34F-42C8-1DE303D18E95}"/>
              </a:ext>
            </a:extLst>
          </p:cNvPr>
          <p:cNvSpPr txBox="1"/>
          <p:nvPr/>
        </p:nvSpPr>
        <p:spPr>
          <a:xfrm>
            <a:off x="6326204" y="3391387"/>
            <a:ext cx="1872000" cy="540000"/>
          </a:xfrm>
          <a:prstGeom prst="rect">
            <a:avLst/>
          </a:prstGeom>
          <a:noFill/>
        </p:spPr>
        <p:txBody>
          <a:bodyPr wrap="square" lIns="72000" tIns="72000" rIns="72000" bIns="72000" rtlCol="0" anchor="ctr">
            <a:noAutofit/>
          </a:bodyPr>
          <a:lstStyle/>
          <a:p>
            <a:pPr marL="0" marR="0" lvl="0" indent="0" algn="l" defTabSz="457200" rtl="0" eaLnBrk="1" fontAlgn="auto" latinLnBrk="0" hangingPunct="1">
              <a:lnSpc>
                <a:spcPct val="100000"/>
              </a:lnSpc>
              <a:spcBef>
                <a:spcPts val="0"/>
              </a:spcBef>
              <a:spcAft>
                <a:spcPts val="0"/>
              </a:spcAft>
              <a:buClrTx/>
              <a:buSzPct val="100000"/>
              <a:buFontTx/>
              <a:buNone/>
              <a:tabLst/>
              <a:defRPr/>
            </a:pP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Network with a </a:t>
            </a:r>
            <a:b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br>
            <a:r>
              <a:rPr kumimoji="0" lang="en-US" sz="9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6th sense</a:t>
            </a:r>
          </a:p>
        </p:txBody>
      </p:sp>
      <p:pic>
        <p:nvPicPr>
          <p:cNvPr id="16" name="Graphic 15">
            <a:extLst>
              <a:ext uri="{FF2B5EF4-FFF2-40B4-BE49-F238E27FC236}">
                <a16:creationId xmlns:a16="http://schemas.microsoft.com/office/drawing/2014/main" id="{531ED6FC-D40C-808D-4BD8-D4541AF156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597" y="1746915"/>
            <a:ext cx="576000" cy="576000"/>
          </a:xfrm>
          <a:prstGeom prst="rect">
            <a:avLst/>
          </a:prstGeom>
        </p:spPr>
      </p:pic>
      <p:pic>
        <p:nvPicPr>
          <p:cNvPr id="18" name="Graphic 17">
            <a:extLst>
              <a:ext uri="{FF2B5EF4-FFF2-40B4-BE49-F238E27FC236}">
                <a16:creationId xmlns:a16="http://schemas.microsoft.com/office/drawing/2014/main" id="{5FD6FE97-9608-2C96-076B-808997528C2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597" y="2580129"/>
            <a:ext cx="576000" cy="576000"/>
          </a:xfrm>
          <a:prstGeom prst="rect">
            <a:avLst/>
          </a:prstGeom>
        </p:spPr>
      </p:pic>
      <p:pic>
        <p:nvPicPr>
          <p:cNvPr id="20" name="Graphic 19">
            <a:extLst>
              <a:ext uri="{FF2B5EF4-FFF2-40B4-BE49-F238E27FC236}">
                <a16:creationId xmlns:a16="http://schemas.microsoft.com/office/drawing/2014/main" id="{E5481FDA-5B11-26E3-C77E-C917D5BE86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5597" y="3367624"/>
            <a:ext cx="576000" cy="576000"/>
          </a:xfrm>
          <a:prstGeom prst="rect">
            <a:avLst/>
          </a:prstGeom>
        </p:spPr>
      </p:pic>
      <p:sp>
        <p:nvSpPr>
          <p:cNvPr id="22" name="Oval 21">
            <a:extLst>
              <a:ext uri="{FF2B5EF4-FFF2-40B4-BE49-F238E27FC236}">
                <a16:creationId xmlns:a16="http://schemas.microsoft.com/office/drawing/2014/main" id="{248D90C8-193E-F411-67C8-2886F351BE9F}"/>
              </a:ext>
            </a:extLst>
          </p:cNvPr>
          <p:cNvSpPr>
            <a:spLocks noChangeAspect="1"/>
          </p:cNvSpPr>
          <p:nvPr/>
        </p:nvSpPr>
        <p:spPr>
          <a:xfrm>
            <a:off x="3151685" y="1746915"/>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24" name="Oval 23">
            <a:extLst>
              <a:ext uri="{FF2B5EF4-FFF2-40B4-BE49-F238E27FC236}">
                <a16:creationId xmlns:a16="http://schemas.microsoft.com/office/drawing/2014/main" id="{FBFEC16A-C526-0C67-B086-61C767B46CC4}"/>
              </a:ext>
            </a:extLst>
          </p:cNvPr>
          <p:cNvSpPr>
            <a:spLocks noChangeAspect="1"/>
          </p:cNvSpPr>
          <p:nvPr/>
        </p:nvSpPr>
        <p:spPr>
          <a:xfrm>
            <a:off x="3151685" y="2580129"/>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26" name="Oval 25">
            <a:extLst>
              <a:ext uri="{FF2B5EF4-FFF2-40B4-BE49-F238E27FC236}">
                <a16:creationId xmlns:a16="http://schemas.microsoft.com/office/drawing/2014/main" id="{47CD534C-D4B8-5F04-9B34-1B48349834DB}"/>
              </a:ext>
            </a:extLst>
          </p:cNvPr>
          <p:cNvSpPr>
            <a:spLocks noChangeAspect="1"/>
          </p:cNvSpPr>
          <p:nvPr/>
        </p:nvSpPr>
        <p:spPr>
          <a:xfrm>
            <a:off x="3151685" y="3367624"/>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28" name="Oval 27">
            <a:extLst>
              <a:ext uri="{FF2B5EF4-FFF2-40B4-BE49-F238E27FC236}">
                <a16:creationId xmlns:a16="http://schemas.microsoft.com/office/drawing/2014/main" id="{1AD47EE9-3EBE-6E7E-0A06-D8437DBE7CE2}"/>
              </a:ext>
            </a:extLst>
          </p:cNvPr>
          <p:cNvSpPr>
            <a:spLocks noChangeAspect="1"/>
          </p:cNvSpPr>
          <p:nvPr/>
        </p:nvSpPr>
        <p:spPr>
          <a:xfrm>
            <a:off x="5695087" y="1746915"/>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30" name="Oval 29">
            <a:extLst>
              <a:ext uri="{FF2B5EF4-FFF2-40B4-BE49-F238E27FC236}">
                <a16:creationId xmlns:a16="http://schemas.microsoft.com/office/drawing/2014/main" id="{4C8049E2-1992-EBF0-6245-E1C6BD265FB5}"/>
              </a:ext>
            </a:extLst>
          </p:cNvPr>
          <p:cNvSpPr>
            <a:spLocks noChangeAspect="1"/>
          </p:cNvSpPr>
          <p:nvPr/>
        </p:nvSpPr>
        <p:spPr>
          <a:xfrm>
            <a:off x="5695087" y="2580129"/>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sp>
        <p:nvSpPr>
          <p:cNvPr id="32" name="Oval 31">
            <a:extLst>
              <a:ext uri="{FF2B5EF4-FFF2-40B4-BE49-F238E27FC236}">
                <a16:creationId xmlns:a16="http://schemas.microsoft.com/office/drawing/2014/main" id="{6477D98F-DAEF-6FE3-0517-36E7A616803C}"/>
              </a:ext>
            </a:extLst>
          </p:cNvPr>
          <p:cNvSpPr>
            <a:spLocks noChangeAspect="1"/>
          </p:cNvSpPr>
          <p:nvPr/>
        </p:nvSpPr>
        <p:spPr>
          <a:xfrm>
            <a:off x="5695087" y="3367624"/>
            <a:ext cx="576000" cy="576000"/>
          </a:xfrm>
          <a:prstGeom prst="ellipse">
            <a:avLst/>
          </a:prstGeom>
          <a:solidFill>
            <a:schemeClr val="bg1"/>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dirty="0">
              <a:ln>
                <a:noFill/>
              </a:ln>
              <a:solidFill>
                <a:srgbClr val="001135"/>
              </a:solidFill>
              <a:effectLst/>
              <a:uLnTx/>
              <a:uFillTx/>
              <a:latin typeface="Nokia Pure Text Light"/>
              <a:ea typeface="+mn-ea"/>
              <a:cs typeface="+mn-cs"/>
            </a:endParaRPr>
          </a:p>
        </p:txBody>
      </p:sp>
      <p:cxnSp>
        <p:nvCxnSpPr>
          <p:cNvPr id="34" name="Straight Connector 33">
            <a:extLst>
              <a:ext uri="{FF2B5EF4-FFF2-40B4-BE49-F238E27FC236}">
                <a16:creationId xmlns:a16="http://schemas.microsoft.com/office/drawing/2014/main" id="{FC33B292-EC50-9580-1A70-D8AEFF679BA3}"/>
              </a:ext>
            </a:extLst>
          </p:cNvPr>
          <p:cNvCxnSpPr>
            <a:cxnSpLocks/>
          </p:cNvCxnSpPr>
          <p:nvPr/>
        </p:nvCxnSpPr>
        <p:spPr>
          <a:xfrm>
            <a:off x="775127" y="2386968"/>
            <a:ext cx="746241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40C4EC9-D94E-0FC5-52DD-AF69F623600B}"/>
              </a:ext>
            </a:extLst>
          </p:cNvPr>
          <p:cNvCxnSpPr>
            <a:cxnSpLocks/>
          </p:cNvCxnSpPr>
          <p:nvPr/>
        </p:nvCxnSpPr>
        <p:spPr>
          <a:xfrm>
            <a:off x="754502" y="3182677"/>
            <a:ext cx="7483042" cy="3855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Text Placeholder 1">
            <a:extLst>
              <a:ext uri="{FF2B5EF4-FFF2-40B4-BE49-F238E27FC236}">
                <a16:creationId xmlns:a16="http://schemas.microsoft.com/office/drawing/2014/main" id="{2BB72F62-0700-7561-0E6E-ADB45159A70C}"/>
              </a:ext>
            </a:extLst>
          </p:cNvPr>
          <p:cNvSpPr txBox="1">
            <a:spLocks/>
          </p:cNvSpPr>
          <p:nvPr/>
        </p:nvSpPr>
        <p:spPr>
          <a:xfrm>
            <a:off x="1438805" y="1463647"/>
            <a:ext cx="370755" cy="228097"/>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5G</a:t>
            </a:r>
          </a:p>
        </p:txBody>
      </p:sp>
      <p:sp>
        <p:nvSpPr>
          <p:cNvPr id="37" name="Text Placeholder 1">
            <a:extLst>
              <a:ext uri="{FF2B5EF4-FFF2-40B4-BE49-F238E27FC236}">
                <a16:creationId xmlns:a16="http://schemas.microsoft.com/office/drawing/2014/main" id="{A5E39CEB-D50B-5705-7A94-1474BF74CB06}"/>
              </a:ext>
            </a:extLst>
          </p:cNvPr>
          <p:cNvSpPr txBox="1">
            <a:spLocks/>
          </p:cNvSpPr>
          <p:nvPr/>
        </p:nvSpPr>
        <p:spPr>
          <a:xfrm>
            <a:off x="3449364" y="1463647"/>
            <a:ext cx="1995319" cy="228097"/>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5G-Advanced </a:t>
            </a:r>
          </a:p>
        </p:txBody>
      </p:sp>
      <p:sp>
        <p:nvSpPr>
          <p:cNvPr id="38" name="Text Placeholder 1">
            <a:extLst>
              <a:ext uri="{FF2B5EF4-FFF2-40B4-BE49-F238E27FC236}">
                <a16:creationId xmlns:a16="http://schemas.microsoft.com/office/drawing/2014/main" id="{47331070-F8E1-655D-3229-FF0A08271E86}"/>
              </a:ext>
            </a:extLst>
          </p:cNvPr>
          <p:cNvSpPr txBox="1">
            <a:spLocks/>
          </p:cNvSpPr>
          <p:nvPr/>
        </p:nvSpPr>
        <p:spPr>
          <a:xfrm>
            <a:off x="6368364" y="1463647"/>
            <a:ext cx="754793" cy="228097"/>
          </a:xfrm>
          <a:prstGeom prst="rect">
            <a:avLst/>
          </a:prstGeom>
        </p:spPr>
        <p:txBody>
          <a:bodyPr lIns="0" tIns="0" rIns="0" bIns="0"/>
          <a:lstStyle>
            <a:lvl1pPr marL="0" indent="0" algn="l" defTabSz="685800" rtl="0" eaLnBrk="1" latinLnBrk="0" hangingPunct="1">
              <a:lnSpc>
                <a:spcPct val="100000"/>
              </a:lnSpc>
              <a:spcBef>
                <a:spcPts val="0"/>
              </a:spcBef>
              <a:buFont typeface="Arial" panose="020B0604020202020204" pitchFamily="34" charset="0"/>
              <a:buNone/>
              <a:defRPr sz="2400" kern="1200" baseline="0">
                <a:solidFill>
                  <a:schemeClr val="tx1"/>
                </a:solidFill>
                <a:latin typeface="Nokia Pure Headline Ultra Light" panose="020B02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srgbClr val="001135"/>
                </a:solidFill>
                <a:effectLst/>
                <a:uLnTx/>
                <a:uFillTx/>
                <a:latin typeface="Nokia Pure Text" panose="020B0503020202020204" pitchFamily="34" charset="0"/>
                <a:ea typeface="Nokia Pure Text" panose="020B0503020202020204" pitchFamily="34" charset="0"/>
                <a:cs typeface="+mn-cs"/>
              </a:rPr>
              <a:t>6G</a:t>
            </a:r>
          </a:p>
        </p:txBody>
      </p:sp>
      <p:pic>
        <p:nvPicPr>
          <p:cNvPr id="45" name="Graphic 44">
            <a:extLst>
              <a:ext uri="{FF2B5EF4-FFF2-40B4-BE49-F238E27FC236}">
                <a16:creationId xmlns:a16="http://schemas.microsoft.com/office/drawing/2014/main" id="{A83BB9D8-998E-6BA5-0009-11E41335302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21087" y="1872933"/>
            <a:ext cx="324000" cy="348215"/>
          </a:xfrm>
          <a:prstGeom prst="rect">
            <a:avLst/>
          </a:prstGeom>
        </p:spPr>
      </p:pic>
      <p:pic>
        <p:nvPicPr>
          <p:cNvPr id="47" name="Graphic 46">
            <a:extLst>
              <a:ext uri="{FF2B5EF4-FFF2-40B4-BE49-F238E27FC236}">
                <a16:creationId xmlns:a16="http://schemas.microsoft.com/office/drawing/2014/main" id="{8CC6B116-1721-270E-F788-6FA47C6BEF6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918966" y="3480993"/>
            <a:ext cx="349262" cy="349262"/>
          </a:xfrm>
          <a:prstGeom prst="rect">
            <a:avLst/>
          </a:prstGeom>
        </p:spPr>
      </p:pic>
      <p:pic>
        <p:nvPicPr>
          <p:cNvPr id="48" name="Graphic 47">
            <a:extLst>
              <a:ext uri="{FF2B5EF4-FFF2-40B4-BE49-F238E27FC236}">
                <a16:creationId xmlns:a16="http://schemas.microsoft.com/office/drawing/2014/main" id="{F67DB0D3-8C82-BBB5-68BF-BF006942CC8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3302266" y="3454292"/>
            <a:ext cx="278911" cy="368163"/>
          </a:xfrm>
          <a:prstGeom prst="rect">
            <a:avLst/>
          </a:prstGeom>
        </p:spPr>
      </p:pic>
      <p:pic>
        <p:nvPicPr>
          <p:cNvPr id="49" name="Picture 2">
            <a:extLst>
              <a:ext uri="{FF2B5EF4-FFF2-40B4-BE49-F238E27FC236}">
                <a16:creationId xmlns:a16="http://schemas.microsoft.com/office/drawing/2014/main" id="{47906E43-CA5B-599F-E7FE-094EF36EFDD9}"/>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3266385" y="2694308"/>
            <a:ext cx="345706" cy="359534"/>
          </a:xfrm>
          <a:prstGeom prst="rect">
            <a:avLst/>
          </a:prstGeom>
        </p:spPr>
      </p:pic>
      <p:pic>
        <p:nvPicPr>
          <p:cNvPr id="50" name="Picture 5">
            <a:extLst>
              <a:ext uri="{FF2B5EF4-FFF2-40B4-BE49-F238E27FC236}">
                <a16:creationId xmlns:a16="http://schemas.microsoft.com/office/drawing/2014/main" id="{4B0BE541-3A2B-58A0-04A8-A84AB8058279}"/>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911350" y="2691957"/>
            <a:ext cx="364494" cy="352344"/>
          </a:xfrm>
          <a:prstGeom prst="rect">
            <a:avLst/>
          </a:prstGeom>
        </p:spPr>
      </p:pic>
      <p:pic>
        <p:nvPicPr>
          <p:cNvPr id="52" name="Graphic 51">
            <a:extLst>
              <a:ext uri="{FF2B5EF4-FFF2-40B4-BE49-F238E27FC236}">
                <a16:creationId xmlns:a16="http://schemas.microsoft.com/office/drawing/2014/main" id="{AC889233-F356-761F-ED3D-D6F56889C7A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760400" y="2724391"/>
            <a:ext cx="470033" cy="292465"/>
          </a:xfrm>
          <a:prstGeom prst="rect">
            <a:avLst/>
          </a:prstGeom>
        </p:spPr>
      </p:pic>
      <p:grpSp>
        <p:nvGrpSpPr>
          <p:cNvPr id="54" name="Graphic 20">
            <a:extLst>
              <a:ext uri="{FF2B5EF4-FFF2-40B4-BE49-F238E27FC236}">
                <a16:creationId xmlns:a16="http://schemas.microsoft.com/office/drawing/2014/main" id="{C3E578F1-B58E-133C-41C8-927E3C0725CA}"/>
              </a:ext>
            </a:extLst>
          </p:cNvPr>
          <p:cNvGrpSpPr/>
          <p:nvPr/>
        </p:nvGrpSpPr>
        <p:grpSpPr>
          <a:xfrm>
            <a:off x="898855" y="1900200"/>
            <a:ext cx="401405" cy="269474"/>
            <a:chOff x="2895105" y="2001253"/>
            <a:chExt cx="331795" cy="222743"/>
          </a:xfrm>
          <a:noFill/>
        </p:grpSpPr>
        <p:sp>
          <p:nvSpPr>
            <p:cNvPr id="55" name="Freeform 3">
              <a:extLst>
                <a:ext uri="{FF2B5EF4-FFF2-40B4-BE49-F238E27FC236}">
                  <a16:creationId xmlns:a16="http://schemas.microsoft.com/office/drawing/2014/main" id="{40892E6B-A944-DC3F-7FEA-F9D1B00CD5F4}"/>
                </a:ext>
              </a:extLst>
            </p:cNvPr>
            <p:cNvSpPr/>
            <p:nvPr/>
          </p:nvSpPr>
          <p:spPr>
            <a:xfrm>
              <a:off x="2895105" y="2001253"/>
              <a:ext cx="331795" cy="222743"/>
            </a:xfrm>
            <a:custGeom>
              <a:avLst/>
              <a:gdLst>
                <a:gd name="connsiteX0" fmla="*/ 0 w 331795"/>
                <a:gd name="connsiteY0" fmla="*/ 0 h 222743"/>
                <a:gd name="connsiteX1" fmla="*/ 331796 w 331795"/>
                <a:gd name="connsiteY1" fmla="*/ 0 h 222743"/>
                <a:gd name="connsiteX2" fmla="*/ 331796 w 331795"/>
                <a:gd name="connsiteY2" fmla="*/ 222744 h 222743"/>
                <a:gd name="connsiteX3" fmla="*/ 0 w 331795"/>
                <a:gd name="connsiteY3" fmla="*/ 222744 h 222743"/>
              </a:gdLst>
              <a:ahLst/>
              <a:cxnLst>
                <a:cxn ang="0">
                  <a:pos x="connsiteX0" y="connsiteY0"/>
                </a:cxn>
                <a:cxn ang="0">
                  <a:pos x="connsiteX1" y="connsiteY1"/>
                </a:cxn>
                <a:cxn ang="0">
                  <a:pos x="connsiteX2" y="connsiteY2"/>
                </a:cxn>
                <a:cxn ang="0">
                  <a:pos x="connsiteX3" y="connsiteY3"/>
                </a:cxn>
              </a:cxnLst>
              <a:rect l="l" t="t" r="r" b="b"/>
              <a:pathLst>
                <a:path w="331795" h="222743">
                  <a:moveTo>
                    <a:pt x="0" y="0"/>
                  </a:moveTo>
                  <a:lnTo>
                    <a:pt x="331796" y="0"/>
                  </a:lnTo>
                  <a:lnTo>
                    <a:pt x="331796" y="222744"/>
                  </a:lnTo>
                  <a:lnTo>
                    <a:pt x="0" y="222744"/>
                  </a:lnTo>
                  <a:close/>
                </a:path>
              </a:pathLst>
            </a:custGeom>
            <a:noFill/>
            <a:ln w="1016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56" name="Freeform 26">
              <a:extLst>
                <a:ext uri="{FF2B5EF4-FFF2-40B4-BE49-F238E27FC236}">
                  <a16:creationId xmlns:a16="http://schemas.microsoft.com/office/drawing/2014/main" id="{0B9D28BC-7A73-FD61-77ED-F70FB49BBA62}"/>
                </a:ext>
              </a:extLst>
            </p:cNvPr>
            <p:cNvSpPr/>
            <p:nvPr/>
          </p:nvSpPr>
          <p:spPr>
            <a:xfrm>
              <a:off x="3026804" y="2058273"/>
              <a:ext cx="89495" cy="100618"/>
            </a:xfrm>
            <a:custGeom>
              <a:avLst/>
              <a:gdLst>
                <a:gd name="connsiteX0" fmla="*/ 103592 w 103592"/>
                <a:gd name="connsiteY0" fmla="*/ 58234 h 116467"/>
                <a:gd name="connsiteX1" fmla="*/ 0 w 103592"/>
                <a:gd name="connsiteY1" fmla="*/ 116467 h 116467"/>
                <a:gd name="connsiteX2" fmla="*/ 0 w 103592"/>
                <a:gd name="connsiteY2" fmla="*/ 0 h 116467"/>
              </a:gdLst>
              <a:ahLst/>
              <a:cxnLst>
                <a:cxn ang="0">
                  <a:pos x="connsiteX0" y="connsiteY0"/>
                </a:cxn>
                <a:cxn ang="0">
                  <a:pos x="connsiteX1" y="connsiteY1"/>
                </a:cxn>
                <a:cxn ang="0">
                  <a:pos x="connsiteX2" y="connsiteY2"/>
                </a:cxn>
              </a:cxnLst>
              <a:rect l="l" t="t" r="r" b="b"/>
              <a:pathLst>
                <a:path w="103592" h="116467">
                  <a:moveTo>
                    <a:pt x="103592" y="58234"/>
                  </a:moveTo>
                  <a:lnTo>
                    <a:pt x="0" y="116467"/>
                  </a:lnTo>
                  <a:lnTo>
                    <a:pt x="0" y="0"/>
                  </a:lnTo>
                  <a:close/>
                </a:path>
              </a:pathLst>
            </a:custGeom>
            <a:noFill/>
            <a:ln w="1016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57" name="Freeform 61">
              <a:extLst>
                <a:ext uri="{FF2B5EF4-FFF2-40B4-BE49-F238E27FC236}">
                  <a16:creationId xmlns:a16="http://schemas.microsoft.com/office/drawing/2014/main" id="{842D96F6-4F1E-033F-F66C-9958AB6A6994}"/>
                </a:ext>
              </a:extLst>
            </p:cNvPr>
            <p:cNvSpPr/>
            <p:nvPr/>
          </p:nvSpPr>
          <p:spPr>
            <a:xfrm>
              <a:off x="2910754" y="2017972"/>
              <a:ext cx="55549" cy="72064"/>
            </a:xfrm>
            <a:custGeom>
              <a:avLst/>
              <a:gdLst>
                <a:gd name="connsiteX0" fmla="*/ 0 w 55549"/>
                <a:gd name="connsiteY0" fmla="*/ 72064 h 72064"/>
                <a:gd name="connsiteX1" fmla="*/ 0 w 55549"/>
                <a:gd name="connsiteY1" fmla="*/ 0 h 72064"/>
                <a:gd name="connsiteX2" fmla="*/ 55549 w 55549"/>
                <a:gd name="connsiteY2" fmla="*/ 0 h 72064"/>
              </a:gdLst>
              <a:ahLst/>
              <a:cxnLst>
                <a:cxn ang="0">
                  <a:pos x="connsiteX0" y="connsiteY0"/>
                </a:cxn>
                <a:cxn ang="0">
                  <a:pos x="connsiteX1" y="connsiteY1"/>
                </a:cxn>
                <a:cxn ang="0">
                  <a:pos x="connsiteX2" y="connsiteY2"/>
                </a:cxn>
              </a:cxnLst>
              <a:rect l="l" t="t" r="r" b="b"/>
              <a:pathLst>
                <a:path w="55549" h="72064">
                  <a:moveTo>
                    <a:pt x="0" y="72064"/>
                  </a:moveTo>
                  <a:lnTo>
                    <a:pt x="0" y="0"/>
                  </a:lnTo>
                  <a:lnTo>
                    <a:pt x="55549" y="0"/>
                  </a:lnTo>
                </a:path>
              </a:pathLst>
            </a:custGeom>
            <a:noFill/>
            <a:ln w="1016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58" name="Freeform 63">
              <a:extLst>
                <a:ext uri="{FF2B5EF4-FFF2-40B4-BE49-F238E27FC236}">
                  <a16:creationId xmlns:a16="http://schemas.microsoft.com/office/drawing/2014/main" id="{82993B4B-55CF-431C-C951-7EE6D76FE260}"/>
                </a:ext>
              </a:extLst>
            </p:cNvPr>
            <p:cNvSpPr/>
            <p:nvPr/>
          </p:nvSpPr>
          <p:spPr>
            <a:xfrm>
              <a:off x="3135434" y="2164333"/>
              <a:ext cx="73565" cy="42219"/>
            </a:xfrm>
            <a:custGeom>
              <a:avLst/>
              <a:gdLst>
                <a:gd name="connsiteX0" fmla="*/ 0 w 73565"/>
                <a:gd name="connsiteY0" fmla="*/ 42219 h 42219"/>
                <a:gd name="connsiteX1" fmla="*/ 73566 w 73565"/>
                <a:gd name="connsiteY1" fmla="*/ 42219 h 42219"/>
                <a:gd name="connsiteX2" fmla="*/ 73566 w 73565"/>
                <a:gd name="connsiteY2" fmla="*/ 0 h 42219"/>
              </a:gdLst>
              <a:ahLst/>
              <a:cxnLst>
                <a:cxn ang="0">
                  <a:pos x="connsiteX0" y="connsiteY0"/>
                </a:cxn>
                <a:cxn ang="0">
                  <a:pos x="connsiteX1" y="connsiteY1"/>
                </a:cxn>
                <a:cxn ang="0">
                  <a:pos x="connsiteX2" y="connsiteY2"/>
                </a:cxn>
              </a:cxnLst>
              <a:rect l="l" t="t" r="r" b="b"/>
              <a:pathLst>
                <a:path w="73565" h="42219">
                  <a:moveTo>
                    <a:pt x="0" y="42219"/>
                  </a:moveTo>
                  <a:lnTo>
                    <a:pt x="73566" y="42219"/>
                  </a:lnTo>
                  <a:lnTo>
                    <a:pt x="73566" y="0"/>
                  </a:lnTo>
                </a:path>
              </a:pathLst>
            </a:custGeom>
            <a:noFill/>
            <a:ln w="1016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59" name="Freeform 64">
              <a:extLst>
                <a:ext uri="{FF2B5EF4-FFF2-40B4-BE49-F238E27FC236}">
                  <a16:creationId xmlns:a16="http://schemas.microsoft.com/office/drawing/2014/main" id="{4B052F84-4F71-436A-BAE2-15B540879FCF}"/>
                </a:ext>
              </a:extLst>
            </p:cNvPr>
            <p:cNvSpPr/>
            <p:nvPr/>
          </p:nvSpPr>
          <p:spPr>
            <a:xfrm>
              <a:off x="2980566" y="2017972"/>
              <a:ext cx="18766" cy="7279"/>
            </a:xfrm>
            <a:custGeom>
              <a:avLst/>
              <a:gdLst>
                <a:gd name="connsiteX0" fmla="*/ 18767 w 18766"/>
                <a:gd name="connsiteY0" fmla="*/ 0 h 7279"/>
                <a:gd name="connsiteX1" fmla="*/ 0 w 18766"/>
                <a:gd name="connsiteY1" fmla="*/ 0 h 7279"/>
              </a:gdLst>
              <a:ahLst/>
              <a:cxnLst>
                <a:cxn ang="0">
                  <a:pos x="connsiteX0" y="connsiteY0"/>
                </a:cxn>
                <a:cxn ang="0">
                  <a:pos x="connsiteX1" y="connsiteY1"/>
                </a:cxn>
              </a:cxnLst>
              <a:rect l="l" t="t" r="r" b="b"/>
              <a:pathLst>
                <a:path w="18766" h="7279">
                  <a:moveTo>
                    <a:pt x="18767" y="0"/>
                  </a:moveTo>
                  <a:lnTo>
                    <a:pt x="0" y="0"/>
                  </a:lnTo>
                </a:path>
              </a:pathLst>
            </a:custGeom>
            <a:ln w="1016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grpSp>
      <p:grpSp>
        <p:nvGrpSpPr>
          <p:cNvPr id="60" name="Graphic 5">
            <a:extLst>
              <a:ext uri="{FF2B5EF4-FFF2-40B4-BE49-F238E27FC236}">
                <a16:creationId xmlns:a16="http://schemas.microsoft.com/office/drawing/2014/main" id="{6069B8E9-1457-50BB-55D0-4B6E28488B7D}"/>
              </a:ext>
            </a:extLst>
          </p:cNvPr>
          <p:cNvGrpSpPr/>
          <p:nvPr/>
        </p:nvGrpSpPr>
        <p:grpSpPr>
          <a:xfrm>
            <a:off x="5793374" y="3484230"/>
            <a:ext cx="330311" cy="325504"/>
            <a:chOff x="4902907" y="3585746"/>
            <a:chExt cx="352361" cy="347148"/>
          </a:xfrm>
        </p:grpSpPr>
        <p:sp>
          <p:nvSpPr>
            <p:cNvPr id="61" name="Freeform 30">
              <a:extLst>
                <a:ext uri="{FF2B5EF4-FFF2-40B4-BE49-F238E27FC236}">
                  <a16:creationId xmlns:a16="http://schemas.microsoft.com/office/drawing/2014/main" id="{CA5655E5-2672-BA86-A8EE-75D515FEF9C0}"/>
                </a:ext>
              </a:extLst>
            </p:cNvPr>
            <p:cNvSpPr/>
            <p:nvPr/>
          </p:nvSpPr>
          <p:spPr>
            <a:xfrm>
              <a:off x="4934482" y="3658483"/>
              <a:ext cx="1962" cy="54938"/>
            </a:xfrm>
            <a:custGeom>
              <a:avLst/>
              <a:gdLst>
                <a:gd name="connsiteX0" fmla="*/ 1962 w 1962"/>
                <a:gd name="connsiteY0" fmla="*/ 0 h 54938"/>
                <a:gd name="connsiteX1" fmla="*/ 0 w 1962"/>
                <a:gd name="connsiteY1" fmla="*/ 54938 h 54938"/>
              </a:gdLst>
              <a:ahLst/>
              <a:cxnLst>
                <a:cxn ang="0">
                  <a:pos x="connsiteX0" y="connsiteY0"/>
                </a:cxn>
                <a:cxn ang="0">
                  <a:pos x="connsiteX1" y="connsiteY1"/>
                </a:cxn>
              </a:cxnLst>
              <a:rect l="l" t="t" r="r" b="b"/>
              <a:pathLst>
                <a:path w="1962" h="54938">
                  <a:moveTo>
                    <a:pt x="1962" y="0"/>
                  </a:moveTo>
                  <a:lnTo>
                    <a:pt x="0" y="54938"/>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2" name="Freeform 31">
              <a:extLst>
                <a:ext uri="{FF2B5EF4-FFF2-40B4-BE49-F238E27FC236}">
                  <a16:creationId xmlns:a16="http://schemas.microsoft.com/office/drawing/2014/main" id="{DFD4439D-1E2D-135E-A1DF-032159DC1BE4}"/>
                </a:ext>
              </a:extLst>
            </p:cNvPr>
            <p:cNvSpPr/>
            <p:nvPr/>
          </p:nvSpPr>
          <p:spPr>
            <a:xfrm>
              <a:off x="5045760" y="3713141"/>
              <a:ext cx="109316" cy="69233"/>
            </a:xfrm>
            <a:custGeom>
              <a:avLst/>
              <a:gdLst>
                <a:gd name="connsiteX0" fmla="*/ 0 w 109316"/>
                <a:gd name="connsiteY0" fmla="*/ 38401 h 69233"/>
                <a:gd name="connsiteX1" fmla="*/ 87453 w 109316"/>
                <a:gd name="connsiteY1" fmla="*/ 0 h 69233"/>
                <a:gd name="connsiteX2" fmla="*/ 109316 w 109316"/>
                <a:gd name="connsiteY2" fmla="*/ 69234 h 69233"/>
              </a:gdLst>
              <a:ahLst/>
              <a:cxnLst>
                <a:cxn ang="0">
                  <a:pos x="connsiteX0" y="connsiteY0"/>
                </a:cxn>
                <a:cxn ang="0">
                  <a:pos x="connsiteX1" y="connsiteY1"/>
                </a:cxn>
                <a:cxn ang="0">
                  <a:pos x="connsiteX2" y="connsiteY2"/>
                </a:cxn>
              </a:cxnLst>
              <a:rect l="l" t="t" r="r" b="b"/>
              <a:pathLst>
                <a:path w="109316" h="69233">
                  <a:moveTo>
                    <a:pt x="0" y="38401"/>
                  </a:moveTo>
                  <a:lnTo>
                    <a:pt x="87453" y="0"/>
                  </a:lnTo>
                  <a:lnTo>
                    <a:pt x="109316" y="69234"/>
                  </a:lnTo>
                  <a:close/>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3" name="Freeform 32">
              <a:extLst>
                <a:ext uri="{FF2B5EF4-FFF2-40B4-BE49-F238E27FC236}">
                  <a16:creationId xmlns:a16="http://schemas.microsoft.com/office/drawing/2014/main" id="{3C89DEB7-075A-E890-968D-9E22922AA9C3}"/>
                </a:ext>
              </a:extLst>
            </p:cNvPr>
            <p:cNvSpPr/>
            <p:nvPr/>
          </p:nvSpPr>
          <p:spPr>
            <a:xfrm>
              <a:off x="5133213" y="3646430"/>
              <a:ext cx="66430" cy="96702"/>
            </a:xfrm>
            <a:custGeom>
              <a:avLst/>
              <a:gdLst>
                <a:gd name="connsiteX0" fmla="*/ 0 w 66430"/>
                <a:gd name="connsiteY0" fmla="*/ 66711 h 96702"/>
                <a:gd name="connsiteX1" fmla="*/ 9250 w 66430"/>
                <a:gd name="connsiteY1" fmla="*/ 0 h 96702"/>
                <a:gd name="connsiteX2" fmla="*/ 58863 w 66430"/>
                <a:gd name="connsiteY2" fmla="*/ 47651 h 96702"/>
                <a:gd name="connsiteX3" fmla="*/ 66431 w 66430"/>
                <a:gd name="connsiteY3" fmla="*/ 96703 h 96702"/>
              </a:gdLst>
              <a:ahLst/>
              <a:cxnLst>
                <a:cxn ang="0">
                  <a:pos x="connsiteX0" y="connsiteY0"/>
                </a:cxn>
                <a:cxn ang="0">
                  <a:pos x="connsiteX1" y="connsiteY1"/>
                </a:cxn>
                <a:cxn ang="0">
                  <a:pos x="connsiteX2" y="connsiteY2"/>
                </a:cxn>
                <a:cxn ang="0">
                  <a:pos x="connsiteX3" y="connsiteY3"/>
                </a:cxn>
              </a:cxnLst>
              <a:rect l="l" t="t" r="r" b="b"/>
              <a:pathLst>
                <a:path w="66430" h="96702">
                  <a:moveTo>
                    <a:pt x="0" y="66711"/>
                  </a:moveTo>
                  <a:lnTo>
                    <a:pt x="9250" y="0"/>
                  </a:lnTo>
                  <a:lnTo>
                    <a:pt x="58863" y="47651"/>
                  </a:lnTo>
                  <a:lnTo>
                    <a:pt x="66431" y="96703"/>
                  </a:lnTo>
                  <a:close/>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4" name="Freeform 33">
              <a:extLst>
                <a:ext uri="{FF2B5EF4-FFF2-40B4-BE49-F238E27FC236}">
                  <a16:creationId xmlns:a16="http://schemas.microsoft.com/office/drawing/2014/main" id="{0BE5E7E3-348D-8DF6-34CE-BA254F3F5733}"/>
                </a:ext>
              </a:extLst>
            </p:cNvPr>
            <p:cNvSpPr/>
            <p:nvPr/>
          </p:nvSpPr>
          <p:spPr>
            <a:xfrm>
              <a:off x="4997549" y="3590650"/>
              <a:ext cx="239093" cy="153322"/>
            </a:xfrm>
            <a:custGeom>
              <a:avLst/>
              <a:gdLst>
                <a:gd name="connsiteX0" fmla="*/ 202095 w 239093"/>
                <a:gd name="connsiteY0" fmla="*/ 153323 h 153322"/>
                <a:gd name="connsiteX1" fmla="*/ 239094 w 239093"/>
                <a:gd name="connsiteY1" fmla="*/ 97544 h 153322"/>
                <a:gd name="connsiteX2" fmla="*/ 194527 w 239093"/>
                <a:gd name="connsiteY2" fmla="*/ 103430 h 153322"/>
                <a:gd name="connsiteX3" fmla="*/ 184436 w 239093"/>
                <a:gd name="connsiteY3" fmla="*/ 31393 h 153322"/>
                <a:gd name="connsiteX4" fmla="*/ 146315 w 239093"/>
                <a:gd name="connsiteY4" fmla="*/ 57181 h 153322"/>
                <a:gd name="connsiteX5" fmla="*/ 118005 w 239093"/>
                <a:gd name="connsiteY5" fmla="*/ 0 h 153322"/>
                <a:gd name="connsiteX6" fmla="*/ 84650 w 239093"/>
                <a:gd name="connsiteY6" fmla="*/ 36439 h 153322"/>
                <a:gd name="connsiteX7" fmla="*/ 13174 w 239093"/>
                <a:gd name="connsiteY7" fmla="*/ 11772 h 153322"/>
                <a:gd name="connsiteX8" fmla="*/ 44848 w 239093"/>
                <a:gd name="connsiteY8" fmla="*/ 76521 h 153322"/>
                <a:gd name="connsiteX9" fmla="*/ 0 w 239093"/>
                <a:gd name="connsiteY9" fmla="*/ 121649 h 1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093" h="153322">
                  <a:moveTo>
                    <a:pt x="202095" y="153323"/>
                  </a:moveTo>
                  <a:lnTo>
                    <a:pt x="239094" y="97544"/>
                  </a:lnTo>
                  <a:lnTo>
                    <a:pt x="194527" y="103430"/>
                  </a:lnTo>
                  <a:lnTo>
                    <a:pt x="184436" y="31393"/>
                  </a:lnTo>
                  <a:lnTo>
                    <a:pt x="146315" y="57181"/>
                  </a:lnTo>
                  <a:lnTo>
                    <a:pt x="118005" y="0"/>
                  </a:lnTo>
                  <a:lnTo>
                    <a:pt x="84650" y="36439"/>
                  </a:lnTo>
                  <a:lnTo>
                    <a:pt x="13174" y="11772"/>
                  </a:lnTo>
                  <a:lnTo>
                    <a:pt x="44848" y="76521"/>
                  </a:lnTo>
                  <a:lnTo>
                    <a:pt x="0" y="121649"/>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5" name="Freeform 34">
              <a:extLst>
                <a:ext uri="{FF2B5EF4-FFF2-40B4-BE49-F238E27FC236}">
                  <a16:creationId xmlns:a16="http://schemas.microsoft.com/office/drawing/2014/main" id="{039C32F7-AF9C-CB6E-5D46-4BCFEEAC1DA0}"/>
                </a:ext>
              </a:extLst>
            </p:cNvPr>
            <p:cNvSpPr/>
            <p:nvPr/>
          </p:nvSpPr>
          <p:spPr>
            <a:xfrm>
              <a:off x="4997549" y="3602423"/>
              <a:ext cx="13173" cy="109876"/>
            </a:xfrm>
            <a:custGeom>
              <a:avLst/>
              <a:gdLst>
                <a:gd name="connsiteX0" fmla="*/ 13174 w 13173"/>
                <a:gd name="connsiteY0" fmla="*/ 0 h 109876"/>
                <a:gd name="connsiteX1" fmla="*/ 0 w 13173"/>
                <a:gd name="connsiteY1" fmla="*/ 109877 h 109876"/>
              </a:gdLst>
              <a:ahLst/>
              <a:cxnLst>
                <a:cxn ang="0">
                  <a:pos x="connsiteX0" y="connsiteY0"/>
                </a:cxn>
                <a:cxn ang="0">
                  <a:pos x="connsiteX1" y="connsiteY1"/>
                </a:cxn>
              </a:cxnLst>
              <a:rect l="l" t="t" r="r" b="b"/>
              <a:pathLst>
                <a:path w="13173" h="109876">
                  <a:moveTo>
                    <a:pt x="13174" y="0"/>
                  </a:moveTo>
                  <a:lnTo>
                    <a:pt x="0" y="109877"/>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6" name="Freeform 35">
              <a:extLst>
                <a:ext uri="{FF2B5EF4-FFF2-40B4-BE49-F238E27FC236}">
                  <a16:creationId xmlns:a16="http://schemas.microsoft.com/office/drawing/2014/main" id="{2BA3EC5B-370E-2E97-B58A-3AA40445EAA5}"/>
                </a:ext>
              </a:extLst>
            </p:cNvPr>
            <p:cNvSpPr/>
            <p:nvPr/>
          </p:nvSpPr>
          <p:spPr>
            <a:xfrm>
              <a:off x="5015769" y="3743973"/>
              <a:ext cx="183875" cy="61665"/>
            </a:xfrm>
            <a:custGeom>
              <a:avLst/>
              <a:gdLst>
                <a:gd name="connsiteX0" fmla="*/ 183875 w 183875"/>
                <a:gd name="connsiteY0" fmla="*/ 0 h 61665"/>
                <a:gd name="connsiteX1" fmla="*/ 139308 w 183875"/>
                <a:gd name="connsiteY1" fmla="*/ 38401 h 61665"/>
                <a:gd name="connsiteX2" fmla="*/ 29992 w 183875"/>
                <a:gd name="connsiteY2" fmla="*/ 7568 h 61665"/>
                <a:gd name="connsiteX3" fmla="*/ 0 w 183875"/>
                <a:gd name="connsiteY3" fmla="*/ 61665 h 61665"/>
              </a:gdLst>
              <a:ahLst/>
              <a:cxnLst>
                <a:cxn ang="0">
                  <a:pos x="connsiteX0" y="connsiteY0"/>
                </a:cxn>
                <a:cxn ang="0">
                  <a:pos x="connsiteX1" y="connsiteY1"/>
                </a:cxn>
                <a:cxn ang="0">
                  <a:pos x="connsiteX2" y="connsiteY2"/>
                </a:cxn>
                <a:cxn ang="0">
                  <a:pos x="connsiteX3" y="connsiteY3"/>
                </a:cxn>
              </a:cxnLst>
              <a:rect l="l" t="t" r="r" b="b"/>
              <a:pathLst>
                <a:path w="183875" h="61665">
                  <a:moveTo>
                    <a:pt x="183875" y="0"/>
                  </a:moveTo>
                  <a:lnTo>
                    <a:pt x="139308" y="38401"/>
                  </a:lnTo>
                  <a:lnTo>
                    <a:pt x="29992" y="7568"/>
                  </a:lnTo>
                  <a:lnTo>
                    <a:pt x="0" y="61665"/>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67" name="Freeform 36">
              <a:extLst>
                <a:ext uri="{FF2B5EF4-FFF2-40B4-BE49-F238E27FC236}">
                  <a16:creationId xmlns:a16="http://schemas.microsoft.com/office/drawing/2014/main" id="{D517164C-E497-DE3B-C399-FEB927AC1D3E}"/>
                </a:ext>
              </a:extLst>
            </p:cNvPr>
            <p:cNvSpPr/>
            <p:nvPr/>
          </p:nvSpPr>
          <p:spPr>
            <a:xfrm>
              <a:off x="5142463" y="3646430"/>
              <a:ext cx="49612" cy="47650"/>
            </a:xfrm>
            <a:custGeom>
              <a:avLst/>
              <a:gdLst>
                <a:gd name="connsiteX0" fmla="*/ 0 w 49612"/>
                <a:gd name="connsiteY0" fmla="*/ 0 h 47650"/>
                <a:gd name="connsiteX1" fmla="*/ 49613 w 49612"/>
                <a:gd name="connsiteY1" fmla="*/ 47651 h 47650"/>
              </a:gdLst>
              <a:ahLst/>
              <a:cxnLst>
                <a:cxn ang="0">
                  <a:pos x="connsiteX0" y="connsiteY0"/>
                </a:cxn>
                <a:cxn ang="0">
                  <a:pos x="connsiteX1" y="connsiteY1"/>
                </a:cxn>
              </a:cxnLst>
              <a:rect l="l" t="t" r="r" b="b"/>
              <a:pathLst>
                <a:path w="49612" h="47650">
                  <a:moveTo>
                    <a:pt x="0" y="0"/>
                  </a:moveTo>
                  <a:lnTo>
                    <a:pt x="49613" y="47651"/>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2" name="Freeform 37">
              <a:extLst>
                <a:ext uri="{FF2B5EF4-FFF2-40B4-BE49-F238E27FC236}">
                  <a16:creationId xmlns:a16="http://schemas.microsoft.com/office/drawing/2014/main" id="{FB37ECD1-C60E-26CC-CAAB-EB0609FAF53B}"/>
                </a:ext>
              </a:extLst>
            </p:cNvPr>
            <p:cNvSpPr/>
            <p:nvPr/>
          </p:nvSpPr>
          <p:spPr>
            <a:xfrm>
              <a:off x="5042397" y="3627089"/>
              <a:ext cx="90816" cy="87172"/>
            </a:xfrm>
            <a:custGeom>
              <a:avLst/>
              <a:gdLst>
                <a:gd name="connsiteX0" fmla="*/ 0 w 90816"/>
                <a:gd name="connsiteY0" fmla="*/ 40083 h 87172"/>
                <a:gd name="connsiteX1" fmla="*/ 39802 w 90816"/>
                <a:gd name="connsiteY1" fmla="*/ 0 h 87172"/>
                <a:gd name="connsiteX2" fmla="*/ 90816 w 90816"/>
                <a:gd name="connsiteY2" fmla="*/ 87173 h 87172"/>
              </a:gdLst>
              <a:ahLst/>
              <a:cxnLst>
                <a:cxn ang="0">
                  <a:pos x="connsiteX0" y="connsiteY0"/>
                </a:cxn>
                <a:cxn ang="0">
                  <a:pos x="connsiteX1" y="connsiteY1"/>
                </a:cxn>
                <a:cxn ang="0">
                  <a:pos x="connsiteX2" y="connsiteY2"/>
                </a:cxn>
              </a:cxnLst>
              <a:rect l="l" t="t" r="r" b="b"/>
              <a:pathLst>
                <a:path w="90816" h="87172">
                  <a:moveTo>
                    <a:pt x="0" y="40083"/>
                  </a:moveTo>
                  <a:lnTo>
                    <a:pt x="39802" y="0"/>
                  </a:lnTo>
                  <a:lnTo>
                    <a:pt x="90816" y="87173"/>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3" name="Freeform 38">
              <a:extLst>
                <a:ext uri="{FF2B5EF4-FFF2-40B4-BE49-F238E27FC236}">
                  <a16:creationId xmlns:a16="http://schemas.microsoft.com/office/drawing/2014/main" id="{6E09DD09-5FE8-5D28-59A5-E3F48C8780DB}"/>
                </a:ext>
              </a:extLst>
            </p:cNvPr>
            <p:cNvSpPr/>
            <p:nvPr/>
          </p:nvSpPr>
          <p:spPr>
            <a:xfrm>
              <a:off x="5042397" y="3667172"/>
              <a:ext cx="1962" cy="82968"/>
            </a:xfrm>
            <a:custGeom>
              <a:avLst/>
              <a:gdLst>
                <a:gd name="connsiteX0" fmla="*/ 1962 w 1962"/>
                <a:gd name="connsiteY0" fmla="*/ 82968 h 82968"/>
                <a:gd name="connsiteX1" fmla="*/ 0 w 1962"/>
                <a:gd name="connsiteY1" fmla="*/ 0 h 82968"/>
              </a:gdLst>
              <a:ahLst/>
              <a:cxnLst>
                <a:cxn ang="0">
                  <a:pos x="connsiteX0" y="connsiteY0"/>
                </a:cxn>
                <a:cxn ang="0">
                  <a:pos x="connsiteX1" y="connsiteY1"/>
                </a:cxn>
              </a:cxnLst>
              <a:rect l="l" t="t" r="r" b="b"/>
              <a:pathLst>
                <a:path w="1962" h="82968">
                  <a:moveTo>
                    <a:pt x="1962" y="82968"/>
                  </a:moveTo>
                  <a:lnTo>
                    <a:pt x="0" y="0"/>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4" name="Freeform 39">
              <a:extLst>
                <a:ext uri="{FF2B5EF4-FFF2-40B4-BE49-F238E27FC236}">
                  <a16:creationId xmlns:a16="http://schemas.microsoft.com/office/drawing/2014/main" id="{6999AEAE-5ABD-7188-B088-85E07D5FD65E}"/>
                </a:ext>
              </a:extLst>
            </p:cNvPr>
            <p:cNvSpPr/>
            <p:nvPr/>
          </p:nvSpPr>
          <p:spPr>
            <a:xfrm>
              <a:off x="4926354" y="3713421"/>
              <a:ext cx="118005" cy="75680"/>
            </a:xfrm>
            <a:custGeom>
              <a:avLst/>
              <a:gdLst>
                <a:gd name="connsiteX0" fmla="*/ 0 w 118005"/>
                <a:gd name="connsiteY0" fmla="*/ 65029 h 75680"/>
                <a:gd name="connsiteX1" fmla="*/ 8689 w 118005"/>
                <a:gd name="connsiteY1" fmla="*/ 3083 h 75680"/>
                <a:gd name="connsiteX2" fmla="*/ 41764 w 118005"/>
                <a:gd name="connsiteY2" fmla="*/ 75680 h 75680"/>
                <a:gd name="connsiteX3" fmla="*/ 72317 w 118005"/>
                <a:gd name="connsiteY3" fmla="*/ 0 h 75680"/>
                <a:gd name="connsiteX4" fmla="*/ 118005 w 118005"/>
                <a:gd name="connsiteY4" fmla="*/ 36719 h 75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005" h="75680">
                  <a:moveTo>
                    <a:pt x="0" y="65029"/>
                  </a:moveTo>
                  <a:lnTo>
                    <a:pt x="8689" y="3083"/>
                  </a:lnTo>
                  <a:lnTo>
                    <a:pt x="41764" y="75680"/>
                  </a:lnTo>
                  <a:lnTo>
                    <a:pt x="72317" y="0"/>
                  </a:lnTo>
                  <a:lnTo>
                    <a:pt x="118005" y="36719"/>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5" name="Freeform 40">
              <a:extLst>
                <a:ext uri="{FF2B5EF4-FFF2-40B4-BE49-F238E27FC236}">
                  <a16:creationId xmlns:a16="http://schemas.microsoft.com/office/drawing/2014/main" id="{5535DDD8-ED52-4889-8CFE-AE74B4730006}"/>
                </a:ext>
              </a:extLst>
            </p:cNvPr>
            <p:cNvSpPr/>
            <p:nvPr/>
          </p:nvSpPr>
          <p:spPr>
            <a:xfrm>
              <a:off x="5045760" y="3713141"/>
              <a:ext cx="180231" cy="108755"/>
            </a:xfrm>
            <a:custGeom>
              <a:avLst/>
              <a:gdLst>
                <a:gd name="connsiteX0" fmla="*/ 7568 w 180231"/>
                <a:gd name="connsiteY0" fmla="*/ 108755 h 108755"/>
                <a:gd name="connsiteX1" fmla="*/ 0 w 180231"/>
                <a:gd name="connsiteY1" fmla="*/ 38401 h 108755"/>
                <a:gd name="connsiteX2" fmla="*/ 87453 w 180231"/>
                <a:gd name="connsiteY2" fmla="*/ 0 h 108755"/>
                <a:gd name="connsiteX3" fmla="*/ 109316 w 180231"/>
                <a:gd name="connsiteY3" fmla="*/ 69234 h 108755"/>
                <a:gd name="connsiteX4" fmla="*/ 180231 w 180231"/>
                <a:gd name="connsiteY4" fmla="*/ 101748 h 108755"/>
                <a:gd name="connsiteX5" fmla="*/ 153883 w 180231"/>
                <a:gd name="connsiteY5" fmla="*/ 30833 h 108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0231" h="108755">
                  <a:moveTo>
                    <a:pt x="7568" y="108755"/>
                  </a:moveTo>
                  <a:lnTo>
                    <a:pt x="0" y="38401"/>
                  </a:lnTo>
                  <a:lnTo>
                    <a:pt x="87453" y="0"/>
                  </a:lnTo>
                  <a:lnTo>
                    <a:pt x="109316" y="69234"/>
                  </a:lnTo>
                  <a:lnTo>
                    <a:pt x="180231" y="101748"/>
                  </a:lnTo>
                  <a:lnTo>
                    <a:pt x="153883" y="30833"/>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6" name="Freeform 41">
              <a:extLst>
                <a:ext uri="{FF2B5EF4-FFF2-40B4-BE49-F238E27FC236}">
                  <a16:creationId xmlns:a16="http://schemas.microsoft.com/office/drawing/2014/main" id="{23BF9930-1948-F930-9925-772990CAD722}"/>
                </a:ext>
              </a:extLst>
            </p:cNvPr>
            <p:cNvSpPr/>
            <p:nvPr/>
          </p:nvSpPr>
          <p:spPr>
            <a:xfrm>
              <a:off x="4935043" y="3713421"/>
              <a:ext cx="63627" cy="3083"/>
            </a:xfrm>
            <a:custGeom>
              <a:avLst/>
              <a:gdLst>
                <a:gd name="connsiteX0" fmla="*/ 0 w 63627"/>
                <a:gd name="connsiteY0" fmla="*/ 3083 h 3083"/>
                <a:gd name="connsiteX1" fmla="*/ 63628 w 63627"/>
                <a:gd name="connsiteY1" fmla="*/ 0 h 3083"/>
              </a:gdLst>
              <a:ahLst/>
              <a:cxnLst>
                <a:cxn ang="0">
                  <a:pos x="connsiteX0" y="connsiteY0"/>
                </a:cxn>
                <a:cxn ang="0">
                  <a:pos x="connsiteX1" y="connsiteY1"/>
                </a:cxn>
              </a:cxnLst>
              <a:rect l="l" t="t" r="r" b="b"/>
              <a:pathLst>
                <a:path w="63627" h="3083">
                  <a:moveTo>
                    <a:pt x="0" y="3083"/>
                  </a:moveTo>
                  <a:lnTo>
                    <a:pt x="63628" y="0"/>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7" name="Freeform 42">
              <a:extLst>
                <a:ext uri="{FF2B5EF4-FFF2-40B4-BE49-F238E27FC236}">
                  <a16:creationId xmlns:a16="http://schemas.microsoft.com/office/drawing/2014/main" id="{0CA4B780-879A-EF5F-CC3F-44022AAECB5C}"/>
                </a:ext>
              </a:extLst>
            </p:cNvPr>
            <p:cNvSpPr/>
            <p:nvPr/>
          </p:nvSpPr>
          <p:spPr>
            <a:xfrm>
              <a:off x="4913180" y="3700527"/>
              <a:ext cx="21863" cy="16537"/>
            </a:xfrm>
            <a:custGeom>
              <a:avLst/>
              <a:gdLst>
                <a:gd name="connsiteX0" fmla="*/ 21863 w 21863"/>
                <a:gd name="connsiteY0" fmla="*/ 16538 h 16537"/>
                <a:gd name="connsiteX1" fmla="*/ 0 w 21863"/>
                <a:gd name="connsiteY1" fmla="*/ 0 h 16537"/>
              </a:gdLst>
              <a:ahLst/>
              <a:cxnLst>
                <a:cxn ang="0">
                  <a:pos x="connsiteX0" y="connsiteY0"/>
                </a:cxn>
                <a:cxn ang="0">
                  <a:pos x="connsiteX1" y="connsiteY1"/>
                </a:cxn>
              </a:cxnLst>
              <a:rect l="l" t="t" r="r" b="b"/>
              <a:pathLst>
                <a:path w="21863" h="16537">
                  <a:moveTo>
                    <a:pt x="21863" y="16538"/>
                  </a:moveTo>
                  <a:lnTo>
                    <a:pt x="0" y="0"/>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8" name="Freeform 43">
              <a:extLst>
                <a:ext uri="{FF2B5EF4-FFF2-40B4-BE49-F238E27FC236}">
                  <a16:creationId xmlns:a16="http://schemas.microsoft.com/office/drawing/2014/main" id="{8E3FD1D9-DCC3-829D-7D92-FE943CF4F54A}"/>
                </a:ext>
              </a:extLst>
            </p:cNvPr>
            <p:cNvSpPr/>
            <p:nvPr/>
          </p:nvSpPr>
          <p:spPr>
            <a:xfrm>
              <a:off x="4936444" y="3621764"/>
              <a:ext cx="61104" cy="90536"/>
            </a:xfrm>
            <a:custGeom>
              <a:avLst/>
              <a:gdLst>
                <a:gd name="connsiteX0" fmla="*/ 34477 w 61104"/>
                <a:gd name="connsiteY0" fmla="*/ 0 h 90536"/>
                <a:gd name="connsiteX1" fmla="*/ 61105 w 61104"/>
                <a:gd name="connsiteY1" fmla="*/ 90536 h 90536"/>
                <a:gd name="connsiteX2" fmla="*/ 0 w 61104"/>
                <a:gd name="connsiteY2" fmla="*/ 36719 h 90536"/>
              </a:gdLst>
              <a:ahLst/>
              <a:cxnLst>
                <a:cxn ang="0">
                  <a:pos x="connsiteX0" y="connsiteY0"/>
                </a:cxn>
                <a:cxn ang="0">
                  <a:pos x="connsiteX1" y="connsiteY1"/>
                </a:cxn>
                <a:cxn ang="0">
                  <a:pos x="connsiteX2" y="connsiteY2"/>
                </a:cxn>
              </a:cxnLst>
              <a:rect l="l" t="t" r="r" b="b"/>
              <a:pathLst>
                <a:path w="61104" h="90536">
                  <a:moveTo>
                    <a:pt x="34477" y="0"/>
                  </a:moveTo>
                  <a:lnTo>
                    <a:pt x="61105" y="90536"/>
                  </a:lnTo>
                  <a:lnTo>
                    <a:pt x="0" y="36719"/>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39" name="Freeform 44">
              <a:extLst>
                <a:ext uri="{FF2B5EF4-FFF2-40B4-BE49-F238E27FC236}">
                  <a16:creationId xmlns:a16="http://schemas.microsoft.com/office/drawing/2014/main" id="{F2E24FC3-F990-9416-3C9C-EEC614FDF20C}"/>
                </a:ext>
              </a:extLst>
            </p:cNvPr>
            <p:cNvSpPr/>
            <p:nvPr/>
          </p:nvSpPr>
          <p:spPr>
            <a:xfrm>
              <a:off x="5097615" y="3782374"/>
              <a:ext cx="57461" cy="20181"/>
            </a:xfrm>
            <a:custGeom>
              <a:avLst/>
              <a:gdLst>
                <a:gd name="connsiteX0" fmla="*/ 57461 w 57461"/>
                <a:gd name="connsiteY0" fmla="*/ 0 h 20181"/>
                <a:gd name="connsiteX1" fmla="*/ 0 w 57461"/>
                <a:gd name="connsiteY1" fmla="*/ 20181 h 20181"/>
              </a:gdLst>
              <a:ahLst/>
              <a:cxnLst>
                <a:cxn ang="0">
                  <a:pos x="connsiteX0" y="connsiteY0"/>
                </a:cxn>
                <a:cxn ang="0">
                  <a:pos x="connsiteX1" y="connsiteY1"/>
                </a:cxn>
              </a:cxnLst>
              <a:rect l="l" t="t" r="r" b="b"/>
              <a:pathLst>
                <a:path w="57461" h="20181">
                  <a:moveTo>
                    <a:pt x="57461" y="0"/>
                  </a:moveTo>
                  <a:lnTo>
                    <a:pt x="0" y="20181"/>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0" name="Freeform 45">
              <a:extLst>
                <a:ext uri="{FF2B5EF4-FFF2-40B4-BE49-F238E27FC236}">
                  <a16:creationId xmlns:a16="http://schemas.microsoft.com/office/drawing/2014/main" id="{EF724FD7-47FD-9EA4-F081-F29F77E50780}"/>
                </a:ext>
              </a:extLst>
            </p:cNvPr>
            <p:cNvSpPr/>
            <p:nvPr/>
          </p:nvSpPr>
          <p:spPr>
            <a:xfrm>
              <a:off x="5045760" y="3751541"/>
              <a:ext cx="127815" cy="95301"/>
            </a:xfrm>
            <a:custGeom>
              <a:avLst/>
              <a:gdLst>
                <a:gd name="connsiteX0" fmla="*/ 127816 w 127815"/>
                <a:gd name="connsiteY0" fmla="*/ 95301 h 95301"/>
                <a:gd name="connsiteX1" fmla="*/ 109316 w 127815"/>
                <a:gd name="connsiteY1" fmla="*/ 30833 h 95301"/>
                <a:gd name="connsiteX2" fmla="*/ 0 w 127815"/>
                <a:gd name="connsiteY2" fmla="*/ 0 h 95301"/>
              </a:gdLst>
              <a:ahLst/>
              <a:cxnLst>
                <a:cxn ang="0">
                  <a:pos x="connsiteX0" y="connsiteY0"/>
                </a:cxn>
                <a:cxn ang="0">
                  <a:pos x="connsiteX1" y="connsiteY1"/>
                </a:cxn>
                <a:cxn ang="0">
                  <a:pos x="connsiteX2" y="connsiteY2"/>
                </a:cxn>
              </a:cxnLst>
              <a:rect l="l" t="t" r="r" b="b"/>
              <a:pathLst>
                <a:path w="127815" h="95301">
                  <a:moveTo>
                    <a:pt x="127816" y="95301"/>
                  </a:moveTo>
                  <a:lnTo>
                    <a:pt x="109316" y="30833"/>
                  </a:lnTo>
                  <a:lnTo>
                    <a:pt x="0" y="0"/>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1" name="Freeform 46">
              <a:extLst>
                <a:ext uri="{FF2B5EF4-FFF2-40B4-BE49-F238E27FC236}">
                  <a16:creationId xmlns:a16="http://schemas.microsoft.com/office/drawing/2014/main" id="{9ABF4B6B-3194-CAA8-9C73-CCAD90719414}"/>
                </a:ext>
              </a:extLst>
            </p:cNvPr>
            <p:cNvSpPr/>
            <p:nvPr/>
          </p:nvSpPr>
          <p:spPr>
            <a:xfrm>
              <a:off x="4902907" y="3585746"/>
              <a:ext cx="352361" cy="347148"/>
            </a:xfrm>
            <a:custGeom>
              <a:avLst/>
              <a:gdLst>
                <a:gd name="connsiteX0" fmla="*/ 275715 w 352361"/>
                <a:gd name="connsiteY0" fmla="*/ 343224 h 347148"/>
                <a:gd name="connsiteX1" fmla="*/ 270669 w 352361"/>
                <a:gd name="connsiteY1" fmla="*/ 261097 h 347148"/>
                <a:gd name="connsiteX2" fmla="*/ 275715 w 352361"/>
                <a:gd name="connsiteY2" fmla="*/ 263059 h 347148"/>
                <a:gd name="connsiteX3" fmla="*/ 321683 w 352361"/>
                <a:gd name="connsiteY3" fmla="*/ 238393 h 347148"/>
                <a:gd name="connsiteX4" fmla="*/ 321683 w 352361"/>
                <a:gd name="connsiteY4" fmla="*/ 238393 h 347148"/>
                <a:gd name="connsiteX5" fmla="*/ 323085 w 352361"/>
                <a:gd name="connsiteY5" fmla="*/ 229143 h 347148"/>
                <a:gd name="connsiteX6" fmla="*/ 341865 w 352361"/>
                <a:gd name="connsiteY6" fmla="*/ 183455 h 347148"/>
                <a:gd name="connsiteX7" fmla="*/ 335979 w 352361"/>
                <a:gd name="connsiteY7" fmla="*/ 173924 h 347148"/>
                <a:gd name="connsiteX8" fmla="*/ 351956 w 352361"/>
                <a:gd name="connsiteY8" fmla="*/ 150099 h 347148"/>
                <a:gd name="connsiteX9" fmla="*/ 348592 w 352361"/>
                <a:gd name="connsiteY9" fmla="*/ 142251 h 347148"/>
                <a:gd name="connsiteX10" fmla="*/ 349433 w 352361"/>
                <a:gd name="connsiteY10" fmla="*/ 140008 h 347148"/>
                <a:gd name="connsiteX11" fmla="*/ 341865 w 352361"/>
                <a:gd name="connsiteY11" fmla="*/ 122069 h 347148"/>
                <a:gd name="connsiteX12" fmla="*/ 343547 w 352361"/>
                <a:gd name="connsiteY12" fmla="*/ 115623 h 347148"/>
                <a:gd name="connsiteX13" fmla="*/ 333456 w 352361"/>
                <a:gd name="connsiteY13" fmla="*/ 102168 h 347148"/>
                <a:gd name="connsiteX14" fmla="*/ 333736 w 352361"/>
                <a:gd name="connsiteY14" fmla="*/ 97964 h 347148"/>
                <a:gd name="connsiteX15" fmla="*/ 320282 w 352361"/>
                <a:gd name="connsiteY15" fmla="*/ 75260 h 347148"/>
                <a:gd name="connsiteX16" fmla="*/ 320282 w 352361"/>
                <a:gd name="connsiteY16" fmla="*/ 75260 h 347148"/>
                <a:gd name="connsiteX17" fmla="*/ 303184 w 352361"/>
                <a:gd name="connsiteY17" fmla="*/ 53116 h 347148"/>
                <a:gd name="connsiteX18" fmla="*/ 284404 w 352361"/>
                <a:gd name="connsiteY18" fmla="*/ 35457 h 347148"/>
                <a:gd name="connsiteX19" fmla="*/ 278798 w 352361"/>
                <a:gd name="connsiteY19" fmla="*/ 36298 h 347148"/>
                <a:gd name="connsiteX20" fmla="*/ 261139 w 352361"/>
                <a:gd name="connsiteY20" fmla="*/ 18920 h 347148"/>
                <a:gd name="connsiteX21" fmla="*/ 243480 w 352361"/>
                <a:gd name="connsiteY21" fmla="*/ 10791 h 347148"/>
                <a:gd name="connsiteX22" fmla="*/ 233950 w 352361"/>
                <a:gd name="connsiteY22" fmla="*/ 6306 h 347148"/>
                <a:gd name="connsiteX23" fmla="*/ 229465 w 352361"/>
                <a:gd name="connsiteY23" fmla="*/ 7147 h 347148"/>
                <a:gd name="connsiteX24" fmla="*/ 219655 w 352361"/>
                <a:gd name="connsiteY24" fmla="*/ 2382 h 347148"/>
                <a:gd name="connsiteX25" fmla="*/ 212367 w 352361"/>
                <a:gd name="connsiteY25" fmla="*/ 4625 h 347148"/>
                <a:gd name="connsiteX26" fmla="*/ 182375 w 352361"/>
                <a:gd name="connsiteY26" fmla="*/ 3223 h 347148"/>
                <a:gd name="connsiteX27" fmla="*/ 150702 w 352361"/>
                <a:gd name="connsiteY27" fmla="*/ 7147 h 347148"/>
                <a:gd name="connsiteX28" fmla="*/ 140050 w 352361"/>
                <a:gd name="connsiteY28" fmla="*/ 6026 h 347148"/>
                <a:gd name="connsiteX29" fmla="*/ 108097 w 352361"/>
                <a:gd name="connsiteY29" fmla="*/ 16677 h 347148"/>
                <a:gd name="connsiteX30" fmla="*/ 68294 w 352361"/>
                <a:gd name="connsiteY30" fmla="*/ 36298 h 347148"/>
                <a:gd name="connsiteX31" fmla="*/ 33537 w 352361"/>
                <a:gd name="connsiteY31" fmla="*/ 72737 h 347148"/>
                <a:gd name="connsiteX32" fmla="*/ 10273 w 352361"/>
                <a:gd name="connsiteY32" fmla="*/ 114501 h 347148"/>
                <a:gd name="connsiteX33" fmla="*/ 24007 w 352361"/>
                <a:gd name="connsiteY33" fmla="*/ 192985 h 347148"/>
                <a:gd name="connsiteX34" fmla="*/ 94362 w 352361"/>
                <a:gd name="connsiteY34" fmla="*/ 188500 h 347148"/>
                <a:gd name="connsiteX35" fmla="*/ 160792 w 352361"/>
                <a:gd name="connsiteY35" fmla="*/ 235310 h 347148"/>
                <a:gd name="connsiteX36" fmla="*/ 192746 w 352361"/>
                <a:gd name="connsiteY36" fmla="*/ 218211 h 347148"/>
                <a:gd name="connsiteX37" fmla="*/ 218254 w 352361"/>
                <a:gd name="connsiteY37" fmla="*/ 239234 h 347148"/>
                <a:gd name="connsiteX38" fmla="*/ 232829 w 352361"/>
                <a:gd name="connsiteY38" fmla="*/ 256612 h 347148"/>
                <a:gd name="connsiteX39" fmla="*/ 232829 w 352361"/>
                <a:gd name="connsiteY39" fmla="*/ 256893 h 347148"/>
                <a:gd name="connsiteX40" fmla="*/ 250207 w 352361"/>
                <a:gd name="connsiteY40" fmla="*/ 347148 h 34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52361" h="347148">
                  <a:moveTo>
                    <a:pt x="275715" y="343224"/>
                  </a:moveTo>
                  <a:cubicBezTo>
                    <a:pt x="275715" y="343224"/>
                    <a:pt x="263381" y="295293"/>
                    <a:pt x="270669" y="261097"/>
                  </a:cubicBezTo>
                  <a:cubicBezTo>
                    <a:pt x="272351" y="261938"/>
                    <a:pt x="274033" y="262499"/>
                    <a:pt x="275715" y="263059"/>
                  </a:cubicBezTo>
                  <a:cubicBezTo>
                    <a:pt x="295335" y="268945"/>
                    <a:pt x="315797" y="257733"/>
                    <a:pt x="321683" y="238393"/>
                  </a:cubicBezTo>
                  <a:cubicBezTo>
                    <a:pt x="321683" y="238393"/>
                    <a:pt x="321683" y="238393"/>
                    <a:pt x="321683" y="238393"/>
                  </a:cubicBezTo>
                  <a:cubicBezTo>
                    <a:pt x="322524" y="235310"/>
                    <a:pt x="323085" y="232226"/>
                    <a:pt x="323085" y="229143"/>
                  </a:cubicBezTo>
                  <a:cubicBezTo>
                    <a:pt x="341024" y="221575"/>
                    <a:pt x="349433" y="201113"/>
                    <a:pt x="341865" y="183455"/>
                  </a:cubicBezTo>
                  <a:cubicBezTo>
                    <a:pt x="340463" y="180091"/>
                    <a:pt x="338501" y="176727"/>
                    <a:pt x="335979" y="173924"/>
                  </a:cubicBezTo>
                  <a:cubicBezTo>
                    <a:pt x="346910" y="171682"/>
                    <a:pt x="354198" y="161311"/>
                    <a:pt x="351956" y="150099"/>
                  </a:cubicBezTo>
                  <a:cubicBezTo>
                    <a:pt x="351395" y="147296"/>
                    <a:pt x="350274" y="144493"/>
                    <a:pt x="348592" y="142251"/>
                  </a:cubicBezTo>
                  <a:cubicBezTo>
                    <a:pt x="348872" y="141690"/>
                    <a:pt x="349153" y="140849"/>
                    <a:pt x="349433" y="140008"/>
                  </a:cubicBezTo>
                  <a:cubicBezTo>
                    <a:pt x="351395" y="133001"/>
                    <a:pt x="348312" y="125433"/>
                    <a:pt x="341865" y="122069"/>
                  </a:cubicBezTo>
                  <a:cubicBezTo>
                    <a:pt x="342986" y="120107"/>
                    <a:pt x="343547" y="117865"/>
                    <a:pt x="343547" y="115623"/>
                  </a:cubicBezTo>
                  <a:cubicBezTo>
                    <a:pt x="343547" y="109456"/>
                    <a:pt x="339622" y="104130"/>
                    <a:pt x="333456" y="102168"/>
                  </a:cubicBezTo>
                  <a:cubicBezTo>
                    <a:pt x="333736" y="100767"/>
                    <a:pt x="333736" y="99365"/>
                    <a:pt x="333736" y="97964"/>
                  </a:cubicBezTo>
                  <a:cubicBezTo>
                    <a:pt x="333736" y="88434"/>
                    <a:pt x="328691" y="79744"/>
                    <a:pt x="320282" y="75260"/>
                  </a:cubicBezTo>
                  <a:lnTo>
                    <a:pt x="320282" y="75260"/>
                  </a:lnTo>
                  <a:cubicBezTo>
                    <a:pt x="320282" y="64889"/>
                    <a:pt x="313274" y="55639"/>
                    <a:pt x="303184" y="53116"/>
                  </a:cubicBezTo>
                  <a:cubicBezTo>
                    <a:pt x="302623" y="43025"/>
                    <a:pt x="294495" y="35457"/>
                    <a:pt x="284404" y="35457"/>
                  </a:cubicBezTo>
                  <a:cubicBezTo>
                    <a:pt x="282442" y="35457"/>
                    <a:pt x="280480" y="35738"/>
                    <a:pt x="278798" y="36298"/>
                  </a:cubicBezTo>
                  <a:cubicBezTo>
                    <a:pt x="277957" y="26768"/>
                    <a:pt x="270389" y="19480"/>
                    <a:pt x="261139" y="18920"/>
                  </a:cubicBezTo>
                  <a:cubicBezTo>
                    <a:pt x="256654" y="13874"/>
                    <a:pt x="250207" y="11071"/>
                    <a:pt x="243480" y="10791"/>
                  </a:cubicBezTo>
                  <a:cubicBezTo>
                    <a:pt x="241238" y="7988"/>
                    <a:pt x="237594" y="6306"/>
                    <a:pt x="233950" y="6306"/>
                  </a:cubicBezTo>
                  <a:cubicBezTo>
                    <a:pt x="232268" y="6306"/>
                    <a:pt x="230867" y="6587"/>
                    <a:pt x="229465" y="7147"/>
                  </a:cubicBezTo>
                  <a:cubicBezTo>
                    <a:pt x="227223" y="4064"/>
                    <a:pt x="223579" y="2382"/>
                    <a:pt x="219655" y="2382"/>
                  </a:cubicBezTo>
                  <a:cubicBezTo>
                    <a:pt x="217132" y="2382"/>
                    <a:pt x="214610" y="3223"/>
                    <a:pt x="212367" y="4625"/>
                  </a:cubicBezTo>
                  <a:cubicBezTo>
                    <a:pt x="203398" y="-981"/>
                    <a:pt x="192186" y="-1542"/>
                    <a:pt x="182375" y="3223"/>
                  </a:cubicBezTo>
                  <a:cubicBezTo>
                    <a:pt x="172285" y="-1262"/>
                    <a:pt x="159952" y="140"/>
                    <a:pt x="150702" y="7147"/>
                  </a:cubicBezTo>
                  <a:cubicBezTo>
                    <a:pt x="147058" y="6306"/>
                    <a:pt x="143694" y="6026"/>
                    <a:pt x="140050" y="6026"/>
                  </a:cubicBezTo>
                  <a:cubicBezTo>
                    <a:pt x="128558" y="6026"/>
                    <a:pt x="117346" y="9670"/>
                    <a:pt x="108097" y="16677"/>
                  </a:cubicBezTo>
                  <a:cubicBezTo>
                    <a:pt x="92680" y="17238"/>
                    <a:pt x="78105" y="24245"/>
                    <a:pt x="68294" y="36298"/>
                  </a:cubicBezTo>
                  <a:cubicBezTo>
                    <a:pt x="51476" y="41904"/>
                    <a:pt x="38302" y="55639"/>
                    <a:pt x="33537" y="72737"/>
                  </a:cubicBezTo>
                  <a:cubicBezTo>
                    <a:pt x="19522" y="82267"/>
                    <a:pt x="11114" y="97683"/>
                    <a:pt x="10273" y="114501"/>
                  </a:cubicBezTo>
                  <a:cubicBezTo>
                    <a:pt x="-7666" y="140008"/>
                    <a:pt x="-1500" y="175046"/>
                    <a:pt x="24007" y="192985"/>
                  </a:cubicBezTo>
                  <a:cubicBezTo>
                    <a:pt x="45590" y="208121"/>
                    <a:pt x="75021" y="206439"/>
                    <a:pt x="94362" y="188500"/>
                  </a:cubicBezTo>
                  <a:cubicBezTo>
                    <a:pt x="99688" y="219893"/>
                    <a:pt x="129679" y="240916"/>
                    <a:pt x="160792" y="235310"/>
                  </a:cubicBezTo>
                  <a:cubicBezTo>
                    <a:pt x="173126" y="233067"/>
                    <a:pt x="184338" y="227181"/>
                    <a:pt x="192746" y="218211"/>
                  </a:cubicBezTo>
                  <a:cubicBezTo>
                    <a:pt x="198352" y="228022"/>
                    <a:pt x="207322" y="235590"/>
                    <a:pt x="218254" y="239234"/>
                  </a:cubicBezTo>
                  <a:cubicBezTo>
                    <a:pt x="220776" y="246802"/>
                    <a:pt x="226102" y="252968"/>
                    <a:pt x="232829" y="256612"/>
                  </a:cubicBezTo>
                  <a:lnTo>
                    <a:pt x="232829" y="256893"/>
                  </a:lnTo>
                  <a:cubicBezTo>
                    <a:pt x="232829" y="256893"/>
                    <a:pt x="251889" y="291369"/>
                    <a:pt x="250207" y="347148"/>
                  </a:cubicBezTo>
                </a:path>
              </a:pathLst>
            </a:custGeom>
            <a:noFill/>
            <a:ln w="9525"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2" name="Freeform 47">
              <a:extLst>
                <a:ext uri="{FF2B5EF4-FFF2-40B4-BE49-F238E27FC236}">
                  <a16:creationId xmlns:a16="http://schemas.microsoft.com/office/drawing/2014/main" id="{5D0722DA-F8E7-0D88-D4E1-7119A2CF6626}"/>
                </a:ext>
              </a:extLst>
            </p:cNvPr>
            <p:cNvSpPr/>
            <p:nvPr/>
          </p:nvSpPr>
          <p:spPr>
            <a:xfrm>
              <a:off x="5042397" y="3667172"/>
              <a:ext cx="90816" cy="83809"/>
            </a:xfrm>
            <a:custGeom>
              <a:avLst/>
              <a:gdLst>
                <a:gd name="connsiteX0" fmla="*/ 5045 w 90816"/>
                <a:gd name="connsiteY0" fmla="*/ 83809 h 83809"/>
                <a:gd name="connsiteX1" fmla="*/ 90816 w 90816"/>
                <a:gd name="connsiteY1" fmla="*/ 45969 h 83809"/>
                <a:gd name="connsiteX2" fmla="*/ 0 w 90816"/>
                <a:gd name="connsiteY2" fmla="*/ 0 h 83809"/>
              </a:gdLst>
              <a:ahLst/>
              <a:cxnLst>
                <a:cxn ang="0">
                  <a:pos x="connsiteX0" y="connsiteY0"/>
                </a:cxn>
                <a:cxn ang="0">
                  <a:pos x="connsiteX1" y="connsiteY1"/>
                </a:cxn>
                <a:cxn ang="0">
                  <a:pos x="connsiteX2" y="connsiteY2"/>
                </a:cxn>
              </a:cxnLst>
              <a:rect l="l" t="t" r="r" b="b"/>
              <a:pathLst>
                <a:path w="90816" h="83809">
                  <a:moveTo>
                    <a:pt x="5045" y="83809"/>
                  </a:moveTo>
                  <a:lnTo>
                    <a:pt x="90816" y="45969"/>
                  </a:lnTo>
                  <a:lnTo>
                    <a:pt x="0" y="0"/>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3" name="Freeform 48">
              <a:extLst>
                <a:ext uri="{FF2B5EF4-FFF2-40B4-BE49-F238E27FC236}">
                  <a16:creationId xmlns:a16="http://schemas.microsoft.com/office/drawing/2014/main" id="{8ECD37C6-5D5C-76A8-0DCC-C1E61DB54024}"/>
                </a:ext>
              </a:extLst>
            </p:cNvPr>
            <p:cNvSpPr/>
            <p:nvPr/>
          </p:nvSpPr>
          <p:spPr>
            <a:xfrm>
              <a:off x="5192076" y="3694080"/>
              <a:ext cx="7568" cy="49892"/>
            </a:xfrm>
            <a:custGeom>
              <a:avLst/>
              <a:gdLst>
                <a:gd name="connsiteX0" fmla="*/ 0 w 7568"/>
                <a:gd name="connsiteY0" fmla="*/ 0 h 49892"/>
                <a:gd name="connsiteX1" fmla="*/ 7568 w 7568"/>
                <a:gd name="connsiteY1" fmla="*/ 49893 h 49892"/>
              </a:gdLst>
              <a:ahLst/>
              <a:cxnLst>
                <a:cxn ang="0">
                  <a:pos x="connsiteX0" y="connsiteY0"/>
                </a:cxn>
                <a:cxn ang="0">
                  <a:pos x="connsiteX1" y="connsiteY1"/>
                </a:cxn>
              </a:cxnLst>
              <a:rect l="l" t="t" r="r" b="b"/>
              <a:pathLst>
                <a:path w="7568" h="49892">
                  <a:moveTo>
                    <a:pt x="0" y="0"/>
                  </a:moveTo>
                  <a:lnTo>
                    <a:pt x="7568" y="49893"/>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4" name="Freeform 49">
              <a:extLst>
                <a:ext uri="{FF2B5EF4-FFF2-40B4-BE49-F238E27FC236}">
                  <a16:creationId xmlns:a16="http://schemas.microsoft.com/office/drawing/2014/main" id="{6E2D753A-CB77-7AC0-ACB6-8B9AA167E2A5}"/>
                </a:ext>
              </a:extLst>
            </p:cNvPr>
            <p:cNvSpPr/>
            <p:nvPr/>
          </p:nvSpPr>
          <p:spPr>
            <a:xfrm>
              <a:off x="5133213" y="3713141"/>
              <a:ext cx="66430" cy="30832"/>
            </a:xfrm>
            <a:custGeom>
              <a:avLst/>
              <a:gdLst>
                <a:gd name="connsiteX0" fmla="*/ 0 w 66430"/>
                <a:gd name="connsiteY0" fmla="*/ 0 h 30832"/>
                <a:gd name="connsiteX1" fmla="*/ 66431 w 66430"/>
                <a:gd name="connsiteY1" fmla="*/ 30833 h 30832"/>
              </a:gdLst>
              <a:ahLst/>
              <a:cxnLst>
                <a:cxn ang="0">
                  <a:pos x="connsiteX0" y="connsiteY0"/>
                </a:cxn>
                <a:cxn ang="0">
                  <a:pos x="connsiteX1" y="connsiteY1"/>
                </a:cxn>
              </a:cxnLst>
              <a:rect l="l" t="t" r="r" b="b"/>
              <a:pathLst>
                <a:path w="66430" h="30832">
                  <a:moveTo>
                    <a:pt x="0" y="0"/>
                  </a:moveTo>
                  <a:lnTo>
                    <a:pt x="66431" y="30833"/>
                  </a:lnTo>
                </a:path>
              </a:pathLst>
            </a:custGeom>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5" name="Freeform 50">
              <a:extLst>
                <a:ext uri="{FF2B5EF4-FFF2-40B4-BE49-F238E27FC236}">
                  <a16:creationId xmlns:a16="http://schemas.microsoft.com/office/drawing/2014/main" id="{2656FE57-5F9E-462D-00AD-531754FB0E73}"/>
                </a:ext>
              </a:extLst>
            </p:cNvPr>
            <p:cNvSpPr/>
            <p:nvPr/>
          </p:nvSpPr>
          <p:spPr>
            <a:xfrm>
              <a:off x="5082199" y="3627089"/>
              <a:ext cx="60264" cy="87172"/>
            </a:xfrm>
            <a:custGeom>
              <a:avLst/>
              <a:gdLst>
                <a:gd name="connsiteX0" fmla="*/ 0 w 60264"/>
                <a:gd name="connsiteY0" fmla="*/ 0 h 87172"/>
                <a:gd name="connsiteX1" fmla="*/ 60264 w 60264"/>
                <a:gd name="connsiteY1" fmla="*/ 19341 h 87172"/>
                <a:gd name="connsiteX2" fmla="*/ 51014 w 60264"/>
                <a:gd name="connsiteY2" fmla="*/ 87173 h 87172"/>
              </a:gdLst>
              <a:ahLst/>
              <a:cxnLst>
                <a:cxn ang="0">
                  <a:pos x="connsiteX0" y="connsiteY0"/>
                </a:cxn>
                <a:cxn ang="0">
                  <a:pos x="connsiteX1" y="connsiteY1"/>
                </a:cxn>
                <a:cxn ang="0">
                  <a:pos x="connsiteX2" y="connsiteY2"/>
                </a:cxn>
              </a:cxnLst>
              <a:rect l="l" t="t" r="r" b="b"/>
              <a:pathLst>
                <a:path w="60264" h="87172">
                  <a:moveTo>
                    <a:pt x="0" y="0"/>
                  </a:moveTo>
                  <a:lnTo>
                    <a:pt x="60264" y="19341"/>
                  </a:lnTo>
                  <a:lnTo>
                    <a:pt x="51014" y="87173"/>
                  </a:lnTo>
                </a:path>
              </a:pathLst>
            </a:custGeom>
            <a:no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6" name="Freeform 51">
              <a:extLst>
                <a:ext uri="{FF2B5EF4-FFF2-40B4-BE49-F238E27FC236}">
                  <a16:creationId xmlns:a16="http://schemas.microsoft.com/office/drawing/2014/main" id="{A7131166-8A5A-69D4-EA34-0190D68F2732}"/>
                </a:ext>
              </a:extLst>
            </p:cNvPr>
            <p:cNvSpPr/>
            <p:nvPr/>
          </p:nvSpPr>
          <p:spPr>
            <a:xfrm>
              <a:off x="5073230" y="3618120"/>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7" name="Freeform 52">
              <a:extLst>
                <a:ext uri="{FF2B5EF4-FFF2-40B4-BE49-F238E27FC236}">
                  <a16:creationId xmlns:a16="http://schemas.microsoft.com/office/drawing/2014/main" id="{92ED7320-C607-F7D9-99EA-538095FF9EFC}"/>
                </a:ext>
              </a:extLst>
            </p:cNvPr>
            <p:cNvSpPr/>
            <p:nvPr/>
          </p:nvSpPr>
          <p:spPr>
            <a:xfrm>
              <a:off x="5123683" y="3703330"/>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8" name="Freeform 53">
              <a:extLst>
                <a:ext uri="{FF2B5EF4-FFF2-40B4-BE49-F238E27FC236}">
                  <a16:creationId xmlns:a16="http://schemas.microsoft.com/office/drawing/2014/main" id="{9C07CF93-0A1C-3A54-2FBF-39A6CEBFF6D7}"/>
                </a:ext>
              </a:extLst>
            </p:cNvPr>
            <p:cNvSpPr/>
            <p:nvPr/>
          </p:nvSpPr>
          <p:spPr>
            <a:xfrm>
              <a:off x="5036511" y="3742852"/>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49" name="Freeform 54">
              <a:extLst>
                <a:ext uri="{FF2B5EF4-FFF2-40B4-BE49-F238E27FC236}">
                  <a16:creationId xmlns:a16="http://schemas.microsoft.com/office/drawing/2014/main" id="{C2888287-8CBC-1F49-0CFD-598B95BAC7F5}"/>
                </a:ext>
              </a:extLst>
            </p:cNvPr>
            <p:cNvSpPr/>
            <p:nvPr/>
          </p:nvSpPr>
          <p:spPr>
            <a:xfrm>
              <a:off x="5033147" y="3658202"/>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0" name="Freeform 55">
              <a:extLst>
                <a:ext uri="{FF2B5EF4-FFF2-40B4-BE49-F238E27FC236}">
                  <a16:creationId xmlns:a16="http://schemas.microsoft.com/office/drawing/2014/main" id="{F4372691-E3ED-B0E7-5F1C-119956C66A61}"/>
                </a:ext>
              </a:extLst>
            </p:cNvPr>
            <p:cNvSpPr/>
            <p:nvPr/>
          </p:nvSpPr>
          <p:spPr>
            <a:xfrm>
              <a:off x="4988299" y="3702209"/>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1" name="Freeform 56">
              <a:extLst>
                <a:ext uri="{FF2B5EF4-FFF2-40B4-BE49-F238E27FC236}">
                  <a16:creationId xmlns:a16="http://schemas.microsoft.com/office/drawing/2014/main" id="{227E1A11-F0FA-9BF0-DBEE-C19BA2B35E3A}"/>
                </a:ext>
              </a:extLst>
            </p:cNvPr>
            <p:cNvSpPr/>
            <p:nvPr/>
          </p:nvSpPr>
          <p:spPr>
            <a:xfrm>
              <a:off x="4925793" y="3708095"/>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2" name="Freeform 57">
              <a:extLst>
                <a:ext uri="{FF2B5EF4-FFF2-40B4-BE49-F238E27FC236}">
                  <a16:creationId xmlns:a16="http://schemas.microsoft.com/office/drawing/2014/main" id="{840B2467-9C67-59E8-C418-02042A430247}"/>
                </a:ext>
              </a:extLst>
            </p:cNvPr>
            <p:cNvSpPr/>
            <p:nvPr/>
          </p:nvSpPr>
          <p:spPr>
            <a:xfrm>
              <a:off x="5133774" y="3636619"/>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3" name="Freeform 58">
              <a:extLst>
                <a:ext uri="{FF2B5EF4-FFF2-40B4-BE49-F238E27FC236}">
                  <a16:creationId xmlns:a16="http://schemas.microsoft.com/office/drawing/2014/main" id="{F265112C-F14B-DBF1-2BAE-A76D9A3039EF}"/>
                </a:ext>
              </a:extLst>
            </p:cNvPr>
            <p:cNvSpPr/>
            <p:nvPr/>
          </p:nvSpPr>
          <p:spPr>
            <a:xfrm>
              <a:off x="5183106" y="3684831"/>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4" name="Freeform 59">
              <a:extLst>
                <a:ext uri="{FF2B5EF4-FFF2-40B4-BE49-F238E27FC236}">
                  <a16:creationId xmlns:a16="http://schemas.microsoft.com/office/drawing/2014/main" id="{10927F3E-BDCD-0CDC-F9B2-FAC32D473D72}"/>
                </a:ext>
              </a:extLst>
            </p:cNvPr>
            <p:cNvSpPr/>
            <p:nvPr/>
          </p:nvSpPr>
          <p:spPr>
            <a:xfrm>
              <a:off x="5190114" y="3733602"/>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sp>
          <p:nvSpPr>
            <p:cNvPr id="155" name="Freeform 60">
              <a:extLst>
                <a:ext uri="{FF2B5EF4-FFF2-40B4-BE49-F238E27FC236}">
                  <a16:creationId xmlns:a16="http://schemas.microsoft.com/office/drawing/2014/main" id="{00412FAC-0360-7188-F4DF-123856C2C3F2}"/>
                </a:ext>
              </a:extLst>
            </p:cNvPr>
            <p:cNvSpPr/>
            <p:nvPr/>
          </p:nvSpPr>
          <p:spPr>
            <a:xfrm>
              <a:off x="5145266" y="3773685"/>
              <a:ext cx="17939" cy="17939"/>
            </a:xfrm>
            <a:custGeom>
              <a:avLst/>
              <a:gdLst>
                <a:gd name="connsiteX0" fmla="*/ 17939 w 17939"/>
                <a:gd name="connsiteY0" fmla="*/ 8970 h 17939"/>
                <a:gd name="connsiteX1" fmla="*/ 8970 w 17939"/>
                <a:gd name="connsiteY1" fmla="*/ 17939 h 17939"/>
                <a:gd name="connsiteX2" fmla="*/ 0 w 17939"/>
                <a:gd name="connsiteY2" fmla="*/ 8970 h 17939"/>
                <a:gd name="connsiteX3" fmla="*/ 8970 w 17939"/>
                <a:gd name="connsiteY3" fmla="*/ 0 h 17939"/>
                <a:gd name="connsiteX4" fmla="*/ 17939 w 17939"/>
                <a:gd name="connsiteY4" fmla="*/ 8970 h 17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39" h="17939">
                  <a:moveTo>
                    <a:pt x="17939" y="8970"/>
                  </a:moveTo>
                  <a:cubicBezTo>
                    <a:pt x="17939" y="13923"/>
                    <a:pt x="13923" y="17939"/>
                    <a:pt x="8970" y="17939"/>
                  </a:cubicBezTo>
                  <a:cubicBezTo>
                    <a:pt x="4016" y="17939"/>
                    <a:pt x="0" y="13923"/>
                    <a:pt x="0" y="8970"/>
                  </a:cubicBezTo>
                  <a:cubicBezTo>
                    <a:pt x="0" y="4016"/>
                    <a:pt x="4016" y="0"/>
                    <a:pt x="8970" y="0"/>
                  </a:cubicBezTo>
                  <a:cubicBezTo>
                    <a:pt x="13923" y="0"/>
                    <a:pt x="17939" y="4016"/>
                    <a:pt x="17939" y="8970"/>
                  </a:cubicBezTo>
                  <a:close/>
                </a:path>
              </a:pathLst>
            </a:custGeom>
            <a:solidFill>
              <a:schemeClr val="tx2"/>
            </a:solidFill>
            <a:ln w="6350" cap="flat">
              <a:solidFill>
                <a:schemeClr val="tx2"/>
              </a:solid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a:ea typeface="+mn-ea"/>
                <a:cs typeface="+mn-cs"/>
              </a:endParaRPr>
            </a:p>
          </p:txBody>
        </p:sp>
      </p:grpSp>
      <p:grpSp>
        <p:nvGrpSpPr>
          <p:cNvPr id="156" name="Group 155">
            <a:extLst>
              <a:ext uri="{FF2B5EF4-FFF2-40B4-BE49-F238E27FC236}">
                <a16:creationId xmlns:a16="http://schemas.microsoft.com/office/drawing/2014/main" id="{0A425696-AAB4-3DDE-4473-8FCBDEDF08A2}"/>
              </a:ext>
            </a:extLst>
          </p:cNvPr>
          <p:cNvGrpSpPr/>
          <p:nvPr/>
        </p:nvGrpSpPr>
        <p:grpSpPr>
          <a:xfrm>
            <a:off x="3199179" y="1942697"/>
            <a:ext cx="474556" cy="201396"/>
            <a:chOff x="23756095" y="5728089"/>
            <a:chExt cx="1382829" cy="586856"/>
          </a:xfrm>
          <a:noFill/>
        </p:grpSpPr>
        <p:sp>
          <p:nvSpPr>
            <p:cNvPr id="157" name="Freeform 8">
              <a:extLst>
                <a:ext uri="{FF2B5EF4-FFF2-40B4-BE49-F238E27FC236}">
                  <a16:creationId xmlns:a16="http://schemas.microsoft.com/office/drawing/2014/main" id="{207C0D44-E930-1F1D-B7AB-5660D57FCC9D}"/>
                </a:ext>
              </a:extLst>
            </p:cNvPr>
            <p:cNvSpPr/>
            <p:nvPr/>
          </p:nvSpPr>
          <p:spPr>
            <a:xfrm>
              <a:off x="23915488" y="5800170"/>
              <a:ext cx="1071766" cy="354843"/>
            </a:xfrm>
            <a:custGeom>
              <a:avLst/>
              <a:gdLst>
                <a:gd name="connsiteX0" fmla="*/ 75373 w 330340"/>
                <a:gd name="connsiteY0" fmla="*/ 32360 h 113871"/>
                <a:gd name="connsiteX1" fmla="*/ 48021 w 330340"/>
                <a:gd name="connsiteY1" fmla="*/ 27140 h 113871"/>
                <a:gd name="connsiteX2" fmla="*/ 42783 w 330340"/>
                <a:gd name="connsiteY2" fmla="*/ 54396 h 113871"/>
                <a:gd name="connsiteX3" fmla="*/ 70134 w 330340"/>
                <a:gd name="connsiteY3" fmla="*/ 59616 h 113871"/>
                <a:gd name="connsiteX4" fmla="*/ 70260 w 330340"/>
                <a:gd name="connsiteY4" fmla="*/ 59530 h 113871"/>
                <a:gd name="connsiteX5" fmla="*/ 75373 w 330340"/>
                <a:gd name="connsiteY5" fmla="*/ 32360 h 113871"/>
                <a:gd name="connsiteX6" fmla="*/ 329853 w 330340"/>
                <a:gd name="connsiteY6" fmla="*/ 1887 h 113871"/>
                <a:gd name="connsiteX7" fmla="*/ 324646 w 330340"/>
                <a:gd name="connsiteY7" fmla="*/ 113872 h 113871"/>
                <a:gd name="connsiteX8" fmla="*/ 4463 w 330340"/>
                <a:gd name="connsiteY8" fmla="*/ 111985 h 113871"/>
                <a:gd name="connsiteX9" fmla="*/ 4463 w 330340"/>
                <a:gd name="connsiteY9" fmla="*/ 111985 h 113871"/>
                <a:gd name="connsiteX10" fmla="*/ 4463 w 330340"/>
                <a:gd name="connsiteY10" fmla="*/ 111042 h 113871"/>
                <a:gd name="connsiteX11" fmla="*/ 960 w 330340"/>
                <a:gd name="connsiteY11" fmla="*/ 0 h 11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0340" h="113871">
                  <a:moveTo>
                    <a:pt x="75373" y="32360"/>
                  </a:moveTo>
                  <a:cubicBezTo>
                    <a:pt x="69266" y="23392"/>
                    <a:pt x="57020" y="21055"/>
                    <a:pt x="48021" y="27140"/>
                  </a:cubicBezTo>
                  <a:cubicBezTo>
                    <a:pt x="39022" y="33225"/>
                    <a:pt x="36677" y="45428"/>
                    <a:pt x="42783" y="54396"/>
                  </a:cubicBezTo>
                  <a:cubicBezTo>
                    <a:pt x="48890" y="63364"/>
                    <a:pt x="61136" y="65701"/>
                    <a:pt x="70134" y="59616"/>
                  </a:cubicBezTo>
                  <a:cubicBezTo>
                    <a:pt x="70177" y="59588"/>
                    <a:pt x="70219" y="59559"/>
                    <a:pt x="70260" y="59530"/>
                  </a:cubicBezTo>
                  <a:cubicBezTo>
                    <a:pt x="79163" y="53410"/>
                    <a:pt x="81446" y="41279"/>
                    <a:pt x="75373" y="32360"/>
                  </a:cubicBezTo>
                  <a:close/>
                  <a:moveTo>
                    <a:pt x="329853" y="1887"/>
                  </a:moveTo>
                  <a:cubicBezTo>
                    <a:pt x="332314" y="85097"/>
                    <a:pt x="324646" y="113872"/>
                    <a:pt x="324646" y="113872"/>
                  </a:cubicBezTo>
                  <a:moveTo>
                    <a:pt x="4463" y="111985"/>
                  </a:moveTo>
                  <a:lnTo>
                    <a:pt x="4463" y="111985"/>
                  </a:lnTo>
                  <a:moveTo>
                    <a:pt x="4463" y="111042"/>
                  </a:moveTo>
                  <a:cubicBezTo>
                    <a:pt x="3232" y="105004"/>
                    <a:pt x="-2164" y="73870"/>
                    <a:pt x="960" y="0"/>
                  </a:cubicBezTo>
                </a:path>
              </a:pathLst>
            </a:custGeom>
            <a:grpFill/>
            <a:ln w="10160" cap="flat">
              <a:solidFill>
                <a:schemeClr val="tx2"/>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8" name="Freeform 9">
              <a:extLst>
                <a:ext uri="{FF2B5EF4-FFF2-40B4-BE49-F238E27FC236}">
                  <a16:creationId xmlns:a16="http://schemas.microsoft.com/office/drawing/2014/main" id="{74812211-AC07-D9B0-DA02-4D7F37C2A1B7}"/>
                </a:ext>
              </a:extLst>
            </p:cNvPr>
            <p:cNvSpPr/>
            <p:nvPr/>
          </p:nvSpPr>
          <p:spPr>
            <a:xfrm>
              <a:off x="23756095" y="5728089"/>
              <a:ext cx="1382829" cy="586856"/>
            </a:xfrm>
            <a:custGeom>
              <a:avLst/>
              <a:gdLst>
                <a:gd name="connsiteX0" fmla="*/ 119382 w 426216"/>
                <a:gd name="connsiteY0" fmla="*/ 82662 h 188325"/>
                <a:gd name="connsiteX1" fmla="*/ 92053 w 426216"/>
                <a:gd name="connsiteY1" fmla="*/ 77326 h 188325"/>
                <a:gd name="connsiteX2" fmla="*/ 97407 w 426216"/>
                <a:gd name="connsiteY2" fmla="*/ 50093 h 188325"/>
                <a:gd name="connsiteX3" fmla="*/ 124736 w 426216"/>
                <a:gd name="connsiteY3" fmla="*/ 55428 h 188325"/>
                <a:gd name="connsiteX4" fmla="*/ 124779 w 426216"/>
                <a:gd name="connsiteY4" fmla="*/ 55491 h 188325"/>
                <a:gd name="connsiteX5" fmla="*/ 119382 w 426216"/>
                <a:gd name="connsiteY5" fmla="*/ 82662 h 188325"/>
                <a:gd name="connsiteX6" fmla="*/ 378975 w 426216"/>
                <a:gd name="connsiteY6" fmla="*/ 25018 h 188325"/>
                <a:gd name="connsiteX7" fmla="*/ 214718 w 426216"/>
                <a:gd name="connsiteY7" fmla="*/ 17 h 188325"/>
                <a:gd name="connsiteX8" fmla="*/ 0 w 426216"/>
                <a:gd name="connsiteY8" fmla="*/ 53321 h 188325"/>
                <a:gd name="connsiteX9" fmla="*/ 0 w 426216"/>
                <a:gd name="connsiteY9" fmla="*/ 107097 h 188325"/>
                <a:gd name="connsiteX10" fmla="*/ 53679 w 426216"/>
                <a:gd name="connsiteY10" fmla="*/ 134456 h 188325"/>
                <a:gd name="connsiteX11" fmla="*/ 53679 w 426216"/>
                <a:gd name="connsiteY11" fmla="*/ 135022 h 188325"/>
                <a:gd name="connsiteX12" fmla="*/ 173914 w 426216"/>
                <a:gd name="connsiteY12" fmla="*/ 186911 h 188325"/>
                <a:gd name="connsiteX13" fmla="*/ 192848 w 426216"/>
                <a:gd name="connsiteY13" fmla="*/ 174269 h 188325"/>
                <a:gd name="connsiteX14" fmla="*/ 231664 w 426216"/>
                <a:gd name="connsiteY14" fmla="*/ 174269 h 188325"/>
                <a:gd name="connsiteX15" fmla="*/ 251451 w 426216"/>
                <a:gd name="connsiteY15" fmla="*/ 188326 h 188325"/>
                <a:gd name="connsiteX16" fmla="*/ 258741 w 426216"/>
                <a:gd name="connsiteY16" fmla="*/ 188326 h 188325"/>
                <a:gd name="connsiteX17" fmla="*/ 373579 w 426216"/>
                <a:gd name="connsiteY17" fmla="*/ 138513 h 188325"/>
                <a:gd name="connsiteX18" fmla="*/ 373579 w 426216"/>
                <a:gd name="connsiteY18" fmla="*/ 136815 h 188325"/>
                <a:gd name="connsiteX19" fmla="*/ 426217 w 426216"/>
                <a:gd name="connsiteY19" fmla="*/ 109078 h 188325"/>
                <a:gd name="connsiteX20" fmla="*/ 426217 w 426216"/>
                <a:gd name="connsiteY20" fmla="*/ 56151 h 188325"/>
                <a:gd name="connsiteX21" fmla="*/ 378975 w 426216"/>
                <a:gd name="connsiteY21" fmla="*/ 25018 h 18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216" h="188325">
                  <a:moveTo>
                    <a:pt x="119382" y="82662"/>
                  </a:moveTo>
                  <a:cubicBezTo>
                    <a:pt x="110357" y="88709"/>
                    <a:pt x="98122" y="86320"/>
                    <a:pt x="92053" y="77326"/>
                  </a:cubicBezTo>
                  <a:cubicBezTo>
                    <a:pt x="85985" y="68333"/>
                    <a:pt x="88382" y="56140"/>
                    <a:pt x="97407" y="50093"/>
                  </a:cubicBezTo>
                  <a:cubicBezTo>
                    <a:pt x="106432" y="44045"/>
                    <a:pt x="118668" y="46434"/>
                    <a:pt x="124736" y="55428"/>
                  </a:cubicBezTo>
                  <a:cubicBezTo>
                    <a:pt x="124750" y="55449"/>
                    <a:pt x="124764" y="55470"/>
                    <a:pt x="124779" y="55491"/>
                  </a:cubicBezTo>
                  <a:cubicBezTo>
                    <a:pt x="130795" y="64483"/>
                    <a:pt x="128383" y="76631"/>
                    <a:pt x="119382" y="82662"/>
                  </a:cubicBezTo>
                  <a:close/>
                  <a:moveTo>
                    <a:pt x="378975" y="25018"/>
                  </a:moveTo>
                  <a:cubicBezTo>
                    <a:pt x="347070" y="12565"/>
                    <a:pt x="295568" y="583"/>
                    <a:pt x="214718" y="17"/>
                  </a:cubicBezTo>
                  <a:cubicBezTo>
                    <a:pt x="39763" y="-1115"/>
                    <a:pt x="0" y="53321"/>
                    <a:pt x="0" y="53321"/>
                  </a:cubicBezTo>
                  <a:lnTo>
                    <a:pt x="0" y="107097"/>
                  </a:lnTo>
                  <a:cubicBezTo>
                    <a:pt x="0" y="107097"/>
                    <a:pt x="8521" y="132663"/>
                    <a:pt x="53679" y="134456"/>
                  </a:cubicBezTo>
                  <a:cubicBezTo>
                    <a:pt x="53724" y="134642"/>
                    <a:pt x="53724" y="134836"/>
                    <a:pt x="53679" y="135022"/>
                  </a:cubicBezTo>
                  <a:cubicBezTo>
                    <a:pt x="54910" y="142286"/>
                    <a:pt x="67218" y="190024"/>
                    <a:pt x="173914" y="186911"/>
                  </a:cubicBezTo>
                  <a:cubicBezTo>
                    <a:pt x="173914" y="186911"/>
                    <a:pt x="181772" y="188797"/>
                    <a:pt x="192848" y="174269"/>
                  </a:cubicBezTo>
                  <a:cubicBezTo>
                    <a:pt x="203925" y="159740"/>
                    <a:pt x="215949" y="150400"/>
                    <a:pt x="231664" y="174269"/>
                  </a:cubicBezTo>
                  <a:cubicBezTo>
                    <a:pt x="231664" y="174269"/>
                    <a:pt x="241131" y="188043"/>
                    <a:pt x="251451" y="188326"/>
                  </a:cubicBezTo>
                  <a:lnTo>
                    <a:pt x="258741" y="188326"/>
                  </a:lnTo>
                  <a:cubicBezTo>
                    <a:pt x="354739" y="188326"/>
                    <a:pt x="371212" y="147475"/>
                    <a:pt x="373579" y="138513"/>
                  </a:cubicBezTo>
                  <a:cubicBezTo>
                    <a:pt x="373630" y="137948"/>
                    <a:pt x="373630" y="137380"/>
                    <a:pt x="373579" y="136815"/>
                  </a:cubicBezTo>
                  <a:cubicBezTo>
                    <a:pt x="416087" y="133324"/>
                    <a:pt x="426217" y="109078"/>
                    <a:pt x="426217" y="109078"/>
                  </a:cubicBezTo>
                  <a:lnTo>
                    <a:pt x="426217" y="56151"/>
                  </a:lnTo>
                  <a:cubicBezTo>
                    <a:pt x="426217" y="56151"/>
                    <a:pt x="416276" y="40302"/>
                    <a:pt x="378975" y="25018"/>
                  </a:cubicBezTo>
                  <a:close/>
                </a:path>
              </a:pathLst>
            </a:custGeom>
            <a:grpFill/>
            <a:ln w="10160" cap="flat">
              <a:solidFill>
                <a:schemeClr val="tx2"/>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24191"/>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grpSp>
      <p:sp>
        <p:nvSpPr>
          <p:cNvPr id="5" name="Footer Placeholder 1">
            <a:extLst>
              <a:ext uri="{FF2B5EF4-FFF2-40B4-BE49-F238E27FC236}">
                <a16:creationId xmlns:a16="http://schemas.microsoft.com/office/drawing/2014/main" id="{58A4FAD3-69B6-EFDF-9E01-4902F2B6569B}"/>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152087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42C34329-D211-596B-3E1E-18D1A576D26D}"/>
              </a:ext>
            </a:extLst>
          </p:cNvPr>
          <p:cNvSpPr>
            <a:spLocks noGrp="1"/>
          </p:cNvSpPr>
          <p:nvPr>
            <p:ph type="body" sz="quarter" idx="12"/>
          </p:nvPr>
        </p:nvSpPr>
        <p:spPr/>
        <p:txBody>
          <a:bodyPr/>
          <a:lstStyle/>
          <a:p>
            <a:r>
              <a:rPr lang="en-US" sz="2400">
                <a:latin typeface="+mj-lt"/>
              </a:rPr>
              <a:t>Timing is everything – “Engage”</a:t>
            </a:r>
            <a:endParaRPr lang="en-DE" sz="2400">
              <a:latin typeface="+mj-lt"/>
            </a:endParaRPr>
          </a:p>
        </p:txBody>
      </p:sp>
      <p:sp>
        <p:nvSpPr>
          <p:cNvPr id="3" name="Text Placeholder 2">
            <a:extLst>
              <a:ext uri="{FF2B5EF4-FFF2-40B4-BE49-F238E27FC236}">
                <a16:creationId xmlns:a16="http://schemas.microsoft.com/office/drawing/2014/main" id="{F0401EDA-D6B4-36BC-6831-28C8BF50372D}"/>
              </a:ext>
            </a:extLst>
          </p:cNvPr>
          <p:cNvSpPr>
            <a:spLocks noGrp="1"/>
          </p:cNvSpPr>
          <p:nvPr>
            <p:ph type="body" sz="quarter" idx="13"/>
          </p:nvPr>
        </p:nvSpPr>
        <p:spPr/>
        <p:txBody>
          <a:bodyPr/>
          <a:lstStyle/>
          <a:p>
            <a:r>
              <a:rPr lang="en-US"/>
              <a:t>Release 21 is the key focal point</a:t>
            </a:r>
            <a:endParaRPr lang="en-DE"/>
          </a:p>
        </p:txBody>
      </p:sp>
      <p:grpSp>
        <p:nvGrpSpPr>
          <p:cNvPr id="132" name="Group 131">
            <a:extLst>
              <a:ext uri="{FF2B5EF4-FFF2-40B4-BE49-F238E27FC236}">
                <a16:creationId xmlns:a16="http://schemas.microsoft.com/office/drawing/2014/main" id="{3D16C2F9-6BEA-A134-C775-603164BF96CD}"/>
              </a:ext>
            </a:extLst>
          </p:cNvPr>
          <p:cNvGrpSpPr/>
          <p:nvPr/>
        </p:nvGrpSpPr>
        <p:grpSpPr>
          <a:xfrm>
            <a:off x="1044604" y="1039383"/>
            <a:ext cx="7065951" cy="3594048"/>
            <a:chOff x="2448339" y="1129026"/>
            <a:chExt cx="7065951" cy="3594048"/>
          </a:xfrm>
        </p:grpSpPr>
        <p:cxnSp>
          <p:nvCxnSpPr>
            <p:cNvPr id="135" name="Straight Connector 134">
              <a:extLst>
                <a:ext uri="{FF2B5EF4-FFF2-40B4-BE49-F238E27FC236}">
                  <a16:creationId xmlns:a16="http://schemas.microsoft.com/office/drawing/2014/main" id="{D2EA60D8-6FC6-1A83-3D3C-243A0855F6B4}"/>
                </a:ext>
              </a:extLst>
            </p:cNvPr>
            <p:cNvCxnSpPr>
              <a:cxnSpLocks/>
            </p:cNvCxnSpPr>
            <p:nvPr/>
          </p:nvCxnSpPr>
          <p:spPr>
            <a:xfrm>
              <a:off x="4508749" y="2316802"/>
              <a:ext cx="1520" cy="1684417"/>
            </a:xfrm>
            <a:prstGeom prst="line">
              <a:avLst/>
            </a:prstGeom>
            <a:ln w="19050">
              <a:solidFill>
                <a:schemeClr val="accent1"/>
              </a:solidFill>
              <a:prstDash val="dash"/>
            </a:ln>
          </p:spPr>
          <p:style>
            <a:lnRef idx="2">
              <a:schemeClr val="dk1"/>
            </a:lnRef>
            <a:fillRef idx="0">
              <a:schemeClr val="dk1"/>
            </a:fillRef>
            <a:effectRef idx="1">
              <a:schemeClr val="dk1"/>
            </a:effectRef>
            <a:fontRef idx="minor">
              <a:schemeClr val="tx1"/>
            </a:fontRef>
          </p:style>
        </p:cxnSp>
        <p:cxnSp>
          <p:nvCxnSpPr>
            <p:cNvPr id="136" name="Straight Connector 135">
              <a:extLst>
                <a:ext uri="{FF2B5EF4-FFF2-40B4-BE49-F238E27FC236}">
                  <a16:creationId xmlns:a16="http://schemas.microsoft.com/office/drawing/2014/main" id="{5779DC59-0AFB-C926-4F83-FC2C091740B3}"/>
                </a:ext>
              </a:extLst>
            </p:cNvPr>
            <p:cNvCxnSpPr>
              <a:cxnSpLocks/>
            </p:cNvCxnSpPr>
            <p:nvPr/>
          </p:nvCxnSpPr>
          <p:spPr>
            <a:xfrm>
              <a:off x="6885975" y="2130964"/>
              <a:ext cx="2107" cy="1870256"/>
            </a:xfrm>
            <a:prstGeom prst="line">
              <a:avLst/>
            </a:prstGeom>
            <a:ln w="19050">
              <a:solidFill>
                <a:schemeClr val="accent1"/>
              </a:solidFill>
              <a:prstDash val="dash"/>
            </a:ln>
          </p:spPr>
          <p:style>
            <a:lnRef idx="2">
              <a:schemeClr val="dk1"/>
            </a:lnRef>
            <a:fillRef idx="0">
              <a:schemeClr val="dk1"/>
            </a:fillRef>
            <a:effectRef idx="1">
              <a:schemeClr val="dk1"/>
            </a:effectRef>
            <a:fontRef idx="minor">
              <a:schemeClr val="tx1"/>
            </a:fontRef>
          </p:style>
        </p:cxnSp>
        <p:grpSp>
          <p:nvGrpSpPr>
            <p:cNvPr id="137" name="Group 136">
              <a:extLst>
                <a:ext uri="{FF2B5EF4-FFF2-40B4-BE49-F238E27FC236}">
                  <a16:creationId xmlns:a16="http://schemas.microsoft.com/office/drawing/2014/main" id="{46EA65C0-11AF-2A26-8CD9-218194997F9B}"/>
                </a:ext>
              </a:extLst>
            </p:cNvPr>
            <p:cNvGrpSpPr/>
            <p:nvPr/>
          </p:nvGrpSpPr>
          <p:grpSpPr>
            <a:xfrm>
              <a:off x="3020816" y="1129026"/>
              <a:ext cx="4684786" cy="3594048"/>
              <a:chOff x="3018289" y="1355920"/>
              <a:chExt cx="4684786" cy="3272567"/>
            </a:xfrm>
          </p:grpSpPr>
          <p:cxnSp>
            <p:nvCxnSpPr>
              <p:cNvPr id="180" name="Straight Connector 179">
                <a:extLst>
                  <a:ext uri="{FF2B5EF4-FFF2-40B4-BE49-F238E27FC236}">
                    <a16:creationId xmlns:a16="http://schemas.microsoft.com/office/drawing/2014/main" id="{2BC69D7E-755E-54DE-ACE6-205874C059FC}"/>
                  </a:ext>
                </a:extLst>
              </p:cNvPr>
              <p:cNvCxnSpPr>
                <a:cxnSpLocks/>
              </p:cNvCxnSpPr>
              <p:nvPr/>
            </p:nvCxnSpPr>
            <p:spPr>
              <a:xfrm>
                <a:off x="3018289" y="135592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1" name="Straight Connector 180">
                <a:extLst>
                  <a:ext uri="{FF2B5EF4-FFF2-40B4-BE49-F238E27FC236}">
                    <a16:creationId xmlns:a16="http://schemas.microsoft.com/office/drawing/2014/main" id="{6F73BFE3-9757-9C66-5EA5-2D070B5B33D8}"/>
                  </a:ext>
                </a:extLst>
              </p:cNvPr>
              <p:cNvCxnSpPr>
                <a:cxnSpLocks/>
              </p:cNvCxnSpPr>
              <p:nvPr/>
            </p:nvCxnSpPr>
            <p:spPr>
              <a:xfrm>
                <a:off x="3687544" y="135592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2" name="Straight Connector 181">
                <a:extLst>
                  <a:ext uri="{FF2B5EF4-FFF2-40B4-BE49-F238E27FC236}">
                    <a16:creationId xmlns:a16="http://schemas.microsoft.com/office/drawing/2014/main" id="{8825E017-07B7-F4ED-9E3C-7C0D3C34092F}"/>
                  </a:ext>
                </a:extLst>
              </p:cNvPr>
              <p:cNvCxnSpPr>
                <a:cxnSpLocks/>
              </p:cNvCxnSpPr>
              <p:nvPr/>
            </p:nvCxnSpPr>
            <p:spPr>
              <a:xfrm>
                <a:off x="4356799" y="136859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3" name="Straight Connector 182">
                <a:extLst>
                  <a:ext uri="{FF2B5EF4-FFF2-40B4-BE49-F238E27FC236}">
                    <a16:creationId xmlns:a16="http://schemas.microsoft.com/office/drawing/2014/main" id="{7DC8AE55-E7E3-45CF-1828-B30284A76BAE}"/>
                  </a:ext>
                </a:extLst>
              </p:cNvPr>
              <p:cNvCxnSpPr>
                <a:cxnSpLocks/>
              </p:cNvCxnSpPr>
              <p:nvPr/>
            </p:nvCxnSpPr>
            <p:spPr>
              <a:xfrm>
                <a:off x="5026054" y="136859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5" name="Straight Connector 184">
                <a:extLst>
                  <a:ext uri="{FF2B5EF4-FFF2-40B4-BE49-F238E27FC236}">
                    <a16:creationId xmlns:a16="http://schemas.microsoft.com/office/drawing/2014/main" id="{BA9BD73D-FFB3-02F8-AE49-3E70B5E36600}"/>
                  </a:ext>
                </a:extLst>
              </p:cNvPr>
              <p:cNvCxnSpPr>
                <a:cxnSpLocks/>
              </p:cNvCxnSpPr>
              <p:nvPr/>
            </p:nvCxnSpPr>
            <p:spPr>
              <a:xfrm>
                <a:off x="6364564" y="135592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6" name="Straight Connector 185">
                <a:extLst>
                  <a:ext uri="{FF2B5EF4-FFF2-40B4-BE49-F238E27FC236}">
                    <a16:creationId xmlns:a16="http://schemas.microsoft.com/office/drawing/2014/main" id="{AD99405F-9246-EE55-C250-CBB1CFC2040D}"/>
                  </a:ext>
                </a:extLst>
              </p:cNvPr>
              <p:cNvCxnSpPr>
                <a:cxnSpLocks/>
              </p:cNvCxnSpPr>
              <p:nvPr/>
            </p:nvCxnSpPr>
            <p:spPr>
              <a:xfrm>
                <a:off x="7033820" y="135592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187" name="Straight Connector 186">
                <a:extLst>
                  <a:ext uri="{FF2B5EF4-FFF2-40B4-BE49-F238E27FC236}">
                    <a16:creationId xmlns:a16="http://schemas.microsoft.com/office/drawing/2014/main" id="{5BB8EAC4-5018-48F4-E209-83FD95F9C811}"/>
                  </a:ext>
                </a:extLst>
              </p:cNvPr>
              <p:cNvCxnSpPr>
                <a:cxnSpLocks/>
              </p:cNvCxnSpPr>
              <p:nvPr/>
            </p:nvCxnSpPr>
            <p:spPr>
              <a:xfrm>
                <a:off x="7703075" y="136859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cxnSp>
            <p:nvCxnSpPr>
              <p:cNvPr id="2" name="Straight Connector 1">
                <a:extLst>
                  <a:ext uri="{FF2B5EF4-FFF2-40B4-BE49-F238E27FC236}">
                    <a16:creationId xmlns:a16="http://schemas.microsoft.com/office/drawing/2014/main" id="{71056FE8-B9DF-45B3-9B48-1931E4A200E2}"/>
                  </a:ext>
                </a:extLst>
              </p:cNvPr>
              <p:cNvCxnSpPr>
                <a:cxnSpLocks/>
              </p:cNvCxnSpPr>
              <p:nvPr/>
            </p:nvCxnSpPr>
            <p:spPr>
              <a:xfrm>
                <a:off x="5689013" y="1355920"/>
                <a:ext cx="0" cy="3259897"/>
              </a:xfrm>
              <a:prstGeom prst="line">
                <a:avLst/>
              </a:prstGeom>
              <a:ln w="9525">
                <a:gradFill>
                  <a:gsLst>
                    <a:gs pos="48000">
                      <a:schemeClr val="accent2"/>
                    </a:gs>
                    <a:gs pos="7000">
                      <a:schemeClr val="accent1">
                        <a:lumMod val="75000"/>
                        <a:alpha val="9599"/>
                      </a:schemeClr>
                    </a:gs>
                    <a:gs pos="78000">
                      <a:schemeClr val="accent1">
                        <a:lumMod val="75000"/>
                        <a:alpha val="6000"/>
                      </a:schemeClr>
                    </a:gs>
                  </a:gsLst>
                  <a:lin ang="16200000" scaled="0"/>
                </a:gradFill>
              </a:ln>
            </p:spPr>
            <p:style>
              <a:lnRef idx="2">
                <a:schemeClr val="dk1"/>
              </a:lnRef>
              <a:fillRef idx="0">
                <a:schemeClr val="dk1"/>
              </a:fillRef>
              <a:effectRef idx="1">
                <a:schemeClr val="dk1"/>
              </a:effectRef>
              <a:fontRef idx="minor">
                <a:schemeClr val="tx1"/>
              </a:fontRef>
            </p:style>
          </p:cxnSp>
        </p:grpSp>
        <p:sp>
          <p:nvSpPr>
            <p:cNvPr id="139" name="TextBox 138">
              <a:extLst>
                <a:ext uri="{FF2B5EF4-FFF2-40B4-BE49-F238E27FC236}">
                  <a16:creationId xmlns:a16="http://schemas.microsoft.com/office/drawing/2014/main" id="{DFB6A4F8-D678-E8E7-5A8F-F7DC9657F7F0}"/>
                </a:ext>
              </a:extLst>
            </p:cNvPr>
            <p:cNvSpPr txBox="1"/>
            <p:nvPr/>
          </p:nvSpPr>
          <p:spPr>
            <a:xfrm>
              <a:off x="5659581" y="2720489"/>
              <a:ext cx="3632679" cy="446457"/>
            </a:xfrm>
            <a:prstGeom prst="rect">
              <a:avLst/>
            </a:prstGeom>
            <a:solidFill>
              <a:schemeClr val="accent3"/>
            </a:solidFill>
            <a:ln w="19050">
              <a:noFill/>
            </a:ln>
          </p:spPr>
          <p:txBody>
            <a:bodyPr wrap="square" lIns="36000" tIns="27000" rIns="36000" bIns="72000" rtlCol="0" anchor="t">
              <a:noAutofit/>
            </a:bodyPr>
            <a:lstStyle>
              <a:defPPr>
                <a:defRPr lang="en-US"/>
              </a:defPPr>
              <a:lvl1pPr algn="ctr" defTabSz="359991">
                <a:spcAft>
                  <a:spcPts val="600"/>
                </a:spcAft>
                <a:tabLst>
                  <a:tab pos="359991" algn="l"/>
                </a:tabLst>
                <a:defRPr sz="1050">
                  <a:solidFill>
                    <a:schemeClr val="bg1"/>
                  </a:solidFill>
                  <a:latin typeface="Nokia Pure Text" panose="020B0503020202020204" pitchFamily="34" charset="0"/>
                  <a:ea typeface="Nokia Pure Text" panose="020B0503020202020204" pitchFamily="34" charset="0"/>
                </a:defRPr>
              </a:lvl1pPr>
            </a:lstStyle>
            <a:p>
              <a:pPr marL="0" marR="0" lvl="0" indent="0" algn="l" defTabSz="359964" rtl="0" eaLnBrk="1" fontAlgn="auto" latinLnBrk="0" hangingPunct="1">
                <a:lnSpc>
                  <a:spcPct val="100000"/>
                </a:lnSpc>
                <a:spcBef>
                  <a:spcPts val="0"/>
                </a:spcBef>
                <a:spcAft>
                  <a:spcPts val="600"/>
                </a:spcAft>
                <a:buClrTx/>
                <a:buSzTx/>
                <a:buFontTx/>
                <a:buNone/>
                <a:tabLst>
                  <a:tab pos="359964" algn="l"/>
                </a:tabLst>
                <a:defRPr/>
              </a:pPr>
              <a:r>
                <a:rPr kumimoji="0" lang="en-GB" sz="10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      </a:t>
              </a:r>
              <a:r>
                <a:rPr kumimoji="0" lang="en-GB" sz="1350" b="0" i="0" u="none" strike="noStrike" kern="1200" cap="none" spc="0" normalizeH="0" baseline="0" noProof="0">
                  <a:ln>
                    <a:noFill/>
                  </a:ln>
                  <a:solidFill>
                    <a:srgbClr val="005AFF"/>
                  </a:solidFill>
                  <a:effectLst/>
                  <a:uLnTx/>
                  <a:uFillTx/>
                  <a:latin typeface="Nokia Pure Text" panose="020B0503020202020204" pitchFamily="34" charset="0"/>
                  <a:ea typeface="Nokia Pure Text" panose="020B0503020202020204" pitchFamily="34" charset="0"/>
                  <a:cs typeface="+mn-cs"/>
                </a:rPr>
                <a:t>6G specs</a:t>
              </a:r>
              <a:r>
                <a:rPr kumimoji="0" lang="en-GB" sz="13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           6G specs 	    6G specs </a:t>
              </a:r>
              <a:br>
                <a:rPr kumimoji="0" lang="en-GB" sz="13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br>
              <a:r>
                <a:rPr kumimoji="0" lang="en-GB" sz="13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      </a:t>
              </a:r>
              <a:r>
                <a:rPr kumimoji="0" lang="en-GB" sz="1350" b="0" i="0" u="none" strike="noStrike" kern="1200" cap="none" spc="0" normalizeH="0" baseline="0" noProof="0">
                  <a:ln>
                    <a:noFill/>
                  </a:ln>
                  <a:solidFill>
                    <a:srgbClr val="005AFF"/>
                  </a:solidFill>
                  <a:effectLst/>
                  <a:uLnTx/>
                  <a:uFillTx/>
                  <a:latin typeface="Nokia Pure Text" panose="020B0503020202020204" pitchFamily="34" charset="0"/>
                  <a:ea typeface="Nokia Pure Text" panose="020B0503020202020204" pitchFamily="34" charset="0"/>
                  <a:cs typeface="+mn-cs"/>
                </a:rPr>
                <a:t>baseline</a:t>
              </a:r>
              <a:r>
                <a:rPr kumimoji="0" lang="en-GB" sz="13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		  ph2		 ph3</a:t>
              </a:r>
              <a:endParaRPr kumimoji="0" lang="en-GB" sz="10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endParaRPr>
            </a:p>
          </p:txBody>
        </p:sp>
        <p:sp>
          <p:nvSpPr>
            <p:cNvPr id="140" name="TextBox 139">
              <a:extLst>
                <a:ext uri="{FF2B5EF4-FFF2-40B4-BE49-F238E27FC236}">
                  <a16:creationId xmlns:a16="http://schemas.microsoft.com/office/drawing/2014/main" id="{A99C6B05-E15B-9521-959F-5721C38913B2}"/>
                </a:ext>
              </a:extLst>
            </p:cNvPr>
            <p:cNvSpPr txBox="1"/>
            <p:nvPr/>
          </p:nvSpPr>
          <p:spPr>
            <a:xfrm>
              <a:off x="2710918" y="3360009"/>
              <a:ext cx="1156771" cy="253508"/>
            </a:xfrm>
            <a:prstGeom prst="rect">
              <a:avLst/>
            </a:prstGeom>
            <a:solidFill>
              <a:schemeClr val="bg1">
                <a:lumMod val="85000"/>
                <a:alpha val="40393"/>
              </a:schemeClr>
            </a:solidFill>
            <a:ln w="12700">
              <a:noFill/>
            </a:ln>
          </p:spPr>
          <p:txBody>
            <a:bodyPr wrap="square" lIns="72000" tIns="72000" rIns="72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200" b="0" i="0" u="none" strike="noStrike" kern="1200" cap="none" spc="0" normalizeH="0" baseline="0" noProof="0">
                  <a:ln>
                    <a:noFill/>
                  </a:ln>
                  <a:solidFill>
                    <a:srgbClr val="666666"/>
                  </a:solidFill>
                  <a:effectLst/>
                  <a:uLnTx/>
                  <a:uFillTx/>
                  <a:latin typeface="Nokia Pure Text" panose="020B0503020202020204" pitchFamily="34" charset="0"/>
                  <a:ea typeface="Nokia Pure Text" panose="020B0503020202020204" pitchFamily="34" charset="0"/>
                  <a:cs typeface="+mn-cs"/>
                </a:rPr>
                <a:t>Release 18</a:t>
              </a:r>
            </a:p>
          </p:txBody>
        </p:sp>
        <p:sp>
          <p:nvSpPr>
            <p:cNvPr id="141" name="TextBox 140">
              <a:extLst>
                <a:ext uri="{FF2B5EF4-FFF2-40B4-BE49-F238E27FC236}">
                  <a16:creationId xmlns:a16="http://schemas.microsoft.com/office/drawing/2014/main" id="{4928E410-0EBF-3938-C203-E9F475BD9D28}"/>
                </a:ext>
              </a:extLst>
            </p:cNvPr>
            <p:cNvSpPr txBox="1"/>
            <p:nvPr/>
          </p:nvSpPr>
          <p:spPr>
            <a:xfrm>
              <a:off x="4914784" y="3361845"/>
              <a:ext cx="737735" cy="248390"/>
            </a:xfrm>
            <a:prstGeom prst="rect">
              <a:avLst/>
            </a:prstGeom>
            <a:solidFill>
              <a:schemeClr val="bg1">
                <a:lumMod val="85000"/>
                <a:alpha val="40393"/>
              </a:schemeClr>
            </a:solidFill>
            <a:ln w="12700">
              <a:noFill/>
            </a:ln>
          </p:spPr>
          <p:txBody>
            <a:bodyPr wrap="square" lIns="72000" tIns="72000" rIns="72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200" b="0" i="0" u="none" strike="noStrike" kern="1200" cap="none" spc="0" normalizeH="0" baseline="0" noProof="0">
                  <a:ln>
                    <a:noFill/>
                  </a:ln>
                  <a:solidFill>
                    <a:srgbClr val="666666"/>
                  </a:solidFill>
                  <a:effectLst/>
                  <a:uLnTx/>
                  <a:uFillTx/>
                  <a:latin typeface="Nokia Pure Text" panose="020B0503020202020204" pitchFamily="34" charset="0"/>
                  <a:ea typeface="Nokia Pure Text" panose="020B0503020202020204" pitchFamily="34" charset="0"/>
                  <a:cs typeface="+mn-cs"/>
                </a:rPr>
                <a:t>Rel-20</a:t>
              </a:r>
            </a:p>
          </p:txBody>
        </p:sp>
        <p:sp>
          <p:nvSpPr>
            <p:cNvPr id="142" name="TextBox 141">
              <a:extLst>
                <a:ext uri="{FF2B5EF4-FFF2-40B4-BE49-F238E27FC236}">
                  <a16:creationId xmlns:a16="http://schemas.microsoft.com/office/drawing/2014/main" id="{6A92D41C-7C29-B99D-F408-24C2FCE7A27C}"/>
                </a:ext>
              </a:extLst>
            </p:cNvPr>
            <p:cNvSpPr txBox="1"/>
            <p:nvPr/>
          </p:nvSpPr>
          <p:spPr>
            <a:xfrm>
              <a:off x="5705637" y="3361844"/>
              <a:ext cx="1161000" cy="248392"/>
            </a:xfrm>
            <a:prstGeom prst="rect">
              <a:avLst/>
            </a:prstGeom>
            <a:solidFill>
              <a:schemeClr val="accent1"/>
            </a:solidFill>
            <a:ln w="12700">
              <a:noFill/>
            </a:ln>
          </p:spPr>
          <p:txBody>
            <a:bodyPr wrap="square" lIns="72000" tIns="72000" rIns="72000" bIns="72000" rtlCol="0" anchor="ctr">
              <a:noAutofit/>
            </a:bodyPr>
            <a:lstStyle>
              <a:defPPr>
                <a:defRPr lang="en-US"/>
              </a:defPPr>
              <a:lvl1pPr algn="ctr" defTabSz="359964">
                <a:spcAft>
                  <a:spcPts val="600"/>
                </a:spcAft>
                <a:tabLst>
                  <a:tab pos="359964" algn="l"/>
                </a:tabLst>
                <a:defRPr sz="1500" b="1">
                  <a:solidFill>
                    <a:schemeClr val="bg1"/>
                  </a:solidFill>
                  <a:latin typeface="Nokia Pure Text" panose="020B0503020202020204" pitchFamily="34" charset="0"/>
                  <a:ea typeface="Nokia Pure Text" panose="020B0503020202020204" pitchFamily="34" charset="0"/>
                </a:defRPr>
              </a:lvl1p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500" b="1"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Release 21</a:t>
              </a:r>
            </a:p>
          </p:txBody>
        </p:sp>
        <p:sp>
          <p:nvSpPr>
            <p:cNvPr id="143" name="TextBox 142">
              <a:extLst>
                <a:ext uri="{FF2B5EF4-FFF2-40B4-BE49-F238E27FC236}">
                  <a16:creationId xmlns:a16="http://schemas.microsoft.com/office/drawing/2014/main" id="{71090CF0-FBF1-D8F6-C3D0-73DC272291F3}"/>
                </a:ext>
              </a:extLst>
            </p:cNvPr>
            <p:cNvSpPr txBox="1"/>
            <p:nvPr/>
          </p:nvSpPr>
          <p:spPr>
            <a:xfrm>
              <a:off x="6916370" y="3361844"/>
              <a:ext cx="972000" cy="248392"/>
            </a:xfrm>
            <a:prstGeom prst="rect">
              <a:avLst/>
            </a:prstGeom>
            <a:solidFill>
              <a:schemeClr val="bg1">
                <a:lumMod val="85000"/>
                <a:alpha val="40393"/>
              </a:schemeClr>
            </a:solidFill>
            <a:ln w="12700">
              <a:noFill/>
            </a:ln>
          </p:spPr>
          <p:txBody>
            <a:bodyPr wrap="square" lIns="72000" tIns="72000" rIns="72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200" b="0" i="0" u="none" strike="noStrike" kern="1200" cap="none" spc="0" normalizeH="0" baseline="0" noProof="0">
                  <a:ln>
                    <a:noFill/>
                  </a:ln>
                  <a:solidFill>
                    <a:srgbClr val="666666"/>
                  </a:solidFill>
                  <a:effectLst/>
                  <a:uLnTx/>
                  <a:uFillTx/>
                  <a:latin typeface="Nokia Pure Text" panose="020B0503020202020204" pitchFamily="34" charset="0"/>
                  <a:ea typeface="Nokia Pure Text" panose="020B0503020202020204" pitchFamily="34" charset="0"/>
                  <a:cs typeface="+mn-cs"/>
                </a:rPr>
                <a:t>Release 22</a:t>
              </a:r>
            </a:p>
          </p:txBody>
        </p:sp>
        <p:sp>
          <p:nvSpPr>
            <p:cNvPr id="144" name="TextBox 143">
              <a:extLst>
                <a:ext uri="{FF2B5EF4-FFF2-40B4-BE49-F238E27FC236}">
                  <a16:creationId xmlns:a16="http://schemas.microsoft.com/office/drawing/2014/main" id="{6E3B0247-AE0B-2717-7F3A-D077E4456988}"/>
                </a:ext>
              </a:extLst>
            </p:cNvPr>
            <p:cNvSpPr txBox="1"/>
            <p:nvPr/>
          </p:nvSpPr>
          <p:spPr>
            <a:xfrm>
              <a:off x="2448339"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2</a:t>
              </a:r>
            </a:p>
          </p:txBody>
        </p:sp>
        <p:sp>
          <p:nvSpPr>
            <p:cNvPr id="145" name="TextBox 144">
              <a:extLst>
                <a:ext uri="{FF2B5EF4-FFF2-40B4-BE49-F238E27FC236}">
                  <a16:creationId xmlns:a16="http://schemas.microsoft.com/office/drawing/2014/main" id="{76AEBAC2-7ED4-AEF1-C204-A18D26145C1D}"/>
                </a:ext>
              </a:extLst>
            </p:cNvPr>
            <p:cNvSpPr txBox="1"/>
            <p:nvPr/>
          </p:nvSpPr>
          <p:spPr>
            <a:xfrm>
              <a:off x="3112045"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3</a:t>
              </a:r>
            </a:p>
          </p:txBody>
        </p:sp>
        <p:sp>
          <p:nvSpPr>
            <p:cNvPr id="146" name="TextBox 145">
              <a:extLst>
                <a:ext uri="{FF2B5EF4-FFF2-40B4-BE49-F238E27FC236}">
                  <a16:creationId xmlns:a16="http://schemas.microsoft.com/office/drawing/2014/main" id="{CE8052F4-38F8-7BFB-46C3-98ADAB77E76D}"/>
                </a:ext>
              </a:extLst>
            </p:cNvPr>
            <p:cNvSpPr txBox="1"/>
            <p:nvPr/>
          </p:nvSpPr>
          <p:spPr>
            <a:xfrm>
              <a:off x="3775751"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4</a:t>
              </a:r>
            </a:p>
          </p:txBody>
        </p:sp>
        <p:sp>
          <p:nvSpPr>
            <p:cNvPr id="147" name="TextBox 146">
              <a:extLst>
                <a:ext uri="{FF2B5EF4-FFF2-40B4-BE49-F238E27FC236}">
                  <a16:creationId xmlns:a16="http://schemas.microsoft.com/office/drawing/2014/main" id="{793D88EE-F755-826F-3175-C7F0B25B5843}"/>
                </a:ext>
              </a:extLst>
            </p:cNvPr>
            <p:cNvSpPr txBox="1"/>
            <p:nvPr/>
          </p:nvSpPr>
          <p:spPr>
            <a:xfrm>
              <a:off x="5103163"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6</a:t>
              </a:r>
            </a:p>
          </p:txBody>
        </p:sp>
        <p:sp>
          <p:nvSpPr>
            <p:cNvPr id="148" name="TextBox 147">
              <a:extLst>
                <a:ext uri="{FF2B5EF4-FFF2-40B4-BE49-F238E27FC236}">
                  <a16:creationId xmlns:a16="http://schemas.microsoft.com/office/drawing/2014/main" id="{55E73B62-B2A9-5EAA-74CA-EC93F4AF5111}"/>
                </a:ext>
              </a:extLst>
            </p:cNvPr>
            <p:cNvSpPr txBox="1"/>
            <p:nvPr/>
          </p:nvSpPr>
          <p:spPr>
            <a:xfrm>
              <a:off x="5766869"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7</a:t>
              </a:r>
            </a:p>
          </p:txBody>
        </p:sp>
        <p:sp>
          <p:nvSpPr>
            <p:cNvPr id="149" name="TextBox 148">
              <a:extLst>
                <a:ext uri="{FF2B5EF4-FFF2-40B4-BE49-F238E27FC236}">
                  <a16:creationId xmlns:a16="http://schemas.microsoft.com/office/drawing/2014/main" id="{C17BB4CC-7555-870C-9F51-F60B36334A06}"/>
                </a:ext>
              </a:extLst>
            </p:cNvPr>
            <p:cNvSpPr txBox="1"/>
            <p:nvPr/>
          </p:nvSpPr>
          <p:spPr>
            <a:xfrm>
              <a:off x="6430576"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8</a:t>
              </a:r>
            </a:p>
          </p:txBody>
        </p:sp>
        <p:sp>
          <p:nvSpPr>
            <p:cNvPr id="150" name="TextBox 149">
              <a:extLst>
                <a:ext uri="{FF2B5EF4-FFF2-40B4-BE49-F238E27FC236}">
                  <a16:creationId xmlns:a16="http://schemas.microsoft.com/office/drawing/2014/main" id="{4C109458-BFF6-AA93-2623-4788A4ADE028}"/>
                </a:ext>
              </a:extLst>
            </p:cNvPr>
            <p:cNvSpPr txBox="1"/>
            <p:nvPr/>
          </p:nvSpPr>
          <p:spPr>
            <a:xfrm>
              <a:off x="7119945"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9</a:t>
              </a:r>
            </a:p>
          </p:txBody>
        </p:sp>
        <p:sp>
          <p:nvSpPr>
            <p:cNvPr id="151" name="TextBox 150">
              <a:extLst>
                <a:ext uri="{FF2B5EF4-FFF2-40B4-BE49-F238E27FC236}">
                  <a16:creationId xmlns:a16="http://schemas.microsoft.com/office/drawing/2014/main" id="{7CE07E8E-6D6E-06F7-79D3-443593EBF938}"/>
                </a:ext>
              </a:extLst>
            </p:cNvPr>
            <p:cNvSpPr txBox="1"/>
            <p:nvPr/>
          </p:nvSpPr>
          <p:spPr>
            <a:xfrm>
              <a:off x="7778364" y="3668520"/>
              <a:ext cx="494159" cy="325728"/>
            </a:xfrm>
            <a:prstGeom prst="rect">
              <a:avLst/>
            </a:prstGeom>
            <a:noFill/>
          </p:spPr>
          <p:txBody>
            <a:bodyPr wrap="none" lIns="72000" tIns="72000" rIns="72000" bIns="72000" rtlCol="0" anchor="ctr">
              <a:noAutofit/>
            </a:bodyPr>
            <a:lstStyle/>
            <a:p>
              <a:pPr marL="0" marR="0" lvl="0" indent="0" algn="l" defTabSz="457166" rtl="0" eaLnBrk="1" fontAlgn="auto" latinLnBrk="0" hangingPunct="1">
                <a:lnSpc>
                  <a:spcPct val="100000"/>
                </a:lnSpc>
                <a:spcBef>
                  <a:spcPts val="0"/>
                </a:spcBef>
                <a:spcAft>
                  <a:spcPts val="300"/>
                </a:spcAft>
                <a:buClrTx/>
                <a:buSzPct val="100000"/>
                <a:buFontTx/>
                <a:buNone/>
                <a:tabLst/>
                <a:defRPr/>
              </a:pPr>
              <a:r>
                <a:rPr kumimoji="0" lang="en-US" sz="1050" b="1" i="0" u="none" strike="noStrike" kern="1200" cap="none" spc="0" normalizeH="0" baseline="0" noProof="0">
                  <a:ln>
                    <a:noFill/>
                  </a:ln>
                  <a:solidFill>
                    <a:srgbClr val="005AFF"/>
                  </a:solidFill>
                  <a:effectLst/>
                  <a:uLnTx/>
                  <a:uFillTx/>
                  <a:latin typeface="Nokia Pure Text Light"/>
                  <a:ea typeface="+mn-ea"/>
                  <a:cs typeface="+mn-cs"/>
                </a:rPr>
                <a:t>2030 Launch</a:t>
              </a:r>
            </a:p>
          </p:txBody>
        </p:sp>
        <p:sp>
          <p:nvSpPr>
            <p:cNvPr id="152" name="TextBox 151">
              <a:extLst>
                <a:ext uri="{FF2B5EF4-FFF2-40B4-BE49-F238E27FC236}">
                  <a16:creationId xmlns:a16="http://schemas.microsoft.com/office/drawing/2014/main" id="{EECDC31F-9BD5-D426-6570-9FAF51EF1D85}"/>
                </a:ext>
              </a:extLst>
            </p:cNvPr>
            <p:cNvSpPr txBox="1"/>
            <p:nvPr/>
          </p:nvSpPr>
          <p:spPr>
            <a:xfrm>
              <a:off x="2475276" y="2211864"/>
              <a:ext cx="2439508" cy="437898"/>
            </a:xfrm>
            <a:prstGeom prst="rect">
              <a:avLst/>
            </a:prstGeom>
            <a:solidFill>
              <a:schemeClr val="accent2"/>
            </a:solidFill>
            <a:ln w="19050">
              <a:noFill/>
            </a:ln>
          </p:spPr>
          <p:txBody>
            <a:bodyPr wrap="square" lIns="27000" tIns="108000" rIns="36000" bIns="216000" rtlCol="0" anchor="t">
              <a:noAutofit/>
            </a:bodyPr>
            <a:lstStyle>
              <a:defPPr>
                <a:defRPr lang="en-US"/>
              </a:defPPr>
              <a:lvl1pPr algn="ctr" defTabSz="359991">
                <a:spcAft>
                  <a:spcPts val="600"/>
                </a:spcAft>
                <a:tabLst>
                  <a:tab pos="359991" algn="l"/>
                </a:tabLst>
                <a:defRPr sz="1050">
                  <a:solidFill>
                    <a:schemeClr val="bg1"/>
                  </a:solidFill>
                  <a:latin typeface="Nokia Pure Text" panose="020B0503020202020204" pitchFamily="34" charset="0"/>
                  <a:ea typeface="Nokia Pure Text" panose="020B0503020202020204" pitchFamily="34" charset="0"/>
                </a:defRPr>
              </a:lvl1p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3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rPr>
                <a:t>5G-Adv. Standardization</a:t>
              </a:r>
            </a:p>
          </p:txBody>
        </p:sp>
        <p:sp>
          <p:nvSpPr>
            <p:cNvPr id="155" name="TextBox 154">
              <a:extLst>
                <a:ext uri="{FF2B5EF4-FFF2-40B4-BE49-F238E27FC236}">
                  <a16:creationId xmlns:a16="http://schemas.microsoft.com/office/drawing/2014/main" id="{EFBF29F2-F588-637C-1F11-896F44839AF8}"/>
                </a:ext>
              </a:extLst>
            </p:cNvPr>
            <p:cNvSpPr txBox="1"/>
            <p:nvPr/>
          </p:nvSpPr>
          <p:spPr>
            <a:xfrm>
              <a:off x="2475275" y="1828143"/>
              <a:ext cx="1369141" cy="2600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noFill/>
            </a:ln>
          </p:spPr>
          <p:txBody>
            <a:bodyPr wrap="square" lIns="36000" tIns="72000" rIns="36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000" b="0" i="0" u="none" strike="noStrike" kern="1200" cap="none" spc="0" normalizeH="0" baseline="0" noProof="0">
                  <a:ln>
                    <a:noFill/>
                  </a:ln>
                  <a:solidFill>
                    <a:srgbClr val="001135"/>
                  </a:solidFill>
                  <a:effectLst/>
                  <a:uLnTx/>
                  <a:uFillTx/>
                  <a:latin typeface="Nokia Pure Text" panose="020B0503020202020204" pitchFamily="34" charset="0"/>
                  <a:ea typeface="Nokia Pure Text" panose="020B0503020202020204" pitchFamily="34" charset="0"/>
                  <a:cs typeface="+mn-cs"/>
                </a:rPr>
                <a:t>Industry Alignment</a:t>
              </a:r>
            </a:p>
          </p:txBody>
        </p:sp>
        <p:sp>
          <p:nvSpPr>
            <p:cNvPr id="156" name="TextBox 155">
              <a:extLst>
                <a:ext uri="{FF2B5EF4-FFF2-40B4-BE49-F238E27FC236}">
                  <a16:creationId xmlns:a16="http://schemas.microsoft.com/office/drawing/2014/main" id="{5B32DBBB-01B2-2F63-30C0-6273B90BF817}"/>
                </a:ext>
              </a:extLst>
            </p:cNvPr>
            <p:cNvSpPr txBox="1"/>
            <p:nvPr/>
          </p:nvSpPr>
          <p:spPr>
            <a:xfrm>
              <a:off x="3881828" y="1828143"/>
              <a:ext cx="1777843" cy="2600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noFill/>
            </a:ln>
          </p:spPr>
          <p:txBody>
            <a:bodyPr wrap="square" lIns="36000" tIns="72000" rIns="36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000" b="0" i="0" u="none" strike="noStrike" kern="1200" cap="none" spc="0" normalizeH="0" baseline="0" noProof="0">
                  <a:ln>
                    <a:noFill/>
                  </a:ln>
                  <a:solidFill>
                    <a:srgbClr val="001135"/>
                  </a:solidFill>
                  <a:effectLst/>
                  <a:uLnTx/>
                  <a:uFillTx/>
                  <a:latin typeface="Nokia Pure Text" panose="020B0503020202020204" pitchFamily="34" charset="0"/>
                  <a:ea typeface="Nokia Pure Text" panose="020B0503020202020204" pitchFamily="34" charset="0"/>
                  <a:cs typeface="+mn-cs"/>
                </a:rPr>
                <a:t>Requirements, eval </a:t>
              </a:r>
              <a:r>
                <a:rPr kumimoji="0" lang="en-GB" sz="1000" b="0" i="0" u="none" strike="noStrike" kern="1200" cap="none" spc="0" normalizeH="0" baseline="0" noProof="0" err="1">
                  <a:ln>
                    <a:noFill/>
                  </a:ln>
                  <a:solidFill>
                    <a:srgbClr val="001135"/>
                  </a:solidFill>
                  <a:effectLst/>
                  <a:uLnTx/>
                  <a:uFillTx/>
                  <a:latin typeface="Nokia Pure Text" panose="020B0503020202020204" pitchFamily="34" charset="0"/>
                  <a:ea typeface="Nokia Pure Text" panose="020B0503020202020204" pitchFamily="34" charset="0"/>
                  <a:cs typeface="+mn-cs"/>
                </a:rPr>
                <a:t>Critera</a:t>
              </a:r>
              <a:r>
                <a:rPr kumimoji="0" lang="en-GB" sz="1000" b="0" i="0" u="none" strike="noStrike" kern="1200" cap="none" spc="0" normalizeH="0" baseline="0" noProof="0">
                  <a:ln>
                    <a:noFill/>
                  </a:ln>
                  <a:solidFill>
                    <a:srgbClr val="001135"/>
                  </a:solidFill>
                  <a:effectLst/>
                  <a:uLnTx/>
                  <a:uFillTx/>
                  <a:latin typeface="Nokia Pure Text" panose="020B0503020202020204" pitchFamily="34" charset="0"/>
                  <a:ea typeface="Nokia Pure Text" panose="020B0503020202020204" pitchFamily="34" charset="0"/>
                  <a:cs typeface="+mn-cs"/>
                </a:rPr>
                <a:t>.</a:t>
              </a:r>
            </a:p>
          </p:txBody>
        </p:sp>
        <p:sp>
          <p:nvSpPr>
            <p:cNvPr id="157" name="TextBox 156">
              <a:extLst>
                <a:ext uri="{FF2B5EF4-FFF2-40B4-BE49-F238E27FC236}">
                  <a16:creationId xmlns:a16="http://schemas.microsoft.com/office/drawing/2014/main" id="{81D64D7A-E8A1-E272-9C14-D81E0E1698A1}"/>
                </a:ext>
              </a:extLst>
            </p:cNvPr>
            <p:cNvSpPr txBox="1"/>
            <p:nvPr/>
          </p:nvSpPr>
          <p:spPr>
            <a:xfrm>
              <a:off x="5908109" y="1828143"/>
              <a:ext cx="1308305" cy="26003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noFill/>
            </a:ln>
          </p:spPr>
          <p:txBody>
            <a:bodyPr wrap="square" lIns="36000" tIns="72000" rIns="36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000" b="0" i="0" u="none" strike="noStrike" kern="1200" cap="none" spc="0" normalizeH="0" baseline="0" noProof="0">
                  <a:ln>
                    <a:noFill/>
                  </a:ln>
                  <a:solidFill>
                    <a:srgbClr val="001135"/>
                  </a:solidFill>
                  <a:effectLst/>
                  <a:uLnTx/>
                  <a:uFillTx/>
                  <a:latin typeface="Nokia Pure Text" panose="020B0503020202020204" pitchFamily="34" charset="0"/>
                  <a:ea typeface="Nokia Pure Text" panose="020B0503020202020204" pitchFamily="34" charset="0"/>
                  <a:cs typeface="+mn-cs"/>
                </a:rPr>
                <a:t>Proposals</a:t>
              </a:r>
            </a:p>
          </p:txBody>
        </p:sp>
        <p:sp>
          <p:nvSpPr>
            <p:cNvPr id="158" name="TextBox 157">
              <a:extLst>
                <a:ext uri="{FF2B5EF4-FFF2-40B4-BE49-F238E27FC236}">
                  <a16:creationId xmlns:a16="http://schemas.microsoft.com/office/drawing/2014/main" id="{17D15F57-8010-7CD5-F015-938F5DF214ED}"/>
                </a:ext>
              </a:extLst>
            </p:cNvPr>
            <p:cNvSpPr txBox="1"/>
            <p:nvPr/>
          </p:nvSpPr>
          <p:spPr>
            <a:xfrm>
              <a:off x="7261419" y="1824267"/>
              <a:ext cx="1389109" cy="263908"/>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9050">
              <a:noFill/>
            </a:ln>
          </p:spPr>
          <p:txBody>
            <a:bodyPr wrap="square" lIns="36000" tIns="72000" rIns="36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000" b="0" i="0" u="none" strike="noStrike" kern="1200" cap="none" spc="0" normalizeH="0" baseline="0" noProof="0">
                  <a:ln>
                    <a:noFill/>
                  </a:ln>
                  <a:solidFill>
                    <a:srgbClr val="001135"/>
                  </a:solidFill>
                  <a:effectLst/>
                  <a:uLnTx/>
                  <a:uFillTx/>
                  <a:latin typeface="Nokia Pure Text" panose="020B0503020202020204" pitchFamily="34" charset="0"/>
                  <a:ea typeface="Nokia Pure Text" panose="020B0503020202020204" pitchFamily="34" charset="0"/>
                  <a:cs typeface="+mn-cs"/>
                </a:rPr>
                <a:t>IMT-2030 Spec</a:t>
              </a:r>
            </a:p>
          </p:txBody>
        </p:sp>
        <p:sp>
          <p:nvSpPr>
            <p:cNvPr id="159" name="Star: 8 Points 35">
              <a:extLst>
                <a:ext uri="{FF2B5EF4-FFF2-40B4-BE49-F238E27FC236}">
                  <a16:creationId xmlns:a16="http://schemas.microsoft.com/office/drawing/2014/main" id="{A21EDB49-1F8A-57D7-FB5C-9608D4FB5DFC}"/>
                </a:ext>
              </a:extLst>
            </p:cNvPr>
            <p:cNvSpPr/>
            <p:nvPr/>
          </p:nvSpPr>
          <p:spPr>
            <a:xfrm>
              <a:off x="3526952" y="1700207"/>
              <a:ext cx="121942" cy="118502"/>
            </a:xfrm>
            <a:prstGeom prst="star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154"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4D5766"/>
                </a:solidFill>
                <a:effectLst/>
                <a:uLnTx/>
                <a:uFillTx/>
                <a:latin typeface="Nokia Pure Text Light"/>
                <a:ea typeface="+mn-ea"/>
                <a:cs typeface="+mn-cs"/>
              </a:endParaRPr>
            </a:p>
          </p:txBody>
        </p:sp>
        <p:sp>
          <p:nvSpPr>
            <p:cNvPr id="160" name="Rectangle 159">
              <a:extLst>
                <a:ext uri="{FF2B5EF4-FFF2-40B4-BE49-F238E27FC236}">
                  <a16:creationId xmlns:a16="http://schemas.microsoft.com/office/drawing/2014/main" id="{E442767B-4570-E5BC-9F7D-46E9EFF081A9}"/>
                </a:ext>
              </a:extLst>
            </p:cNvPr>
            <p:cNvSpPr/>
            <p:nvPr/>
          </p:nvSpPr>
          <p:spPr>
            <a:xfrm>
              <a:off x="2942287" y="1327069"/>
              <a:ext cx="1219743" cy="43088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54" rtl="0" eaLnBrk="1" fontAlgn="auto" latinLnBrk="0" hangingPunct="1">
                <a:lnSpc>
                  <a:spcPct val="100000"/>
                </a:lnSpc>
                <a:spcBef>
                  <a:spcPts val="0"/>
                </a:spcBef>
                <a:spcAft>
                  <a:spcPts val="300"/>
                </a:spcAft>
                <a:buClrTx/>
                <a:buSzPct val="100000"/>
                <a:buFontTx/>
                <a:buNone/>
                <a:tabLst/>
                <a:defRPr/>
              </a:pPr>
              <a:r>
                <a:rPr kumimoji="0" lang="en-US" sz="1100" b="1" i="0" u="none" strike="noStrike" kern="1200" cap="none" spc="0" normalizeH="0" baseline="0" noProof="0">
                  <a:ln>
                    <a:noFill/>
                  </a:ln>
                  <a:solidFill>
                    <a:srgbClr val="005AFF"/>
                  </a:solidFill>
                  <a:effectLst/>
                  <a:uLnTx/>
                  <a:uFillTx/>
                  <a:latin typeface="Nokia Pure Text Light"/>
                  <a:ea typeface="+mn-ea"/>
                  <a:cs typeface="+mn-cs"/>
                </a:rPr>
                <a:t>WRC-23 </a:t>
              </a:r>
              <a:br>
                <a:rPr kumimoji="0" lang="en-US" sz="1100" b="1" i="0" u="none" strike="noStrike" kern="1200" cap="none" spc="0" normalizeH="0" baseline="0" noProof="0">
                  <a:ln>
                    <a:noFill/>
                  </a:ln>
                  <a:solidFill>
                    <a:srgbClr val="005AFF"/>
                  </a:solidFill>
                  <a:effectLst/>
                  <a:uLnTx/>
                  <a:uFillTx/>
                  <a:latin typeface="Nokia Pure Text Light"/>
                  <a:ea typeface="+mn-ea"/>
                  <a:cs typeface="+mn-cs"/>
                </a:rPr>
              </a:br>
              <a:r>
                <a:rPr kumimoji="0" lang="en-US" sz="1100" b="1" i="0" u="none" strike="noStrike" kern="1200" cap="none" spc="0" normalizeH="0" baseline="0" noProof="0">
                  <a:ln>
                    <a:noFill/>
                  </a:ln>
                  <a:solidFill>
                    <a:srgbClr val="005AFF"/>
                  </a:solidFill>
                  <a:effectLst/>
                  <a:uLnTx/>
                  <a:uFillTx/>
                  <a:latin typeface="Nokia Pure Text Light"/>
                  <a:ea typeface="+mn-ea"/>
                  <a:cs typeface="+mn-cs"/>
                </a:rPr>
                <a:t>12/2023</a:t>
              </a:r>
            </a:p>
          </p:txBody>
        </p:sp>
        <p:sp>
          <p:nvSpPr>
            <p:cNvPr id="161" name="Rectangle 160">
              <a:extLst>
                <a:ext uri="{FF2B5EF4-FFF2-40B4-BE49-F238E27FC236}">
                  <a16:creationId xmlns:a16="http://schemas.microsoft.com/office/drawing/2014/main" id="{FE5A22BE-B439-811E-90BF-1AE138DA03F3}"/>
                </a:ext>
              </a:extLst>
            </p:cNvPr>
            <p:cNvSpPr/>
            <p:nvPr/>
          </p:nvSpPr>
          <p:spPr>
            <a:xfrm>
              <a:off x="5912747" y="1325238"/>
              <a:ext cx="814419" cy="430887"/>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54" rtl="0" eaLnBrk="1" fontAlgn="auto" latinLnBrk="0" hangingPunct="1">
                <a:lnSpc>
                  <a:spcPct val="100000"/>
                </a:lnSpc>
                <a:spcBef>
                  <a:spcPts val="0"/>
                </a:spcBef>
                <a:spcAft>
                  <a:spcPts val="300"/>
                </a:spcAft>
                <a:buClrTx/>
                <a:buSzPct val="100000"/>
                <a:buFontTx/>
                <a:buNone/>
                <a:tabLst/>
                <a:defRPr/>
              </a:pPr>
              <a:r>
                <a:rPr kumimoji="0" lang="en-US" sz="1100" b="1" i="0" u="none" strike="noStrike" kern="1200" cap="none" spc="0" normalizeH="0" baseline="0" noProof="0">
                  <a:ln>
                    <a:noFill/>
                  </a:ln>
                  <a:solidFill>
                    <a:srgbClr val="005AFF"/>
                  </a:solidFill>
                  <a:effectLst/>
                  <a:uLnTx/>
                  <a:uFillTx/>
                  <a:latin typeface="Nokia Pure Text Light"/>
                  <a:ea typeface="+mn-ea"/>
                  <a:cs typeface="+mn-cs"/>
                </a:rPr>
                <a:t>WRC-27</a:t>
              </a:r>
              <a:br>
                <a:rPr kumimoji="0" lang="en-US" sz="1100" b="1" i="0" u="none" strike="noStrike" kern="1200" cap="none" spc="0" normalizeH="0" baseline="0" noProof="0">
                  <a:ln>
                    <a:noFill/>
                  </a:ln>
                  <a:solidFill>
                    <a:srgbClr val="005AFF"/>
                  </a:solidFill>
                  <a:effectLst/>
                  <a:uLnTx/>
                  <a:uFillTx/>
                  <a:latin typeface="Nokia Pure Text Light"/>
                  <a:ea typeface="+mn-ea"/>
                  <a:cs typeface="+mn-cs"/>
                </a:rPr>
              </a:br>
              <a:r>
                <a:rPr kumimoji="0" lang="en-US" sz="1100" b="1" i="0" u="none" strike="noStrike" kern="1200" cap="none" spc="0" normalizeH="0" baseline="0" noProof="0">
                  <a:ln>
                    <a:noFill/>
                  </a:ln>
                  <a:solidFill>
                    <a:srgbClr val="005AFF"/>
                  </a:solidFill>
                  <a:effectLst/>
                  <a:uLnTx/>
                  <a:uFillTx/>
                  <a:latin typeface="Nokia Pure Text Light"/>
                  <a:ea typeface="+mn-ea"/>
                  <a:cs typeface="+mn-cs"/>
                </a:rPr>
                <a:t>12/2027</a:t>
              </a:r>
            </a:p>
          </p:txBody>
        </p:sp>
        <p:sp>
          <p:nvSpPr>
            <p:cNvPr id="162" name="Rectangle 161">
              <a:extLst>
                <a:ext uri="{FF2B5EF4-FFF2-40B4-BE49-F238E27FC236}">
                  <a16:creationId xmlns:a16="http://schemas.microsoft.com/office/drawing/2014/main" id="{CA502477-A0F2-A913-899E-F3F749435707}"/>
                </a:ext>
              </a:extLst>
            </p:cNvPr>
            <p:cNvSpPr/>
            <p:nvPr/>
          </p:nvSpPr>
          <p:spPr>
            <a:xfrm>
              <a:off x="6357975" y="4032705"/>
              <a:ext cx="1073173" cy="523220"/>
            </a:xfrm>
            <a:prstGeom prst="rect">
              <a:avLst/>
            </a:prstGeom>
            <a:ln w="28575">
              <a:noFill/>
            </a:ln>
          </p:spPr>
          <p:txBody>
            <a:bodyPr wrap="square" lIns="91440" tIns="45720" rIns="91440" bIns="4572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54" rtl="0" eaLnBrk="1" fontAlgn="auto" latinLnBrk="0" hangingPunct="1">
                <a:lnSpc>
                  <a:spcPct val="100000"/>
                </a:lnSpc>
                <a:spcBef>
                  <a:spcPts val="0"/>
                </a:spcBef>
                <a:spcAft>
                  <a:spcPts val="300"/>
                </a:spcAft>
                <a:buClrTx/>
                <a:buSzPct val="100000"/>
                <a:buFontTx/>
                <a:buNone/>
                <a:tabLst/>
                <a:defRPr/>
              </a:pPr>
              <a:r>
                <a:rPr kumimoji="0" lang="fi-FI" sz="1400" b="1" i="0" u="none" strike="noStrike" kern="1200" cap="none" spc="0" normalizeH="0" baseline="0" noProof="0">
                  <a:ln>
                    <a:noFill/>
                  </a:ln>
                  <a:solidFill>
                    <a:srgbClr val="005AFF"/>
                  </a:solidFill>
                  <a:effectLst/>
                  <a:uLnTx/>
                  <a:uFillTx/>
                  <a:latin typeface="Nokia Pure Text Light"/>
                  <a:ea typeface="+mn-ea"/>
                  <a:cs typeface="+mn-cs"/>
                </a:rPr>
                <a:t>6G </a:t>
              </a:r>
              <a:r>
                <a:rPr kumimoji="0" lang="fi-FI" sz="1400" b="1" i="0" u="none" strike="noStrike" kern="1200" cap="none" spc="0" normalizeH="0" baseline="0" noProof="0" err="1">
                  <a:ln>
                    <a:noFill/>
                  </a:ln>
                  <a:solidFill>
                    <a:srgbClr val="005AFF"/>
                  </a:solidFill>
                  <a:effectLst/>
                  <a:uLnTx/>
                  <a:uFillTx/>
                  <a:latin typeface="Nokia Pure Text Light"/>
                  <a:ea typeface="+mn-ea"/>
                  <a:cs typeface="+mn-cs"/>
                </a:rPr>
                <a:t>specs</a:t>
              </a:r>
              <a:r>
                <a:rPr kumimoji="0" lang="fi-FI" sz="1400" b="1" i="0" u="none" strike="noStrike" kern="1200" cap="none" spc="0" normalizeH="0" baseline="0" noProof="0">
                  <a:ln>
                    <a:noFill/>
                  </a:ln>
                  <a:solidFill>
                    <a:srgbClr val="005AFF"/>
                  </a:solidFill>
                  <a:effectLst/>
                  <a:uLnTx/>
                  <a:uFillTx/>
                  <a:latin typeface="Nokia Pure Text Light"/>
                  <a:ea typeface="+mn-ea"/>
                  <a:cs typeface="+mn-cs"/>
                </a:rPr>
                <a:t> </a:t>
              </a:r>
              <a:r>
                <a:rPr kumimoji="0" lang="en-US" sz="1400" b="1" i="0" u="none" strike="noStrike" kern="1200" cap="none" spc="0" normalizeH="0" baseline="0" noProof="0">
                  <a:ln>
                    <a:noFill/>
                  </a:ln>
                  <a:solidFill>
                    <a:srgbClr val="005AFF"/>
                  </a:solidFill>
                  <a:effectLst/>
                  <a:uLnTx/>
                  <a:uFillTx/>
                  <a:latin typeface="Nokia Pure Text Light"/>
                  <a:ea typeface="+mn-ea"/>
                  <a:cs typeface="+mn-cs"/>
                </a:rPr>
                <a:t>09/2028</a:t>
              </a:r>
            </a:p>
          </p:txBody>
        </p:sp>
        <p:sp>
          <p:nvSpPr>
            <p:cNvPr id="163" name="Star: 8 Points 46">
              <a:extLst>
                <a:ext uri="{FF2B5EF4-FFF2-40B4-BE49-F238E27FC236}">
                  <a16:creationId xmlns:a16="http://schemas.microsoft.com/office/drawing/2014/main" id="{A2E93C9F-F04A-22A2-BA17-2F04368A9696}"/>
                </a:ext>
              </a:extLst>
            </p:cNvPr>
            <p:cNvSpPr/>
            <p:nvPr/>
          </p:nvSpPr>
          <p:spPr>
            <a:xfrm>
              <a:off x="6826595" y="3925577"/>
              <a:ext cx="138114" cy="129600"/>
            </a:xfrm>
            <a:prstGeom prst="star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154"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4D5766"/>
                </a:solidFill>
                <a:effectLst/>
                <a:uLnTx/>
                <a:uFillTx/>
                <a:latin typeface="Nokia Pure Text Light"/>
                <a:ea typeface="+mn-ea"/>
                <a:cs typeface="+mn-cs"/>
              </a:endParaRPr>
            </a:p>
          </p:txBody>
        </p:sp>
        <p:pic>
          <p:nvPicPr>
            <p:cNvPr id="165" name="Picture 2" descr="LTE 3GPP releases Overview - CableFree">
              <a:extLst>
                <a:ext uri="{FF2B5EF4-FFF2-40B4-BE49-F238E27FC236}">
                  <a16:creationId xmlns:a16="http://schemas.microsoft.com/office/drawing/2014/main" id="{F163D014-ABD5-5480-1F14-B0FA0E98ECC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926102" y="3344648"/>
              <a:ext cx="588188" cy="301197"/>
            </a:xfrm>
            <a:prstGeom prst="rect">
              <a:avLst/>
            </a:prstGeom>
            <a:noFill/>
            <a:extLst>
              <a:ext uri="{909E8E84-426E-40DD-AFC4-6F175D3DCCD1}">
                <a14:hiddenFill xmlns:a14="http://schemas.microsoft.com/office/drawing/2010/main">
                  <a:solidFill>
                    <a:srgbClr val="FFFFFF"/>
                  </a:solidFill>
                </a14:hiddenFill>
              </a:ext>
            </a:extLst>
          </p:spPr>
        </p:pic>
        <p:sp>
          <p:nvSpPr>
            <p:cNvPr id="166" name="Rectangle 165">
              <a:extLst>
                <a:ext uri="{FF2B5EF4-FFF2-40B4-BE49-F238E27FC236}">
                  <a16:creationId xmlns:a16="http://schemas.microsoft.com/office/drawing/2014/main" id="{503252AD-62C8-D7CB-7B06-659EE9F118F7}"/>
                </a:ext>
              </a:extLst>
            </p:cNvPr>
            <p:cNvSpPr/>
            <p:nvPr/>
          </p:nvSpPr>
          <p:spPr>
            <a:xfrm>
              <a:off x="3905570" y="4048470"/>
              <a:ext cx="1264837" cy="523220"/>
            </a:xfrm>
            <a:prstGeom prst="rect">
              <a:avLst/>
            </a:prstGeom>
            <a:ln w="28575">
              <a:noFill/>
            </a:ln>
          </p:spPr>
          <p:txBody>
            <a:bodyPr wrap="square" lIns="91440" tIns="45720" rIns="91440" bIns="4572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154" rtl="0" eaLnBrk="1" fontAlgn="auto" latinLnBrk="0" hangingPunct="1">
                <a:lnSpc>
                  <a:spcPct val="100000"/>
                </a:lnSpc>
                <a:spcBef>
                  <a:spcPts val="0"/>
                </a:spcBef>
                <a:spcAft>
                  <a:spcPts val="300"/>
                </a:spcAft>
                <a:buClrTx/>
                <a:buSzPct val="100000"/>
                <a:buFontTx/>
                <a:buNone/>
                <a:tabLst/>
                <a:defRPr/>
              </a:pPr>
              <a:r>
                <a:rPr kumimoji="0" lang="fi-FI" sz="1400" b="0" i="0" u="none" strike="noStrike" kern="1200" cap="none" spc="0" normalizeH="0" baseline="0" noProof="0">
                  <a:ln>
                    <a:noFill/>
                  </a:ln>
                  <a:solidFill>
                    <a:srgbClr val="005AFF"/>
                  </a:solidFill>
                  <a:effectLst/>
                  <a:uLnTx/>
                  <a:uFillTx/>
                  <a:latin typeface="Nokia Pure Text Light"/>
                  <a:ea typeface="+mn-ea"/>
                  <a:cs typeface="+mn-cs"/>
                </a:rPr>
                <a:t>6G workshop</a:t>
              </a:r>
              <a:br>
                <a:rPr kumimoji="0" lang="fi-FI" sz="1400" b="0" i="0" u="none" strike="noStrike" kern="1200" cap="none" spc="0" normalizeH="0" baseline="0" noProof="0">
                  <a:ln>
                    <a:noFill/>
                  </a:ln>
                  <a:solidFill>
                    <a:srgbClr val="005AFF"/>
                  </a:solidFill>
                  <a:effectLst/>
                  <a:uLnTx/>
                  <a:uFillTx/>
                  <a:latin typeface="Nokia Pure Text Light"/>
                  <a:ea typeface="+mn-ea"/>
                  <a:cs typeface="+mn-cs"/>
                </a:rPr>
              </a:br>
              <a:r>
                <a:rPr kumimoji="0" lang="fi-FI" sz="1400" b="0" i="0" u="none" strike="noStrike" kern="1200" cap="none" spc="0" normalizeH="0" baseline="0" noProof="0">
                  <a:ln>
                    <a:noFill/>
                  </a:ln>
                  <a:solidFill>
                    <a:srgbClr val="005AFF"/>
                  </a:solidFill>
                  <a:effectLst/>
                  <a:uLnTx/>
                  <a:uFillTx/>
                  <a:latin typeface="Nokia Pure Text Light"/>
                  <a:ea typeface="+mn-ea"/>
                  <a:cs typeface="+mn-cs"/>
                </a:rPr>
                <a:t>03/2025</a:t>
              </a:r>
            </a:p>
          </p:txBody>
        </p:sp>
        <p:sp>
          <p:nvSpPr>
            <p:cNvPr id="167" name="Star: 8 Points 46">
              <a:extLst>
                <a:ext uri="{FF2B5EF4-FFF2-40B4-BE49-F238E27FC236}">
                  <a16:creationId xmlns:a16="http://schemas.microsoft.com/office/drawing/2014/main" id="{7ABC879D-15D8-0B53-AFDD-C5396BB38295}"/>
                </a:ext>
              </a:extLst>
            </p:cNvPr>
            <p:cNvSpPr/>
            <p:nvPr/>
          </p:nvSpPr>
          <p:spPr>
            <a:xfrm>
              <a:off x="4446049" y="3925577"/>
              <a:ext cx="138114" cy="129600"/>
            </a:xfrm>
            <a:prstGeom prst="star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154"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4D5766"/>
                </a:solidFill>
                <a:effectLst/>
                <a:uLnTx/>
                <a:uFillTx/>
                <a:latin typeface="Nokia Pure Text Light"/>
                <a:ea typeface="+mn-ea"/>
                <a:cs typeface="+mn-cs"/>
              </a:endParaRPr>
            </a:p>
          </p:txBody>
        </p:sp>
        <p:sp>
          <p:nvSpPr>
            <p:cNvPr id="172" name="TextBox 171">
              <a:extLst>
                <a:ext uri="{FF2B5EF4-FFF2-40B4-BE49-F238E27FC236}">
                  <a16:creationId xmlns:a16="http://schemas.microsoft.com/office/drawing/2014/main" id="{D7853E6B-03BC-2270-F99A-12B10795AC2E}"/>
                </a:ext>
              </a:extLst>
            </p:cNvPr>
            <p:cNvSpPr txBox="1"/>
            <p:nvPr/>
          </p:nvSpPr>
          <p:spPr>
            <a:xfrm>
              <a:off x="7920976" y="3361844"/>
              <a:ext cx="972000" cy="248392"/>
            </a:xfrm>
            <a:prstGeom prst="rect">
              <a:avLst/>
            </a:prstGeom>
            <a:solidFill>
              <a:schemeClr val="bg1">
                <a:lumMod val="85000"/>
                <a:alpha val="40393"/>
              </a:schemeClr>
            </a:solidFill>
            <a:ln w="12700">
              <a:noFill/>
            </a:ln>
          </p:spPr>
          <p:txBody>
            <a:bodyPr wrap="square" lIns="72000" tIns="72000" rIns="72000" bIns="72000" rtlCol="0" anchor="ctr">
              <a:noAutofit/>
            </a:bodyPr>
            <a:lstStyle/>
            <a:p>
              <a:pPr marL="0" marR="0" lvl="0" indent="0" algn="l" defTabSz="359964" rtl="0" eaLnBrk="1" fontAlgn="auto" latinLnBrk="0" hangingPunct="1">
                <a:lnSpc>
                  <a:spcPct val="100000"/>
                </a:lnSpc>
                <a:spcBef>
                  <a:spcPts val="0"/>
                </a:spcBef>
                <a:spcAft>
                  <a:spcPts val="600"/>
                </a:spcAft>
                <a:buClrTx/>
                <a:buSzTx/>
                <a:buFontTx/>
                <a:buNone/>
                <a:tabLst>
                  <a:tab pos="359964" algn="l"/>
                </a:tabLst>
                <a:defRPr/>
              </a:pPr>
              <a:r>
                <a:rPr kumimoji="0" lang="en-GB" sz="1200" b="0" i="0" u="none" strike="noStrike" kern="1200" cap="none" spc="0" normalizeH="0" baseline="0" noProof="0">
                  <a:ln>
                    <a:noFill/>
                  </a:ln>
                  <a:solidFill>
                    <a:srgbClr val="666666"/>
                  </a:solidFill>
                  <a:effectLst/>
                  <a:uLnTx/>
                  <a:uFillTx/>
                  <a:latin typeface="Nokia Pure Text" panose="020B0503020202020204" pitchFamily="34" charset="0"/>
                  <a:ea typeface="Nokia Pure Text" panose="020B0503020202020204" pitchFamily="34" charset="0"/>
                  <a:cs typeface="+mn-cs"/>
                </a:rPr>
                <a:t>Rel-23</a:t>
              </a:r>
            </a:p>
          </p:txBody>
        </p:sp>
        <p:sp>
          <p:nvSpPr>
            <p:cNvPr id="173" name="Star: 8 Points 46">
              <a:extLst>
                <a:ext uri="{FF2B5EF4-FFF2-40B4-BE49-F238E27FC236}">
                  <a16:creationId xmlns:a16="http://schemas.microsoft.com/office/drawing/2014/main" id="{6FEDE061-9036-EBD6-DB68-598BB0DA4118}"/>
                </a:ext>
              </a:extLst>
            </p:cNvPr>
            <p:cNvSpPr/>
            <p:nvPr/>
          </p:nvSpPr>
          <p:spPr>
            <a:xfrm>
              <a:off x="6224125" y="1686736"/>
              <a:ext cx="138114" cy="129581"/>
            </a:xfrm>
            <a:prstGeom prst="star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154" rtl="0" eaLnBrk="1" fontAlgn="auto" latinLnBrk="0" hangingPunct="1">
                <a:lnSpc>
                  <a:spcPct val="100000"/>
                </a:lnSpc>
                <a:spcBef>
                  <a:spcPts val="0"/>
                </a:spcBef>
                <a:spcAft>
                  <a:spcPts val="300"/>
                </a:spcAft>
                <a:buClrTx/>
                <a:buSzPct val="100000"/>
                <a:buFontTx/>
                <a:buNone/>
                <a:tabLst/>
                <a:defRPr/>
              </a:pPr>
              <a:endParaRPr kumimoji="0" lang="en-US" sz="1200" b="0" i="0" u="none" strike="noStrike" kern="1200" cap="none" spc="0" normalizeH="0" baseline="0" noProof="0">
                <a:ln>
                  <a:noFill/>
                </a:ln>
                <a:solidFill>
                  <a:srgbClr val="4D5766"/>
                </a:solidFill>
                <a:effectLst/>
                <a:uLnTx/>
                <a:uFillTx/>
                <a:latin typeface="Nokia Pure Text Light"/>
                <a:ea typeface="+mn-ea"/>
                <a:cs typeface="+mn-cs"/>
              </a:endParaRPr>
            </a:p>
          </p:txBody>
        </p:sp>
        <p:sp>
          <p:nvSpPr>
            <p:cNvPr id="174" name="TextBox 173">
              <a:extLst>
                <a:ext uri="{FF2B5EF4-FFF2-40B4-BE49-F238E27FC236}">
                  <a16:creationId xmlns:a16="http://schemas.microsoft.com/office/drawing/2014/main" id="{A3C3A0AD-E238-FC53-9A8A-B16BAAC7B4F8}"/>
                </a:ext>
              </a:extLst>
            </p:cNvPr>
            <p:cNvSpPr txBox="1"/>
            <p:nvPr/>
          </p:nvSpPr>
          <p:spPr>
            <a:xfrm>
              <a:off x="4878122" y="2210033"/>
              <a:ext cx="3561230" cy="439729"/>
            </a:xfrm>
            <a:custGeom>
              <a:avLst/>
              <a:gdLst>
                <a:gd name="connsiteX0" fmla="*/ 0 w 4015096"/>
                <a:gd name="connsiteY0" fmla="*/ 0 h 327245"/>
                <a:gd name="connsiteX1" fmla="*/ 4015096 w 4015096"/>
                <a:gd name="connsiteY1" fmla="*/ 0 h 327245"/>
                <a:gd name="connsiteX2" fmla="*/ 4015096 w 4015096"/>
                <a:gd name="connsiteY2" fmla="*/ 327245 h 327245"/>
                <a:gd name="connsiteX3" fmla="*/ 0 w 4015096"/>
                <a:gd name="connsiteY3" fmla="*/ 327245 h 327245"/>
                <a:gd name="connsiteX4" fmla="*/ 0 w 4015096"/>
                <a:gd name="connsiteY4" fmla="*/ 0 h 327245"/>
                <a:gd name="connsiteX0" fmla="*/ 0 w 4015096"/>
                <a:gd name="connsiteY0" fmla="*/ 0 h 327245"/>
                <a:gd name="connsiteX1" fmla="*/ 4002739 w 4015096"/>
                <a:gd name="connsiteY1" fmla="*/ 185351 h 327245"/>
                <a:gd name="connsiteX2" fmla="*/ 4015096 w 4015096"/>
                <a:gd name="connsiteY2" fmla="*/ 327245 h 327245"/>
                <a:gd name="connsiteX3" fmla="*/ 0 w 4015096"/>
                <a:gd name="connsiteY3" fmla="*/ 327245 h 327245"/>
                <a:gd name="connsiteX4" fmla="*/ 0 w 4015096"/>
                <a:gd name="connsiteY4" fmla="*/ 0 h 327245"/>
                <a:gd name="connsiteX0" fmla="*/ 0 w 4015096"/>
                <a:gd name="connsiteY0" fmla="*/ 0 h 327245"/>
                <a:gd name="connsiteX1" fmla="*/ 4002739 w 4015096"/>
                <a:gd name="connsiteY1" fmla="*/ 185351 h 327245"/>
                <a:gd name="connsiteX2" fmla="*/ 4015096 w 4015096"/>
                <a:gd name="connsiteY2" fmla="*/ 327245 h 327245"/>
                <a:gd name="connsiteX3" fmla="*/ 0 w 4015096"/>
                <a:gd name="connsiteY3" fmla="*/ 327245 h 327245"/>
                <a:gd name="connsiteX4" fmla="*/ 0 w 4015096"/>
                <a:gd name="connsiteY4" fmla="*/ 0 h 327245"/>
                <a:gd name="connsiteX0" fmla="*/ 0 w 4015096"/>
                <a:gd name="connsiteY0" fmla="*/ 0 h 327245"/>
                <a:gd name="connsiteX1" fmla="*/ 4002739 w 4015096"/>
                <a:gd name="connsiteY1" fmla="*/ 185351 h 327245"/>
                <a:gd name="connsiteX2" fmla="*/ 4015096 w 4015096"/>
                <a:gd name="connsiteY2" fmla="*/ 327245 h 327245"/>
                <a:gd name="connsiteX3" fmla="*/ 0 w 4015096"/>
                <a:gd name="connsiteY3" fmla="*/ 327245 h 327245"/>
                <a:gd name="connsiteX4" fmla="*/ 0 w 4015096"/>
                <a:gd name="connsiteY4" fmla="*/ 0 h 327245"/>
                <a:gd name="connsiteX0" fmla="*/ 0 w 4015096"/>
                <a:gd name="connsiteY0" fmla="*/ 0 h 327245"/>
                <a:gd name="connsiteX1" fmla="*/ 4015096 w 4015096"/>
                <a:gd name="connsiteY1" fmla="*/ 259492 h 327245"/>
                <a:gd name="connsiteX2" fmla="*/ 4015096 w 4015096"/>
                <a:gd name="connsiteY2" fmla="*/ 327245 h 327245"/>
                <a:gd name="connsiteX3" fmla="*/ 0 w 4015096"/>
                <a:gd name="connsiteY3" fmla="*/ 327245 h 327245"/>
                <a:gd name="connsiteX4" fmla="*/ 0 w 4015096"/>
                <a:gd name="connsiteY4" fmla="*/ 0 h 327245"/>
                <a:gd name="connsiteX0" fmla="*/ 0 w 4015096"/>
                <a:gd name="connsiteY0" fmla="*/ 0 h 327245"/>
                <a:gd name="connsiteX1" fmla="*/ 4015096 w 4015096"/>
                <a:gd name="connsiteY1" fmla="*/ 308919 h 327245"/>
                <a:gd name="connsiteX2" fmla="*/ 4015096 w 4015096"/>
                <a:gd name="connsiteY2" fmla="*/ 327245 h 327245"/>
                <a:gd name="connsiteX3" fmla="*/ 0 w 4015096"/>
                <a:gd name="connsiteY3" fmla="*/ 327245 h 327245"/>
                <a:gd name="connsiteX4" fmla="*/ 0 w 4015096"/>
                <a:gd name="connsiteY4" fmla="*/ 0 h 32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5096" h="327245">
                  <a:moveTo>
                    <a:pt x="0" y="0"/>
                  </a:moveTo>
                  <a:cubicBezTo>
                    <a:pt x="1334246" y="61784"/>
                    <a:pt x="2643780" y="333632"/>
                    <a:pt x="4015096" y="308919"/>
                  </a:cubicBezTo>
                  <a:lnTo>
                    <a:pt x="4015096" y="327245"/>
                  </a:lnTo>
                  <a:lnTo>
                    <a:pt x="0" y="327245"/>
                  </a:lnTo>
                  <a:lnTo>
                    <a:pt x="0" y="0"/>
                  </a:lnTo>
                  <a:close/>
                </a:path>
              </a:pathLst>
            </a:custGeom>
            <a:solidFill>
              <a:schemeClr val="accent2"/>
            </a:solidFill>
            <a:ln w="19050">
              <a:noFill/>
            </a:ln>
          </p:spPr>
          <p:txBody>
            <a:bodyPr wrap="square" lIns="36000" tIns="72000" rIns="36000" bIns="216000" rtlCol="0" anchor="t">
              <a:noAutofit/>
            </a:bodyPr>
            <a:lstStyle>
              <a:defPPr>
                <a:defRPr lang="en-US"/>
              </a:defPPr>
              <a:lvl1pPr algn="ctr" defTabSz="359991">
                <a:spcAft>
                  <a:spcPts val="600"/>
                </a:spcAft>
                <a:tabLst>
                  <a:tab pos="359991" algn="l"/>
                </a:tabLst>
                <a:defRPr sz="1050">
                  <a:solidFill>
                    <a:schemeClr val="bg1"/>
                  </a:solidFill>
                  <a:latin typeface="Nokia Pure Text" panose="020B0503020202020204" pitchFamily="34" charset="0"/>
                  <a:ea typeface="Nokia Pure Text" panose="020B0503020202020204" pitchFamily="34" charset="0"/>
                </a:defRPr>
              </a:lvl1p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endParaRPr kumimoji="0" lang="en-GB" sz="1050" b="0" i="0" u="none" strike="noStrike" kern="1200" cap="none" spc="0" normalizeH="0" baseline="0" noProof="0">
                <a:ln>
                  <a:noFill/>
                </a:ln>
                <a:solidFill>
                  <a:srgbClr val="FFFFFF"/>
                </a:solidFill>
                <a:effectLst/>
                <a:uLnTx/>
                <a:uFillTx/>
                <a:latin typeface="Nokia Pure Text" panose="020B0503020202020204" pitchFamily="34" charset="0"/>
                <a:ea typeface="Nokia Pure Text" panose="020B0503020202020204" pitchFamily="34" charset="0"/>
                <a:cs typeface="+mn-cs"/>
              </a:endParaRPr>
            </a:p>
          </p:txBody>
        </p:sp>
        <p:sp>
          <p:nvSpPr>
            <p:cNvPr id="175" name="TextBox 174">
              <a:extLst>
                <a:ext uri="{FF2B5EF4-FFF2-40B4-BE49-F238E27FC236}">
                  <a16:creationId xmlns:a16="http://schemas.microsoft.com/office/drawing/2014/main" id="{4CF934EF-2CA0-6B36-93E1-708D59040579}"/>
                </a:ext>
              </a:extLst>
            </p:cNvPr>
            <p:cNvSpPr txBox="1"/>
            <p:nvPr/>
          </p:nvSpPr>
          <p:spPr>
            <a:xfrm>
              <a:off x="2490619" y="2720489"/>
              <a:ext cx="3202826" cy="446457"/>
            </a:xfrm>
            <a:custGeom>
              <a:avLst/>
              <a:gdLst>
                <a:gd name="connsiteX0" fmla="*/ 0 w 4215138"/>
                <a:gd name="connsiteY0" fmla="*/ 0 h 595276"/>
                <a:gd name="connsiteX1" fmla="*/ 4215138 w 4215138"/>
                <a:gd name="connsiteY1" fmla="*/ 0 h 595276"/>
                <a:gd name="connsiteX2" fmla="*/ 4215138 w 4215138"/>
                <a:gd name="connsiteY2" fmla="*/ 595276 h 595276"/>
                <a:gd name="connsiteX3" fmla="*/ 0 w 4215138"/>
                <a:gd name="connsiteY3" fmla="*/ 595276 h 595276"/>
                <a:gd name="connsiteX4" fmla="*/ 0 w 4215138"/>
                <a:gd name="connsiteY4" fmla="*/ 0 h 595276"/>
                <a:gd name="connsiteX0" fmla="*/ 21021 w 4215138"/>
                <a:gd name="connsiteY0" fmla="*/ 420414 h 595276"/>
                <a:gd name="connsiteX1" fmla="*/ 4215138 w 4215138"/>
                <a:gd name="connsiteY1" fmla="*/ 0 h 595276"/>
                <a:gd name="connsiteX2" fmla="*/ 4215138 w 4215138"/>
                <a:gd name="connsiteY2" fmla="*/ 595276 h 595276"/>
                <a:gd name="connsiteX3" fmla="*/ 0 w 4215138"/>
                <a:gd name="connsiteY3" fmla="*/ 595276 h 595276"/>
                <a:gd name="connsiteX4" fmla="*/ 21021 w 4215138"/>
                <a:gd name="connsiteY4" fmla="*/ 420414 h 595276"/>
                <a:gd name="connsiteX0" fmla="*/ 21021 w 4215138"/>
                <a:gd name="connsiteY0" fmla="*/ 420414 h 595276"/>
                <a:gd name="connsiteX1" fmla="*/ 4215138 w 4215138"/>
                <a:gd name="connsiteY1" fmla="*/ 0 h 595276"/>
                <a:gd name="connsiteX2" fmla="*/ 4215138 w 4215138"/>
                <a:gd name="connsiteY2" fmla="*/ 595276 h 595276"/>
                <a:gd name="connsiteX3" fmla="*/ 0 w 4215138"/>
                <a:gd name="connsiteY3" fmla="*/ 595276 h 595276"/>
                <a:gd name="connsiteX4" fmla="*/ 21021 w 4215138"/>
                <a:gd name="connsiteY4" fmla="*/ 420414 h 595276"/>
                <a:gd name="connsiteX0" fmla="*/ 31531 w 4215138"/>
                <a:gd name="connsiteY0" fmla="*/ 483476 h 595276"/>
                <a:gd name="connsiteX1" fmla="*/ 4215138 w 4215138"/>
                <a:gd name="connsiteY1" fmla="*/ 0 h 595276"/>
                <a:gd name="connsiteX2" fmla="*/ 4215138 w 4215138"/>
                <a:gd name="connsiteY2" fmla="*/ 595276 h 595276"/>
                <a:gd name="connsiteX3" fmla="*/ 0 w 4215138"/>
                <a:gd name="connsiteY3" fmla="*/ 595276 h 595276"/>
                <a:gd name="connsiteX4" fmla="*/ 31531 w 4215138"/>
                <a:gd name="connsiteY4" fmla="*/ 483476 h 595276"/>
                <a:gd name="connsiteX0" fmla="*/ 0 w 4236159"/>
                <a:gd name="connsiteY0" fmla="*/ 462456 h 595276"/>
                <a:gd name="connsiteX1" fmla="*/ 4236159 w 4236159"/>
                <a:gd name="connsiteY1" fmla="*/ 0 h 595276"/>
                <a:gd name="connsiteX2" fmla="*/ 4236159 w 4236159"/>
                <a:gd name="connsiteY2" fmla="*/ 595276 h 595276"/>
                <a:gd name="connsiteX3" fmla="*/ 21021 w 4236159"/>
                <a:gd name="connsiteY3" fmla="*/ 595276 h 595276"/>
                <a:gd name="connsiteX4" fmla="*/ 0 w 4236159"/>
                <a:gd name="connsiteY4" fmla="*/ 462456 h 595276"/>
                <a:gd name="connsiteX0" fmla="*/ 10510 w 4215138"/>
                <a:gd name="connsiteY0" fmla="*/ 451945 h 595276"/>
                <a:gd name="connsiteX1" fmla="*/ 4215138 w 4215138"/>
                <a:gd name="connsiteY1" fmla="*/ 0 h 595276"/>
                <a:gd name="connsiteX2" fmla="*/ 4215138 w 4215138"/>
                <a:gd name="connsiteY2" fmla="*/ 595276 h 595276"/>
                <a:gd name="connsiteX3" fmla="*/ 0 w 4215138"/>
                <a:gd name="connsiteY3" fmla="*/ 595276 h 595276"/>
                <a:gd name="connsiteX4" fmla="*/ 10510 w 4215138"/>
                <a:gd name="connsiteY4" fmla="*/ 451945 h 595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5138" h="595276">
                  <a:moveTo>
                    <a:pt x="10510" y="451945"/>
                  </a:moveTo>
                  <a:cubicBezTo>
                    <a:pt x="1366508" y="437931"/>
                    <a:pt x="2817099" y="140138"/>
                    <a:pt x="4215138" y="0"/>
                  </a:cubicBezTo>
                  <a:lnTo>
                    <a:pt x="4215138" y="595276"/>
                  </a:lnTo>
                  <a:lnTo>
                    <a:pt x="0" y="595276"/>
                  </a:lnTo>
                  <a:lnTo>
                    <a:pt x="10510" y="451945"/>
                  </a:lnTo>
                  <a:close/>
                </a:path>
              </a:pathLst>
            </a:custGeom>
            <a:solidFill>
              <a:schemeClr val="accent3"/>
            </a:solidFill>
            <a:ln w="19050">
              <a:noFill/>
            </a:ln>
          </p:spPr>
          <p:txBody>
            <a:bodyPr wrap="square" lIns="36000" tIns="72000" rIns="36000" bIns="72000" rtlCol="0" anchor="t">
              <a:noAutofit/>
            </a:bodyPr>
            <a:lstStyle>
              <a:defPPr>
                <a:defRPr lang="en-US"/>
              </a:defPPr>
              <a:lvl1pPr algn="ctr" defTabSz="359991">
                <a:spcAft>
                  <a:spcPts val="600"/>
                </a:spcAft>
                <a:tabLst>
                  <a:tab pos="359991" algn="l"/>
                </a:tabLst>
                <a:defRPr sz="1050">
                  <a:solidFill>
                    <a:schemeClr val="bg1"/>
                  </a:solidFill>
                  <a:latin typeface="Nokia Pure Text" panose="020B0503020202020204" pitchFamily="34" charset="0"/>
                  <a:ea typeface="Nokia Pure Text" panose="020B0503020202020204" pitchFamily="34" charset="0"/>
                </a:defRPr>
              </a:lvl1pPr>
            </a:lstStyle>
            <a:p>
              <a:pPr marL="0" marR="0" lvl="0" indent="0" algn="l" defTabSz="359964" rtl="0" eaLnBrk="1" fontAlgn="auto" latinLnBrk="0" hangingPunct="1">
                <a:lnSpc>
                  <a:spcPct val="100000"/>
                </a:lnSpc>
                <a:spcBef>
                  <a:spcPts val="0"/>
                </a:spcBef>
                <a:spcAft>
                  <a:spcPts val="600"/>
                </a:spcAft>
                <a:buClrTx/>
                <a:buSzTx/>
                <a:buFontTx/>
                <a:buNone/>
                <a:tabLst>
                  <a:tab pos="359964" algn="l"/>
                </a:tabLst>
                <a:defRPr/>
              </a:pPr>
              <a:r>
                <a:rPr kumimoji="0" lang="en-GB" sz="105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a:t>
              </a:r>
              <a:r>
                <a:rPr kumimoji="0" lang="en-GB" sz="10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 </a:t>
              </a:r>
            </a:p>
            <a:p>
              <a:pPr marL="0" marR="0" lvl="0" indent="0" algn="l" defTabSz="359964" rtl="0" eaLnBrk="1" fontAlgn="auto" latinLnBrk="0" hangingPunct="1">
                <a:lnSpc>
                  <a:spcPct val="100000"/>
                </a:lnSpc>
                <a:spcBef>
                  <a:spcPts val="0"/>
                </a:spcBef>
                <a:spcAft>
                  <a:spcPts val="600"/>
                </a:spcAft>
                <a:buClrTx/>
                <a:buSzTx/>
                <a:buFontTx/>
                <a:buNone/>
                <a:tabLst>
                  <a:tab pos="359964" algn="l"/>
                </a:tabLst>
                <a:defRPr/>
              </a:pPr>
              <a:r>
                <a:rPr kumimoji="0" lang="en-GB" sz="100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pre-standard</a:t>
              </a:r>
              <a:endParaRPr kumimoji="0" lang="en-GB" sz="1050" b="0" i="0" u="none" strike="noStrike" kern="1200" cap="none" spc="0" normalizeH="0" baseline="0" noProof="0">
                <a:ln>
                  <a:noFill/>
                </a:ln>
                <a:solidFill>
                  <a:srgbClr val="FFFFFF"/>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76" name="TextBox 175">
              <a:extLst>
                <a:ext uri="{FF2B5EF4-FFF2-40B4-BE49-F238E27FC236}">
                  <a16:creationId xmlns:a16="http://schemas.microsoft.com/office/drawing/2014/main" id="{F1C35E98-F8AD-03DD-334B-EC03DCCBC652}"/>
                </a:ext>
              </a:extLst>
            </p:cNvPr>
            <p:cNvSpPr txBox="1"/>
            <p:nvPr/>
          </p:nvSpPr>
          <p:spPr>
            <a:xfrm>
              <a:off x="3761115" y="3020034"/>
              <a:ext cx="519653" cy="167313"/>
            </a:xfrm>
            <a:prstGeom prst="rect">
              <a:avLst/>
            </a:prstGeom>
            <a:noFill/>
            <a:ln>
              <a:noFill/>
            </a:ln>
          </p:spPr>
          <p:txBody>
            <a:bodyPr wrap="none" lIns="0" tIns="0" rIns="0" bIns="0" rtlCol="0">
              <a:noAutofit/>
            </a:bodyPr>
            <a:lstStyle/>
            <a:p>
              <a:pPr marL="0" marR="0" lvl="0" indent="0" algn="l" defTabSz="135000" rtl="0" eaLnBrk="1" fontAlgn="auto" latinLnBrk="0" hangingPunct="1">
                <a:lnSpc>
                  <a:spcPct val="100000"/>
                </a:lnSpc>
                <a:spcBef>
                  <a:spcPts val="0"/>
                </a:spcBef>
                <a:spcAft>
                  <a:spcPts val="225"/>
                </a:spcAft>
                <a:buClrTx/>
                <a:buSzTx/>
                <a:buFontTx/>
                <a:buNone/>
                <a:tabLst>
                  <a:tab pos="135000" algn="l"/>
                </a:tabLst>
                <a:defRPr/>
              </a:pPr>
              <a:r>
                <a:rPr kumimoji="0" lang="en-HU" sz="1050" b="0" i="0" u="none" strike="noStrike" kern="1200" cap="none" spc="0" normalizeH="0" baseline="0" noProof="0">
                  <a:ln>
                    <a:noFill/>
                  </a:ln>
                  <a:solidFill>
                    <a:srgbClr val="FFFFFF"/>
                  </a:solidFill>
                  <a:effectLst/>
                  <a:uLnTx/>
                  <a:uFillTx/>
                  <a:latin typeface="Nokia Pure Text Light"/>
                  <a:ea typeface="+mn-ea"/>
                  <a:cs typeface="+mn-cs"/>
                </a:rPr>
                <a:t>6G req</a:t>
              </a:r>
              <a:r>
                <a:rPr kumimoji="0" lang="en-US" sz="1050" b="0" i="0" u="none" strike="noStrike" kern="1200" cap="none" spc="0" normalizeH="0" baseline="0" noProof="0" err="1">
                  <a:ln>
                    <a:noFill/>
                  </a:ln>
                  <a:solidFill>
                    <a:srgbClr val="FFFFFF"/>
                  </a:solidFill>
                  <a:effectLst/>
                  <a:uLnTx/>
                  <a:uFillTx/>
                  <a:latin typeface="Nokia Pure Text Light"/>
                  <a:ea typeface="+mn-ea"/>
                  <a:cs typeface="+mn-cs"/>
                </a:rPr>
                <a:t>uirements</a:t>
              </a:r>
              <a:endParaRPr kumimoji="0" lang="en-HU" sz="105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177" name="TextBox 176">
              <a:extLst>
                <a:ext uri="{FF2B5EF4-FFF2-40B4-BE49-F238E27FC236}">
                  <a16:creationId xmlns:a16="http://schemas.microsoft.com/office/drawing/2014/main" id="{07FE0164-9872-87E9-D2A8-38AF2D238892}"/>
                </a:ext>
              </a:extLst>
            </p:cNvPr>
            <p:cNvSpPr txBox="1"/>
            <p:nvPr/>
          </p:nvSpPr>
          <p:spPr>
            <a:xfrm>
              <a:off x="4946296" y="2870369"/>
              <a:ext cx="519653" cy="167313"/>
            </a:xfrm>
            <a:prstGeom prst="rect">
              <a:avLst/>
            </a:prstGeom>
            <a:noFill/>
            <a:ln>
              <a:noFill/>
            </a:ln>
          </p:spPr>
          <p:txBody>
            <a:bodyPr wrap="none" lIns="0" tIns="0" rIns="0" bIns="0" rtlCol="0">
              <a:noAutofit/>
            </a:bodyPr>
            <a:lstStyle/>
            <a:p>
              <a:pPr marL="0" marR="0" lvl="0" indent="0" algn="l" defTabSz="135000" rtl="0" eaLnBrk="1" fontAlgn="auto" latinLnBrk="0" hangingPunct="1">
                <a:lnSpc>
                  <a:spcPct val="100000"/>
                </a:lnSpc>
                <a:spcBef>
                  <a:spcPts val="0"/>
                </a:spcBef>
                <a:spcAft>
                  <a:spcPts val="225"/>
                </a:spcAft>
                <a:buClrTx/>
                <a:buSzTx/>
                <a:buFontTx/>
                <a:buNone/>
                <a:tabLst>
                  <a:tab pos="135000" algn="l"/>
                </a:tabLst>
                <a:defRPr/>
              </a:pPr>
              <a:r>
                <a:rPr kumimoji="0" lang="en-HU" sz="1200" b="0" i="0" u="none" strike="noStrike" kern="1200" cap="none" spc="0" normalizeH="0" baseline="0" noProof="0">
                  <a:ln>
                    <a:noFill/>
                  </a:ln>
                  <a:solidFill>
                    <a:srgbClr val="FFFFFF"/>
                  </a:solidFill>
                  <a:effectLst/>
                  <a:uLnTx/>
                  <a:uFillTx/>
                  <a:latin typeface="Nokia Pure Text Light"/>
                  <a:ea typeface="+mn-ea"/>
                  <a:cs typeface="+mn-cs"/>
                </a:rPr>
                <a:t>6G stud</a:t>
              </a:r>
              <a:r>
                <a:rPr kumimoji="0" lang="en-US" sz="1200" b="0" i="0" u="none" strike="noStrike" kern="1200" cap="none" spc="0" normalizeH="0" baseline="0" noProof="0">
                  <a:ln>
                    <a:noFill/>
                  </a:ln>
                  <a:solidFill>
                    <a:srgbClr val="FFFFFF"/>
                  </a:solidFill>
                  <a:effectLst/>
                  <a:uLnTx/>
                  <a:uFillTx/>
                  <a:latin typeface="Nokia Pure Text Light"/>
                  <a:ea typeface="+mn-ea"/>
                  <a:cs typeface="+mn-cs"/>
                </a:rPr>
                <a:t>y</a:t>
              </a:r>
              <a:endParaRPr kumimoji="0" lang="en-HU" sz="1200" b="0" i="0" u="none" strike="noStrike" kern="1200" cap="none" spc="0" normalizeH="0" baseline="0" noProof="0">
                <a:ln>
                  <a:noFill/>
                </a:ln>
                <a:solidFill>
                  <a:srgbClr val="FFFFFF"/>
                </a:solidFill>
                <a:effectLst/>
                <a:uLnTx/>
                <a:uFillTx/>
                <a:latin typeface="Nokia Pure Text Light"/>
                <a:ea typeface="+mn-ea"/>
                <a:cs typeface="+mn-cs"/>
              </a:endParaRPr>
            </a:p>
          </p:txBody>
        </p:sp>
        <p:sp>
          <p:nvSpPr>
            <p:cNvPr id="178" name="TextBox 177">
              <a:extLst>
                <a:ext uri="{FF2B5EF4-FFF2-40B4-BE49-F238E27FC236}">
                  <a16:creationId xmlns:a16="http://schemas.microsoft.com/office/drawing/2014/main" id="{7194E3E2-8270-4599-9E55-1CAB92D9928B}"/>
                </a:ext>
              </a:extLst>
            </p:cNvPr>
            <p:cNvSpPr txBox="1"/>
            <p:nvPr/>
          </p:nvSpPr>
          <p:spPr>
            <a:xfrm>
              <a:off x="3905565" y="3360009"/>
              <a:ext cx="967915" cy="253508"/>
            </a:xfrm>
            <a:prstGeom prst="rect">
              <a:avLst/>
            </a:prstGeom>
            <a:solidFill>
              <a:schemeClr val="bg1">
                <a:lumMod val="85000"/>
                <a:alpha val="40393"/>
              </a:schemeClr>
            </a:solidFill>
            <a:ln w="12700">
              <a:noFill/>
            </a:ln>
          </p:spPr>
          <p:txBody>
            <a:bodyPr wrap="square" lIns="72000" tIns="72000" rIns="72000" bIns="72000" rtlCol="0" anchor="ctr">
              <a:noAutofit/>
            </a:bodyPr>
            <a:lstStyle/>
            <a:p>
              <a:pPr marL="0" marR="0" lvl="0" indent="0" algn="ctr" defTabSz="359964" rtl="0" eaLnBrk="1" fontAlgn="auto" latinLnBrk="0" hangingPunct="1">
                <a:lnSpc>
                  <a:spcPct val="100000"/>
                </a:lnSpc>
                <a:spcBef>
                  <a:spcPts val="0"/>
                </a:spcBef>
                <a:spcAft>
                  <a:spcPts val="600"/>
                </a:spcAft>
                <a:buClrTx/>
                <a:buSzTx/>
                <a:buFontTx/>
                <a:buNone/>
                <a:tabLst>
                  <a:tab pos="359964" algn="l"/>
                </a:tabLst>
                <a:defRPr/>
              </a:pPr>
              <a:r>
                <a:rPr kumimoji="0" lang="en-GB" sz="1200" b="0" i="0" u="none" strike="noStrike" kern="1200" cap="none" spc="0" normalizeH="0" baseline="0" noProof="0">
                  <a:ln>
                    <a:noFill/>
                  </a:ln>
                  <a:solidFill>
                    <a:srgbClr val="666666"/>
                  </a:solidFill>
                  <a:effectLst/>
                  <a:uLnTx/>
                  <a:uFillTx/>
                  <a:latin typeface="Nokia Pure Text" panose="020B0503020202020204" pitchFamily="34" charset="0"/>
                  <a:ea typeface="Nokia Pure Text" panose="020B0503020202020204" pitchFamily="34" charset="0"/>
                  <a:cs typeface="+mn-cs"/>
                </a:rPr>
                <a:t>Release 19</a:t>
              </a:r>
            </a:p>
          </p:txBody>
        </p:sp>
        <p:sp>
          <p:nvSpPr>
            <p:cNvPr id="179" name="TextBox 178">
              <a:extLst>
                <a:ext uri="{FF2B5EF4-FFF2-40B4-BE49-F238E27FC236}">
                  <a16:creationId xmlns:a16="http://schemas.microsoft.com/office/drawing/2014/main" id="{6B511C91-520B-11A1-0DF5-B80ECC2EE154}"/>
                </a:ext>
              </a:extLst>
            </p:cNvPr>
            <p:cNvSpPr txBox="1"/>
            <p:nvPr/>
          </p:nvSpPr>
          <p:spPr>
            <a:xfrm>
              <a:off x="4439457" y="3668520"/>
              <a:ext cx="494159" cy="325728"/>
            </a:xfrm>
            <a:prstGeom prst="rect">
              <a:avLst/>
            </a:prstGeom>
            <a:noFill/>
          </p:spPr>
          <p:txBody>
            <a:bodyPr wrap="none" lIns="72000" tIns="72000" rIns="72000" bIns="72000" rtlCol="0" anchor="ctr">
              <a:noAutofit/>
            </a:bodyPr>
            <a:lstStyle/>
            <a:p>
              <a:pPr marL="0" marR="0" lvl="0" indent="0" algn="ctr" defTabSz="457166" rtl="0" eaLnBrk="1" fontAlgn="auto" latinLnBrk="0" hangingPunct="1">
                <a:lnSpc>
                  <a:spcPct val="100000"/>
                </a:lnSpc>
                <a:spcBef>
                  <a:spcPts val="0"/>
                </a:spcBef>
                <a:spcAft>
                  <a:spcPts val="300"/>
                </a:spcAft>
                <a:buClrTx/>
                <a:buSzPct val="100000"/>
                <a:buFontTx/>
                <a:buNone/>
                <a:tabLst/>
                <a:defRPr/>
              </a:pPr>
              <a:r>
                <a:rPr kumimoji="0" lang="en-US" sz="1050" b="0" i="0" u="none" strike="noStrike" kern="1200" cap="none" spc="0" normalizeH="0" baseline="0" noProof="0">
                  <a:ln>
                    <a:noFill/>
                  </a:ln>
                  <a:solidFill>
                    <a:srgbClr val="666666"/>
                  </a:solidFill>
                  <a:effectLst/>
                  <a:uLnTx/>
                  <a:uFillTx/>
                  <a:latin typeface="Nokia Pure Text Light"/>
                  <a:ea typeface="+mn-ea"/>
                  <a:cs typeface="+mn-cs"/>
                </a:rPr>
                <a:t>2025</a:t>
              </a:r>
            </a:p>
          </p:txBody>
        </p:sp>
        <p:pic>
          <p:nvPicPr>
            <p:cNvPr id="153" name="Picture 152">
              <a:extLst>
                <a:ext uri="{FF2B5EF4-FFF2-40B4-BE49-F238E27FC236}">
                  <a16:creationId xmlns:a16="http://schemas.microsoft.com/office/drawing/2014/main" id="{D8B40F85-1D11-2D45-66C7-A6E26715AC2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840183" y="1757442"/>
              <a:ext cx="338431" cy="368790"/>
            </a:xfrm>
            <a:prstGeom prst="rect">
              <a:avLst/>
            </a:prstGeom>
          </p:spPr>
        </p:pic>
      </p:grpSp>
      <p:sp>
        <p:nvSpPr>
          <p:cNvPr id="6" name="Footer Placeholder 1">
            <a:extLst>
              <a:ext uri="{FF2B5EF4-FFF2-40B4-BE49-F238E27FC236}">
                <a16:creationId xmlns:a16="http://schemas.microsoft.com/office/drawing/2014/main" id="{73C83B5B-2238-3CED-6E84-A88A0F234AD4}"/>
              </a:ext>
            </a:extLst>
          </p:cNvPr>
          <p:cNvSpPr>
            <a:spLocks noGrp="1"/>
          </p:cNvSpPr>
          <p:nvPr>
            <p:ph type="ftr" sz="quarter" idx="3"/>
          </p:nvPr>
        </p:nvSpPr>
        <p:spPr>
          <a:xfrm>
            <a:off x="1504950" y="4859338"/>
            <a:ext cx="2879725" cy="12223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6G Wireless Foundations Forum - July 10, 2023</a:t>
            </a:r>
          </a:p>
        </p:txBody>
      </p:sp>
    </p:spTree>
    <p:extLst>
      <p:ext uri="{BB962C8B-B14F-4D97-AF65-F5344CB8AC3E}">
        <p14:creationId xmlns:p14="http://schemas.microsoft.com/office/powerpoint/2010/main" val="443924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White">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Presentation1" id="{39C9DC8C-22DB-4A39-80EE-1BD2903B1B0B}" vid="{07CA9881-CCF1-4814-A4AF-B282A4FBC36C}"/>
    </a:ext>
  </a:extLst>
</a:theme>
</file>

<file path=ppt/theme/theme2.xml><?xml version="1.0" encoding="utf-8"?>
<a:theme xmlns:a="http://schemas.openxmlformats.org/drawingml/2006/main" name="1_1. White">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Bell Labs - PowerPoint template 2023 v1.2" id="{09BCF31B-6DC6-42DB-8EBD-0D73CB937F7C}" vid="{D53355AD-4E6C-4F83-A56A-9A5324101613}"/>
    </a:ext>
  </a:extLst>
</a:theme>
</file>

<file path=ppt/theme/theme3.xml><?xml version="1.0" encoding="utf-8"?>
<a:theme xmlns:a="http://schemas.openxmlformats.org/drawingml/2006/main" name="2_1. White">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2023 New Nokia PPT template v1.3" id="{24DA2A1C-5E6F-44AD-A330-F60F68D07145}" vid="{05906F4B-ADFC-4526-858A-208F6F5E86DF}"/>
    </a:ext>
  </a:extLst>
</a:theme>
</file>

<file path=ppt/theme/theme4.xml><?xml version="1.0" encoding="utf-8"?>
<a:theme xmlns:a="http://schemas.openxmlformats.org/drawingml/2006/main" name="3_1. White">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 PowerPoint template 2023 v1.3" id="{DD0C3133-E3AE-47D2-A897-43496769EDE2}" vid="{7EB8784B-D8AE-47B4-BCC3-8AAF24F0E14F}"/>
    </a:ext>
  </a:extLst>
</a:theme>
</file>

<file path=ppt/theme/theme5.xml><?xml version="1.0" encoding="utf-8"?>
<a:theme xmlns:a="http://schemas.openxmlformats.org/drawingml/2006/main" name="1. SIMPLE white and gradient">
  <a:themeElements>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2023">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noAutofit/>
      </a:bodyPr>
      <a:lstStyle>
        <a:defPPr marL="0" marR="0" indent="0" algn="l" defTabSz="180000" rtl="0" eaLnBrk="1" fontAlgn="auto" latinLnBrk="0" hangingPunct="1">
          <a:lnSpc>
            <a:spcPct val="100000"/>
          </a:lnSpc>
          <a:spcBef>
            <a:spcPts val="0"/>
          </a:spcBef>
          <a:spcAft>
            <a:spcPts val="300"/>
          </a:spcAft>
          <a:buClrTx/>
          <a:buSzTx/>
          <a:buFont typeface="+mj-lt"/>
          <a:buNone/>
          <a:tabLst>
            <a:tab pos="180000" algn="l"/>
          </a:tabLst>
          <a:defRPr kumimoji="0" sz="1200" b="0" i="0" u="none" strike="noStrike" kern="1200" cap="none" spc="0" normalizeH="0" baseline="0" noProof="0" dirty="0" smtClean="0">
            <a:ln>
              <a:noFill/>
            </a:ln>
            <a:solidFill>
              <a:schemeClr val="tx2"/>
            </a:solidFill>
            <a:effectLst/>
            <a:uLnTx/>
            <a:uFillTx/>
            <a:latin typeface="Nokia Pure Text Light"/>
            <a:ea typeface="+mn-ea"/>
            <a:cs typeface="+mn-cs"/>
          </a:defRPr>
        </a:defPPr>
      </a:lstStyle>
    </a:txDef>
  </a:objectDefaults>
  <a:extraClrSchemeLst/>
  <a:extLst>
    <a:ext uri="{05A4C25C-085E-4340-85A3-A5531E510DB2}">
      <thm15:themeFamily xmlns:thm15="http://schemas.microsoft.com/office/thememl/2012/main" name="Nokia - PowerPoint template 2023 v1.1b" id="{D61898B1-C879-4606-BBD7-E5407979202C}" vid="{C51AD687-1624-4EA6-AF64-49A5DF70F7FA}"/>
    </a:ext>
  </a:extLst>
</a:theme>
</file>

<file path=ppt/theme/theme6.xml><?xml version="1.0" encoding="utf-8"?>
<a:theme xmlns:a="http://schemas.openxmlformats.org/drawingml/2006/main" name="4_Nokia Master White with Blue Black">
  <a:themeElements>
    <a:clrScheme name="6G-ANNA">
      <a:dk1>
        <a:srgbClr val="0E316D"/>
      </a:dk1>
      <a:lt1>
        <a:srgbClr val="FFFFFF"/>
      </a:lt1>
      <a:dk2>
        <a:srgbClr val="001135"/>
      </a:dk2>
      <a:lt2>
        <a:srgbClr val="124191"/>
      </a:lt2>
      <a:accent1>
        <a:srgbClr val="019FE3"/>
      </a:accent1>
      <a:accent2>
        <a:srgbClr val="66DFFF"/>
      </a:accent2>
      <a:accent3>
        <a:srgbClr val="FFFFFF"/>
      </a:accent3>
      <a:accent4>
        <a:srgbClr val="FF3154"/>
      </a:accent4>
      <a:accent5>
        <a:srgbClr val="FFFB00"/>
      </a:accent5>
      <a:accent6>
        <a:srgbClr val="4BDD33"/>
      </a:accent6>
      <a:hlink>
        <a:srgbClr val="0645AD"/>
      </a:hlink>
      <a:folHlink>
        <a:srgbClr val="0B0080"/>
      </a:folHlink>
    </a:clrScheme>
    <a:fontScheme name="Nokia Pure">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spPr>
      <a:bodyPr/>
      <a:lstStyle/>
      <a:style>
        <a:lnRef idx="1">
          <a:schemeClr val="accent3"/>
        </a:lnRef>
        <a:fillRef idx="0">
          <a:schemeClr val="accent3"/>
        </a:fillRef>
        <a:effectRef idx="0">
          <a:schemeClr val="accent3"/>
        </a:effectRef>
        <a:fontRef idx="minor">
          <a:schemeClr val="tx1"/>
        </a:fontRef>
      </a:style>
    </a:lnDef>
    <a:txDef>
      <a:spPr>
        <a:noFill/>
      </a:spPr>
      <a:bodyPr wrap="square" lIns="0" tIns="0" rIns="0" bIns="0" rtlCol="0">
        <a:spAutoFit/>
      </a:bodyPr>
      <a:lstStyle>
        <a:defPPr>
          <a:defRPr sz="900" dirty="0" err="1" smtClean="0">
            <a:latin typeface="+mn-lt"/>
          </a:defRPr>
        </a:defPPr>
      </a:lstStyle>
    </a:txDef>
  </a:objectDefaults>
  <a:extraClrSchemeLst/>
  <a:extLst>
    <a:ext uri="{05A4C25C-085E-4340-85A3-A5531E510DB2}">
      <thm15:themeFamily xmlns:thm15="http://schemas.microsoft.com/office/thememl/2012/main" name="Nokia_Pure_PPT_Bell_Labs_V3" id="{4A5A4DD9-BAE3-40EF-B4FC-C36EDD80505B}" vid="{23D12CD6-7914-48AE-AAAC-259FA3E12EC5}"/>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fontScheme name="Nokia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themeOverride>
</file>

<file path=ppt/theme/themeOverride4.xml><?xml version="1.0" encoding="utf-8"?>
<a:themeOverride xmlns:a="http://schemas.openxmlformats.org/drawingml/2006/main">
  <a:clrScheme name="Nokia 2023.1">
    <a:dk1>
      <a:srgbClr val="CCCCCC"/>
    </a:dk1>
    <a:lt1>
      <a:srgbClr val="FFFFFF"/>
    </a:lt1>
    <a:dk2>
      <a:srgbClr val="001135"/>
    </a:dk2>
    <a:lt2>
      <a:srgbClr val="666666"/>
    </a:lt2>
    <a:accent1>
      <a:srgbClr val="005AFF"/>
    </a:accent1>
    <a:accent2>
      <a:srgbClr val="23ABB6"/>
    </a:accent2>
    <a:accent3>
      <a:srgbClr val="37CC73"/>
    </a:accent3>
    <a:accent4>
      <a:srgbClr val="F47F31"/>
    </a:accent4>
    <a:accent5>
      <a:srgbClr val="E03DCD"/>
    </a:accent5>
    <a:accent6>
      <a:srgbClr val="7D33F2"/>
    </a:accent6>
    <a:hlink>
      <a:srgbClr val="001135"/>
    </a:hlink>
    <a:folHlink>
      <a:srgbClr val="005A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SharedContentType xmlns="Microsoft.SharePoint.Taxonomy.ContentTypeSync" SourceId="34c87397-5fc1-491e-85e7-d6110dbe9cbd" ContentTypeId="0x0101" PreviousValue="false"/>
</file>

<file path=customXml/item4.xml><?xml version="1.0" encoding="utf-8"?>
<p:properties xmlns:p="http://schemas.microsoft.com/office/2006/metadata/properties" xmlns:xsi="http://www.w3.org/2001/XMLSchema-instance" xmlns:pc="http://schemas.microsoft.com/office/infopath/2007/PartnerControls">
  <documentManagement>
    <_dlc_DocId xmlns="71c5aaf6-e6ce-465b-b873-5148d2a4c105">O5ITP23IB5QO-1437587388-10</_dlc_DocId>
    <p499d8672be04ac184a76737a91f4800 xmlns="44abfc5d-70c6-4be0-b80a-530403fb851e">
      <Terms xmlns="http://schemas.microsoft.com/office/infopath/2007/PartnerControls">
        <TermInfo xmlns="http://schemas.microsoft.com/office/infopath/2007/PartnerControls">
          <TermName xmlns="http://schemas.microsoft.com/office/infopath/2007/PartnerControls">Nokia</TermName>
          <TermId xmlns="http://schemas.microsoft.com/office/infopath/2007/PartnerControls">3c9f1ff6-a757-4539-937c-4241d43ebf62</TermId>
        </TermInfo>
      </Terms>
    </p499d8672be04ac184a76737a91f4800>
    <TaxCatchAll xmlns="71c5aaf6-e6ce-465b-b873-5148d2a4c105">
      <Value>173</Value>
      <Value>214</Value>
      <Value>647</Value>
      <Value>9</Value>
      <Value>728</Value>
    </TaxCatchAll>
    <b61c529738d544248237ad129d66ec3d xmlns="44abfc5d-70c6-4be0-b80a-530403fb851e">
      <Terms xmlns="http://schemas.microsoft.com/office/infopath/2007/PartnerControls">
        <TermInfo xmlns="http://schemas.microsoft.com/office/infopath/2007/PartnerControls">
          <TermName xmlns="http://schemas.microsoft.com/office/infopath/2007/PartnerControls">Technology ＆ Innovation</TermName>
          <TermId xmlns="http://schemas.microsoft.com/office/infopath/2007/PartnerControls">0a9fa439-774e-4b59-b916-98238e4737a8</TermId>
        </TermInfo>
        <TermInfo xmlns="http://schemas.microsoft.com/office/infopath/2007/PartnerControls">
          <TermName xmlns="http://schemas.microsoft.com/office/infopath/2007/PartnerControls">Strategy</TermName>
          <TermId xmlns="http://schemas.microsoft.com/office/infopath/2007/PartnerControls">c958a0dc-4772-4083-b3cc-62b6bff6390b</TermId>
        </TermInfo>
      </Terms>
    </b61c529738d544248237ad129d66ec3d>
    <_dlc_DocIdUrl xmlns="71c5aaf6-e6ce-465b-b873-5148d2a4c105">
      <Url>https://nokia.sharepoint.com/sites/onestore/st/_layouts/15/DocIdRedir.aspx?ID=O5ITP23IB5QO-1437587388-10</Url>
      <Description>O5ITP23IB5QO-1437587388-10</Description>
    </_dlc_DocIdUrl>
    <a91ad53403024fb78f0628f200d586c6 xmlns="44abfc5d-70c6-4be0-b80a-530403fb851e">
      <Terms xmlns="http://schemas.microsoft.com/office/infopath/2007/PartnerControls"/>
    </a91ad53403024fb78f0628f200d586c6>
    <bf2e5328205b4014b7ba790c98889b77 xmlns="44abfc5d-70c6-4be0-b80a-530403fb851e">
      <Terms xmlns="http://schemas.microsoft.com/office/infopath/2007/PartnerControls">
        <TermInfo xmlns="http://schemas.microsoft.com/office/infopath/2007/PartnerControls">
          <TermName xmlns="http://schemas.microsoft.com/office/infopath/2007/PartnerControls">MCA Corporation Communications</TermName>
          <TermId xmlns="http://schemas.microsoft.com/office/infopath/2007/PartnerControls">6edbd16b-df75-4821-89b3-35cede24f5ca</TermId>
        </TermInfo>
      </Terms>
    </bf2e5328205b4014b7ba790c98889b77>
    <e872f9f78a4a4c6fb48baada636f7923 xmlns="44abfc5d-70c6-4be0-b80a-530403fb851e">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e6619da8-2781-4b5a-8a8e-ced9f663d59d</TermId>
        </TermInfo>
      </Terms>
    </e872f9f78a4a4c6fb48baada636f7923>
    <osRelatedLink2 xmlns="44abfc5d-70c6-4be0-b80a-530403fb851e">
      <Url xsi:nil="true"/>
      <Description xsi:nil="true"/>
    </osRelatedLink2>
    <osTargetAudience xmlns="eb82eead-b25d-4985-a05e-fb4e4a00e51c" xsi:nil="true"/>
    <osLegacyId xmlns="44abfc5d-70c6-4be0-b80a-530403fb851e" xsi:nil="true"/>
    <osRelatedLink1 xmlns="44abfc5d-70c6-4be0-b80a-530403fb851e">
      <Url>https://nokia.sharepoint.com/sites/Strategy-and-Technology/SitePages/Technology-Vision-2030.aspx</Url>
      <Description>https://nokia.sharepoint.com/sites/Strategy-and-Technology/SitePages/Technology-Vision-2030.aspx</Description>
    </osRelatedLink1>
    <osOwner xmlns="44abfc5d-70c6-4be0-b80a-530403fb851e">
      <UserInfo>
        <DisplayName>Christophe Savey (Nokia)</DisplayName>
        <AccountId>11686</AccountId>
        <AccountType/>
      </UserInfo>
    </osOwner>
    <osRelatedLink5 xmlns="44abfc5d-70c6-4be0-b80a-530403fb851e">
      <Url xsi:nil="true"/>
      <Description xsi:nil="true"/>
    </osRelatedLink5>
    <osDescription xmlns="44abfc5d-70c6-4be0-b80a-530403fb851e">PowerPoint file including speaker notes to present Nokia Technology Vision 2030 to any external or internal audience.</osDescription>
    <osArchived xmlns="44abfc5d-70c6-4be0-b80a-530403fb851e">false</osArchived>
    <HideFromDelve xmlns="71c5aaf6-e6ce-465b-b873-5148d2a4c105">false</HideFromDelve>
    <osLanguage xmlns="44abfc5d-70c6-4be0-b80a-530403fb851e">EN</osLanguage>
    <osRelatedLink4 xmlns="44abfc5d-70c6-4be0-b80a-530403fb851e">
      <Url xsi:nil="true"/>
      <Description xsi:nil="true"/>
    </osRelatedLink4>
    <osRelatedLink3 xmlns="44abfc5d-70c6-4be0-b80a-530403fb851e">
      <Url xsi:nil="true"/>
      <Description xsi:nil="true"/>
    </osRelatedLink3>
    <osType xmlns="eb82eead-b25d-4985-a05e-fb4e4a00e51c">29</osType>
    <osExternalAccess xmlns="44abfc5d-70c6-4be0-b80a-530403fb851e">Internal</osExternalAccess>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0A7FB3E88ADB054EB1132F412957C80B" ma:contentTypeVersion="29" ma:contentTypeDescription="Create a new document." ma:contentTypeScope="" ma:versionID="ba3dd699dda10d2272cfb73a97c9a4c6">
  <xsd:schema xmlns:xsd="http://www.w3.org/2001/XMLSchema" xmlns:xs="http://www.w3.org/2001/XMLSchema" xmlns:p="http://schemas.microsoft.com/office/2006/metadata/properties" xmlns:ns2="44abfc5d-70c6-4be0-b80a-530403fb851e" xmlns:ns3="eb82eead-b25d-4985-a05e-fb4e4a00e51c" xmlns:ns4="71c5aaf6-e6ce-465b-b873-5148d2a4c105" targetNamespace="http://schemas.microsoft.com/office/2006/metadata/properties" ma:root="true" ma:fieldsID="8f953274ffa4503586251f82e5875f53" ns2:_="" ns3:_="" ns4:_="">
    <xsd:import namespace="44abfc5d-70c6-4be0-b80a-530403fb851e"/>
    <xsd:import namespace="eb82eead-b25d-4985-a05e-fb4e4a00e51c"/>
    <xsd:import namespace="71c5aaf6-e6ce-465b-b873-5148d2a4c105"/>
    <xsd:element name="properties">
      <xsd:complexType>
        <xsd:sequence>
          <xsd:element name="documentManagement">
            <xsd:complexType>
              <xsd:all>
                <xsd:element ref="ns2:osDescription"/>
                <xsd:element ref="ns3:osType"/>
                <xsd:element ref="ns2:osExternalAccess"/>
                <xsd:element ref="ns2:osOwner" minOccurs="0"/>
                <xsd:element ref="ns3:osTargetAudience" minOccurs="0"/>
                <xsd:element ref="ns2:osLanguage" minOccurs="0"/>
                <xsd:element ref="ns2:osRelatedLink1" minOccurs="0"/>
                <xsd:element ref="ns2:osRelatedLink2" minOccurs="0"/>
                <xsd:element ref="ns2:osRelatedLink3" minOccurs="0"/>
                <xsd:element ref="ns2:osRelatedLink4" minOccurs="0"/>
                <xsd:element ref="ns2:osRelatedLink5" minOccurs="0"/>
                <xsd:element ref="ns2:osLegacyId" minOccurs="0"/>
                <xsd:element ref="ns2:osArchived" minOccurs="0"/>
                <xsd:element ref="ns2:a91ad53403024fb78f0628f200d586c6" minOccurs="0"/>
                <xsd:element ref="ns4:_dlc_DocId" minOccurs="0"/>
                <xsd:element ref="ns2:b61c529738d544248237ad129d66ec3d" minOccurs="0"/>
                <xsd:element ref="ns4:_dlc_DocIdUrl" minOccurs="0"/>
                <xsd:element ref="ns4:_dlc_DocIdPersistId" minOccurs="0"/>
                <xsd:element ref="ns2:e872f9f78a4a4c6fb48baada636f7923" minOccurs="0"/>
                <xsd:element ref="ns4:HideFromDelve" minOccurs="0"/>
                <xsd:element ref="ns2:p499d8672be04ac184a76737a91f4800" minOccurs="0"/>
                <xsd:element ref="ns4:TaxCatchAll" minOccurs="0"/>
                <xsd:element ref="ns2:bf2e5328205b4014b7ba790c98889b77" minOccurs="0"/>
                <xsd:element ref="ns2:MediaServiceMetadata" minOccurs="0"/>
                <xsd:element ref="ns2:MediaServiceFastMetadata"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abfc5d-70c6-4be0-b80a-530403fb851e" elementFormDefault="qualified">
    <xsd:import namespace="http://schemas.microsoft.com/office/2006/documentManagement/types"/>
    <xsd:import namespace="http://schemas.microsoft.com/office/infopath/2007/PartnerControls"/>
    <xsd:element name="osDescription" ma:index="2" ma:displayName="Description" ma:internalName="osDescription" ma:readOnly="false">
      <xsd:simpleType>
        <xsd:restriction base="dms:Note"/>
      </xsd:simpleType>
    </xsd:element>
    <xsd:element name="osExternalAccess" ma:index="4" ma:displayName="External Access" ma:default="Internal" ma:internalName="osExternalAccess" ma:readOnly="false">
      <xsd:simpleType>
        <xsd:restriction base="dms:Choice">
          <xsd:enumeration value="Internal"/>
          <xsd:enumeration value="External"/>
          <xsd:enumeration value="Public"/>
        </xsd:restriction>
      </xsd:simpleType>
    </xsd:element>
    <xsd:element name="osOwner" ma:index="9" nillable="true" ma:displayName="Owner" ma:internalName="osOwne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sLanguage" ma:index="12" nillable="true" ma:displayName="Language" ma:default="EN" ma:internalName="osLanguage" ma:readOnly="false">
      <xsd:simpleType>
        <xsd:restriction base="dms:Choice">
          <xsd:enumeration value="CS"/>
          <xsd:enumeration value="DE"/>
          <xsd:enumeration value="EN"/>
          <xsd:enumeration value="ES"/>
          <xsd:enumeration value="FR"/>
          <xsd:enumeration value="IW"/>
          <xsd:enumeration value="JA"/>
          <xsd:enumeration value="KO"/>
          <xsd:enumeration value="PL"/>
          <xsd:enumeration value="TH"/>
          <xsd:enumeration value="VI"/>
          <xsd:enumeration value="ZH"/>
          <xsd:enumeration value="TR"/>
        </xsd:restriction>
      </xsd:simpleType>
    </xsd:element>
    <xsd:element name="osRelatedLink1" ma:index="13" nillable="true" ma:displayName="Related Link 1" ma:internalName="osRelatedLink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sRelatedLink2" ma:index="14" nillable="true" ma:displayName="Related Link 2" ma:internalName="osRelatedLink2"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sRelatedLink3" ma:index="15" nillable="true" ma:displayName="Related Link 3" ma:internalName="osRelatedLink3"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sRelatedLink4" ma:index="16" nillable="true" ma:displayName="Related Link 4" ma:internalName="osRelatedLink4"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sRelatedLink5" ma:index="17" nillable="true" ma:displayName="Related Link 5" ma:internalName="osRelatedLink5"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osLegacyId" ma:index="18" nillable="true" ma:displayName="Legacy ID" ma:internalName="osLegacyId" ma:readOnly="false">
      <xsd:simpleType>
        <xsd:restriction base="dms:Text"/>
      </xsd:simpleType>
    </xsd:element>
    <xsd:element name="osArchived" ma:index="19" nillable="true" ma:displayName="Archived" ma:default="0" ma:internalName="osArchived" ma:readOnly="false">
      <xsd:simpleType>
        <xsd:restriction base="dms:Boolean"/>
      </xsd:simpleType>
    </xsd:element>
    <xsd:element name="a91ad53403024fb78f0628f200d586c6" ma:index="21" nillable="true" ma:taxonomy="true" ma:internalName="a91ad53403024fb78f0628f200d586c6" ma:taxonomyFieldName="osCampaign" ma:displayName="Campaign" ma:readOnly="false" ma:fieldId="{a91ad534-0302-4fb7-8f06-28f200d586c6}" ma:taxonomyMulti="true" ma:sspId="34c87397-5fc1-491e-85e7-d6110dbe9cbd" ma:termSetId="0eb134ed-a00f-48f4-b334-9df21d87a449" ma:anchorId="00000000-0000-0000-0000-000000000000" ma:open="false" ma:isKeyword="false">
      <xsd:complexType>
        <xsd:sequence>
          <xsd:element ref="pc:Terms" minOccurs="0" maxOccurs="1"/>
        </xsd:sequence>
      </xsd:complexType>
    </xsd:element>
    <xsd:element name="b61c529738d544248237ad129d66ec3d" ma:index="23" ma:taxonomy="true" ma:internalName="b61c529738d544248237ad129d66ec3d" ma:taxonomyFieldName="osTags" ma:displayName="Tags" ma:readOnly="false" ma:fieldId="{b61c5297-38d5-4424-8237-ad129d66ec3d}" ma:taxonomyMulti="true" ma:sspId="34c87397-5fc1-491e-85e7-d6110dbe9cbd" ma:termSetId="e948fa8b-7438-4f10-ae71-785eb873326e" ma:anchorId="00000000-0000-0000-0000-000000000000" ma:open="false" ma:isKeyword="false">
      <xsd:complexType>
        <xsd:sequence>
          <xsd:element ref="pc:Terms" minOccurs="0" maxOccurs="1"/>
        </xsd:sequence>
      </xsd:complexType>
    </xsd:element>
    <xsd:element name="e872f9f78a4a4c6fb48baada636f7923" ma:index="26" nillable="true" ma:taxonomy="true" ma:internalName="e872f9f78a4a4c6fb48baada636f7923" ma:taxonomyFieldName="osRegion" ma:displayName="Region" ma:readOnly="false" ma:default="-1;#Global|e6619da8-2781-4b5a-8a8e-ced9f663d59d" ma:fieldId="{e872f9f7-8a4a-4c6f-b48b-aada636f7923}" ma:taxonomyMulti="true" ma:sspId="34c87397-5fc1-491e-85e7-d6110dbe9cbd" ma:termSetId="ff516376-5dc1-4107-8563-ffc0e96c711e" ma:anchorId="00000000-0000-0000-0000-000000000000" ma:open="false" ma:isKeyword="false">
      <xsd:complexType>
        <xsd:sequence>
          <xsd:element ref="pc:Terms" minOccurs="0" maxOccurs="1"/>
        </xsd:sequence>
      </xsd:complexType>
    </xsd:element>
    <xsd:element name="p499d8672be04ac184a76737a91f4800" ma:index="32" ma:taxonomy="true" ma:internalName="p499d8672be04ac184a76737a91f4800" ma:taxonomyFieldName="osOrganization" ma:displayName="Organization (ROI)" ma:readOnly="false" ma:fieldId="{9499d867-2be0-4ac1-84a7-6737a91f4800}" ma:sspId="34c87397-5fc1-491e-85e7-d6110dbe9cbd" ma:termSetId="3cf64f3d-8c0c-4a4c-804f-333e54bbc5cc" ma:anchorId="00000000-0000-0000-0000-000000000000" ma:open="false" ma:isKeyword="false">
      <xsd:complexType>
        <xsd:sequence>
          <xsd:element ref="pc:Terms" minOccurs="0" maxOccurs="1"/>
        </xsd:sequence>
      </xsd:complexType>
    </xsd:element>
    <xsd:element name="bf2e5328205b4014b7ba790c98889b77" ma:index="35" ma:taxonomy="true" ma:internalName="bf2e5328205b4014b7ba790c98889b77" ma:taxonomyFieldName="osOrganizationMar" ma:displayName="Organization (Marketing)" ma:readOnly="false" ma:fieldId="{bf2e5328-205b-4014-b7ba-790c98889b77}" ma:sspId="34c87397-5fc1-491e-85e7-d6110dbe9cbd" ma:termSetId="f48244bd-e349-4195-bb4f-c2749ec61a1e" ma:anchorId="00000000-0000-0000-0000-000000000000" ma:open="false" ma:isKeyword="false">
      <xsd:complexType>
        <xsd:sequence>
          <xsd:element ref="pc:Terms" minOccurs="0" maxOccurs="1"/>
        </xsd:sequence>
      </xsd:complexType>
    </xsd:element>
    <xsd:element name="MediaServiceMetadata" ma:index="36" nillable="true" ma:displayName="MediaServiceMetadata" ma:hidden="true" ma:internalName="MediaServiceMetadata" ma:readOnly="true">
      <xsd:simpleType>
        <xsd:restriction base="dms:Note"/>
      </xsd:simpleType>
    </xsd:element>
    <xsd:element name="MediaServiceFastMetadata" ma:index="37" nillable="true" ma:displayName="MediaServiceFastMetadata" ma:hidden="true" ma:internalName="MediaServiceFastMetadata" ma:readOnly="true">
      <xsd:simpleType>
        <xsd:restriction base="dms:Note"/>
      </xsd:simpleType>
    </xsd:element>
    <xsd:element name="MediaServiceDateTaken" ma:index="38" nillable="true" ma:displayName="MediaServiceDateTaken" ma:hidden="true" ma:indexed="true" ma:internalName="MediaServiceDateTaken" ma:readOnly="true">
      <xsd:simpleType>
        <xsd:restriction base="dms:Text"/>
      </xsd:simpleType>
    </xsd:element>
    <xsd:element name="MediaLengthInSeconds" ma:index="3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b82eead-b25d-4985-a05e-fb4e4a00e51c" elementFormDefault="qualified">
    <xsd:import namespace="http://schemas.microsoft.com/office/2006/documentManagement/types"/>
    <xsd:import namespace="http://schemas.microsoft.com/office/infopath/2007/PartnerControls"/>
    <xsd:element name="osType" ma:index="3" ma:displayName="Type" ma:list="17862fe0-d80c-47be-93a3-dc47810e5ee6" ma:internalName="osType" ma:readOnly="false" ma:showField="Title" ma:web="eb82eead-b25d-4985-a05e-fb4e4a00e51c">
      <xsd:simpleType>
        <xsd:restriction base="dms:Lookup"/>
      </xsd:simpleType>
    </xsd:element>
    <xsd:element name="osTargetAudience" ma:index="11" nillable="true" ma:displayName="Personas" ma:list="c3669b4c-e6c0-4b2f-b5d5-aab5341ec2d2" ma:internalName="osTargetAudience" ma:readOnly="false" ma:showField="Title" ma:web="eb82eead-b25d-4985-a05e-fb4e4a00e51c">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22" nillable="true" ma:displayName="Document ID Value" ma:description="The value of the document ID assigned to this item." ma:internalName="_dlc_DocId" ma:readOnly="true">
      <xsd:simpleType>
        <xsd:restriction base="dms:Text"/>
      </xsd:simpleType>
    </xsd:element>
    <xsd:element name="_dlc_DocIdUrl" ma:index="24"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5" nillable="true" ma:displayName="Persist ID" ma:description="Keep ID on add." ma:hidden="true" ma:internalName="_dlc_DocIdPersistId" ma:readOnly="true">
      <xsd:simpleType>
        <xsd:restriction base="dms:Boolean"/>
      </xsd:simpleType>
    </xsd:element>
    <xsd:element name="HideFromDelve" ma:index="27" nillable="true" ma:displayName="HideFromDelve" ma:default="0" ma:internalName="HideFromDelve">
      <xsd:simpleType>
        <xsd:restriction base="dms:Boolean"/>
      </xsd:simpleType>
    </xsd:element>
    <xsd:element name="TaxCatchAll" ma:index="33" nillable="true" ma:displayName="Taxonomy Catch All Column" ma:hidden="true" ma:list="{385387d2-7030-42f2-a516-21a024d103cf}" ma:internalName="TaxCatchAll" ma:showField="CatchAllData" ma:web="eb82eead-b25d-4985-a05e-fb4e4a00e5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708CF4-C1FD-441C-BFEB-52C62B8CB6F5}">
  <ds:schemaRefs>
    <ds:schemaRef ds:uri="http://schemas.microsoft.com/sharepoint/v3/contenttype/forms"/>
  </ds:schemaRefs>
</ds:datastoreItem>
</file>

<file path=customXml/itemProps2.xml><?xml version="1.0" encoding="utf-8"?>
<ds:datastoreItem xmlns:ds="http://schemas.openxmlformats.org/officeDocument/2006/customXml" ds:itemID="{575CF675-83E8-4ACC-BD66-E488127085DE}">
  <ds:schemaRefs>
    <ds:schemaRef ds:uri="http://schemas.microsoft.com/sharepoint/events"/>
  </ds:schemaRefs>
</ds:datastoreItem>
</file>

<file path=customXml/itemProps3.xml><?xml version="1.0" encoding="utf-8"?>
<ds:datastoreItem xmlns:ds="http://schemas.openxmlformats.org/officeDocument/2006/customXml" ds:itemID="{7E5CCE02-CB5A-477E-AB09-20F4EB8FE6EF}">
  <ds:schemaRefs>
    <ds:schemaRef ds:uri="Microsoft.SharePoint.Taxonomy.ContentTypeSync"/>
  </ds:schemaRefs>
</ds:datastoreItem>
</file>

<file path=customXml/itemProps4.xml><?xml version="1.0" encoding="utf-8"?>
<ds:datastoreItem xmlns:ds="http://schemas.openxmlformats.org/officeDocument/2006/customXml" ds:itemID="{4E51E7C5-3743-4BB8-94CC-1BD91C964F73}">
  <ds:schemaRefs>
    <ds:schemaRef ds:uri="http://schemas.microsoft.com/office/2006/metadata/properties"/>
    <ds:schemaRef ds:uri="http://purl.org/dc/elements/1.1/"/>
    <ds:schemaRef ds:uri="http://schemas.microsoft.com/office/infopath/2007/PartnerControls"/>
    <ds:schemaRef ds:uri="http://purl.org/dc/dcmitype/"/>
    <ds:schemaRef ds:uri="71c5aaf6-e6ce-465b-b873-5148d2a4c105"/>
    <ds:schemaRef ds:uri="http://schemas.openxmlformats.org/package/2006/metadata/core-properties"/>
    <ds:schemaRef ds:uri="http://schemas.microsoft.com/office/2006/documentManagement/types"/>
    <ds:schemaRef ds:uri="eb82eead-b25d-4985-a05e-fb4e4a00e51c"/>
    <ds:schemaRef ds:uri="http://www.w3.org/XML/1998/namespace"/>
    <ds:schemaRef ds:uri="44abfc5d-70c6-4be0-b80a-530403fb851e"/>
    <ds:schemaRef ds:uri="http://purl.org/dc/terms/"/>
  </ds:schemaRefs>
</ds:datastoreItem>
</file>

<file path=customXml/itemProps5.xml><?xml version="1.0" encoding="utf-8"?>
<ds:datastoreItem xmlns:ds="http://schemas.openxmlformats.org/officeDocument/2006/customXml" ds:itemID="{ABF8B033-6157-4D14-B5FC-60754D552E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abfc5d-70c6-4be0-b80a-530403fb851e"/>
    <ds:schemaRef ds:uri="eb82eead-b25d-4985-a05e-fb4e4a00e51c"/>
    <ds:schemaRef ds:uri="71c5aaf6-e6ce-465b-b873-5148d2a4c1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b1aa2129-79ec-42c0-bfac-e5b7a0374572}" enabled="1" method="Privileged" siteId="{5d471751-9675-428d-917b-70f44f9630b0}" contentBits="0" removed="0"/>
</clbl:labelList>
</file>

<file path=docProps/app.xml><?xml version="1.0" encoding="utf-8"?>
<Properties xmlns="http://schemas.openxmlformats.org/officeDocument/2006/extended-properties" xmlns:vt="http://schemas.openxmlformats.org/officeDocument/2006/docPropsVTypes">
  <Template>Nokia - PowerPoint template 2023 v1.2</Template>
  <TotalTime>404</TotalTime>
  <Words>3668</Words>
  <Application>Microsoft Office PowerPoint</Application>
  <PresentationFormat>On-screen Show (16:9)</PresentationFormat>
  <Paragraphs>411</Paragraphs>
  <Slides>20</Slides>
  <Notes>11</Notes>
  <HiddenSlides>0</HiddenSlides>
  <MMClips>2</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20</vt:i4>
      </vt:variant>
    </vt:vector>
  </HeadingPairs>
  <TitlesOfParts>
    <vt:vector size="36" baseType="lpstr">
      <vt:lpstr>Arial</vt:lpstr>
      <vt:lpstr>Calibri</vt:lpstr>
      <vt:lpstr>Lucida Grande</vt:lpstr>
      <vt:lpstr>Nokia Pure Headline</vt:lpstr>
      <vt:lpstr>Nokia Pure Headline Light</vt:lpstr>
      <vt:lpstr>Nokia Pure Headline Ultra Light</vt:lpstr>
      <vt:lpstr>Nokia Pure Text</vt:lpstr>
      <vt:lpstr>Nokia Pure Text Light</vt:lpstr>
      <vt:lpstr>NokiaPureHeadline</vt:lpstr>
      <vt:lpstr>1. White</vt:lpstr>
      <vt:lpstr>1_1. White</vt:lpstr>
      <vt:lpstr>2_1. White</vt:lpstr>
      <vt:lpstr>3_1. White</vt:lpstr>
      <vt:lpstr>1. SIMPLE white and gradient</vt:lpstr>
      <vt:lpstr>4_Nokia Master White with Blue Black</vt:lpstr>
      <vt:lpstr>think-cell Slide</vt:lpstr>
      <vt:lpstr>The Metaverses  and the Path to 6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kia Technology Vision 2030 - Executive presentation with speaker notes</dc:title>
  <dc:creator>Christophe Savey (Nokia)</dc:creator>
  <cp:lastModifiedBy>Volker Ziegler (Nokia)</cp:lastModifiedBy>
  <cp:revision>35</cp:revision>
  <dcterms:created xsi:type="dcterms:W3CDTF">2023-02-22T15:51:05Z</dcterms:created>
  <dcterms:modified xsi:type="dcterms:W3CDTF">2023-07-09T18:46: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1aa2129-79ec-42c0-bfac-e5b7a0374572_Enabled">
    <vt:lpwstr>true</vt:lpwstr>
  </property>
  <property fmtid="{D5CDD505-2E9C-101B-9397-08002B2CF9AE}" pid="3" name="MSIP_Label_b1aa2129-79ec-42c0-bfac-e5b7a0374572_SetDate">
    <vt:lpwstr>2023-02-22T16:02:23Z</vt:lpwstr>
  </property>
  <property fmtid="{D5CDD505-2E9C-101B-9397-08002B2CF9AE}" pid="4" name="MSIP_Label_b1aa2129-79ec-42c0-bfac-e5b7a0374572_Method">
    <vt:lpwstr>Privileged</vt:lpwstr>
  </property>
  <property fmtid="{D5CDD505-2E9C-101B-9397-08002B2CF9AE}" pid="5" name="MSIP_Label_b1aa2129-79ec-42c0-bfac-e5b7a0374572_Name">
    <vt:lpwstr>b1aa2129-79ec-42c0-bfac-e5b7a0374572</vt:lpwstr>
  </property>
  <property fmtid="{D5CDD505-2E9C-101B-9397-08002B2CF9AE}" pid="6" name="MSIP_Label_b1aa2129-79ec-42c0-bfac-e5b7a0374572_SiteId">
    <vt:lpwstr>5d471751-9675-428d-917b-70f44f9630b0</vt:lpwstr>
  </property>
  <property fmtid="{D5CDD505-2E9C-101B-9397-08002B2CF9AE}" pid="7" name="MSIP_Label_b1aa2129-79ec-42c0-bfac-e5b7a0374572_ActionId">
    <vt:lpwstr>f9fcf9f1-db91-4f14-b8fc-997d8d4e7d65</vt:lpwstr>
  </property>
  <property fmtid="{D5CDD505-2E9C-101B-9397-08002B2CF9AE}" pid="8" name="MSIP_Label_b1aa2129-79ec-42c0-bfac-e5b7a0374572_ContentBits">
    <vt:lpwstr>0</vt:lpwstr>
  </property>
  <property fmtid="{D5CDD505-2E9C-101B-9397-08002B2CF9AE}" pid="9" name="ContentTypeId">
    <vt:lpwstr>0x0101000A7FB3E88ADB054EB1132F412957C80B</vt:lpwstr>
  </property>
  <property fmtid="{D5CDD505-2E9C-101B-9397-08002B2CF9AE}" pid="10" name="osTags">
    <vt:lpwstr>173;#Technology ＆ Innovation|0a9fa439-774e-4b59-b916-98238e4737a8;#214;#Strategy|c958a0dc-4772-4083-b3cc-62b6bff6390b</vt:lpwstr>
  </property>
  <property fmtid="{D5CDD505-2E9C-101B-9397-08002B2CF9AE}" pid="11" name="osCampaign">
    <vt:lpwstr/>
  </property>
  <property fmtid="{D5CDD505-2E9C-101B-9397-08002B2CF9AE}" pid="12" name="osOrganization">
    <vt:lpwstr>728;#Nokia|3c9f1ff6-a757-4539-937c-4241d43ebf62</vt:lpwstr>
  </property>
  <property fmtid="{D5CDD505-2E9C-101B-9397-08002B2CF9AE}" pid="13" name="osRegion">
    <vt:lpwstr>9;#Global|e6619da8-2781-4b5a-8a8e-ced9f663d59d</vt:lpwstr>
  </property>
  <property fmtid="{D5CDD505-2E9C-101B-9397-08002B2CF9AE}" pid="14" name="_dlc_DocIdItemGuid">
    <vt:lpwstr>309d6e5b-3289-4e0e-98b2-a4056a9b22f7</vt:lpwstr>
  </property>
  <property fmtid="{D5CDD505-2E9C-101B-9397-08002B2CF9AE}" pid="15" name="osOrganizationMar">
    <vt:lpwstr>647;#MCA Corporation Communications|6edbd16b-df75-4821-89b3-35cede24f5ca</vt:lpwstr>
  </property>
</Properties>
</file>